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Default Extension="png" ContentType="image/png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256" r:id="rId2"/>
    <p:sldId id="257" r:id="rId3"/>
    <p:sldId id="267" r:id="rId4"/>
    <p:sldId id="269" r:id="rId5"/>
    <p:sldId id="270" r:id="rId6"/>
    <p:sldId id="258" r:id="rId7"/>
    <p:sldId id="273" r:id="rId8"/>
    <p:sldId id="266" r:id="rId9"/>
    <p:sldId id="263" r:id="rId10"/>
    <p:sldId id="274" r:id="rId11"/>
    <p:sldId id="275" r:id="rId12"/>
    <p:sldId id="259" r:id="rId13"/>
    <p:sldId id="278" r:id="rId14"/>
    <p:sldId id="260" r:id="rId15"/>
    <p:sldId id="276" r:id="rId16"/>
    <p:sldId id="277" r:id="rId17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16" autoAdjust="0"/>
    <p:restoredTop sz="96233" autoAdjust="0"/>
  </p:normalViewPr>
  <p:slideViewPr>
    <p:cSldViewPr snapToGrid="0">
      <p:cViewPr varScale="1">
        <p:scale>
          <a:sx n="112" d="100"/>
          <a:sy n="112" d="100"/>
        </p:scale>
        <p:origin x="-264" y="-8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4" d="100"/>
          <a:sy n="84" d="100"/>
        </p:scale>
        <p:origin x="1968" y="60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FA4626D-DCB4-4CBE-A60F-A2E7F8CB49C1}" type="datetimeFigureOut">
              <a:rPr lang="it-IT" smtClean="0"/>
              <a:pPr/>
              <a:t>10/12/2016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6A4F97B-C6D6-42CD-928D-C3962736030A}" type="slidenum">
              <a:rPr lang="it-IT" smtClean="0"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="" xmlns:p14="http://schemas.microsoft.com/office/powerpoint/2010/main" val="8527576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E6F26A-5A6D-405A-AE86-BA08E47756B2}" type="datetimeFigureOut">
              <a:rPr lang="it-IT" smtClean="0"/>
              <a:pPr/>
              <a:t>10/12/2016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63EC5C-8551-4107-A38E-DDA92CD1240B}" type="slidenum">
              <a:rPr lang="it-IT" smtClean="0"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="" xmlns:p14="http://schemas.microsoft.com/office/powerpoint/2010/main" val="40375482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63EC5C-8551-4107-A38E-DDA92CD1240B}" type="slidenum">
              <a:rPr lang="it-IT" smtClean="0"/>
              <a:pPr/>
              <a:t>1</a:t>
            </a:fld>
            <a:endParaRPr lang="it-IT"/>
          </a:p>
        </p:txBody>
      </p:sp>
    </p:spTree>
    <p:extLst>
      <p:ext uri="{BB962C8B-B14F-4D97-AF65-F5344CB8AC3E}">
        <p14:creationId xmlns="" xmlns:p14="http://schemas.microsoft.com/office/powerpoint/2010/main" val="40924130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63EC5C-8551-4107-A38E-DDA92CD1240B}" type="slidenum">
              <a:rPr lang="it-IT" smtClean="0"/>
              <a:pPr/>
              <a:t>2</a:t>
            </a:fld>
            <a:endParaRPr lang="it-IT"/>
          </a:p>
        </p:txBody>
      </p:sp>
    </p:spTree>
    <p:extLst>
      <p:ext uri="{BB962C8B-B14F-4D97-AF65-F5344CB8AC3E}">
        <p14:creationId xmlns="" xmlns:p14="http://schemas.microsoft.com/office/powerpoint/2010/main" val="40731218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jpe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3"/>
          <p:cNvSpPr/>
          <p:nvPr userDrawn="1"/>
        </p:nvSpPr>
        <p:spPr>
          <a:xfrm>
            <a:off x="5785009" y="0"/>
            <a:ext cx="6406991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8" name="Immagine 7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2787" y="1830520"/>
            <a:ext cx="2880000" cy="2880000"/>
          </a:xfrm>
          <a:prstGeom prst="rect">
            <a:avLst/>
          </a:prstGeom>
        </p:spPr>
      </p:pic>
      <p:sp>
        <p:nvSpPr>
          <p:cNvPr id="10" name="Rectangle 5"/>
          <p:cNvSpPr>
            <a:spLocks noChangeArrowheads="1"/>
          </p:cNvSpPr>
          <p:nvPr userDrawn="1"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429697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it-IT"/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auto">
          <a:xfrm rot="10800000" flipV="1">
            <a:off x="6452382" y="175540"/>
            <a:ext cx="5565970" cy="3631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38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 Light" panose="020F03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48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ERNATIONAL PRACTICES IN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48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ER-MUNICIPAL COOPERATION</a:t>
            </a:r>
            <a:endParaRPr kumimoji="0" lang="it-IT" sz="2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CasellaDiTesto 11"/>
          <p:cNvSpPr txBox="1"/>
          <p:nvPr userDrawn="1"/>
        </p:nvSpPr>
        <p:spPr>
          <a:xfrm>
            <a:off x="6452382" y="5460618"/>
            <a:ext cx="390812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it-IT" baseline="0" dirty="0" smtClean="0">
                <a:solidFill>
                  <a:schemeClr val="bg1"/>
                </a:solidFill>
              </a:rPr>
              <a:t>Consiglio Regionale</a:t>
            </a:r>
          </a:p>
          <a:p>
            <a:pPr algn="l"/>
            <a:r>
              <a:rPr lang="it-IT" baseline="0" dirty="0" smtClean="0">
                <a:solidFill>
                  <a:schemeClr val="bg1"/>
                </a:solidFill>
              </a:rPr>
              <a:t>Regione Autonoma Friuli Venezia Giulia</a:t>
            </a:r>
          </a:p>
          <a:p>
            <a:pPr algn="l"/>
            <a:r>
              <a:rPr lang="it-IT" baseline="0" dirty="0" smtClean="0">
                <a:solidFill>
                  <a:schemeClr val="bg1"/>
                </a:solidFill>
              </a:rPr>
              <a:t>Sala Tessitori</a:t>
            </a:r>
          </a:p>
        </p:txBody>
      </p:sp>
      <p:pic>
        <p:nvPicPr>
          <p:cNvPr id="26" name="Immagine 12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8781" y="5427651"/>
            <a:ext cx="1488012" cy="58737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asellaDiTesto 2"/>
          <p:cNvSpPr txBox="1"/>
          <p:nvPr userDrawn="1"/>
        </p:nvSpPr>
        <p:spPr>
          <a:xfrm>
            <a:off x="6452382" y="4227322"/>
            <a:ext cx="305487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800" baseline="0" dirty="0" smtClean="0">
                <a:solidFill>
                  <a:schemeClr val="bg1"/>
                </a:solidFill>
              </a:rPr>
              <a:t>13</a:t>
            </a:r>
            <a:r>
              <a:rPr lang="en-GB" sz="1800" baseline="0" noProof="0" dirty="0" smtClean="0">
                <a:solidFill>
                  <a:schemeClr val="bg1"/>
                </a:solidFill>
              </a:rPr>
              <a:t> December </a:t>
            </a:r>
            <a:r>
              <a:rPr lang="it-IT" sz="1800" baseline="0" dirty="0" smtClean="0">
                <a:solidFill>
                  <a:schemeClr val="bg1"/>
                </a:solidFill>
              </a:rPr>
              <a:t>2016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800" dirty="0" smtClean="0">
                <a:solidFill>
                  <a:schemeClr val="bg1"/>
                </a:solidFill>
              </a:rPr>
              <a:t>Trieste</a:t>
            </a:r>
            <a:r>
              <a:rPr lang="it-IT" sz="1800" baseline="0" dirty="0" smtClean="0">
                <a:solidFill>
                  <a:schemeClr val="bg1"/>
                </a:solidFill>
              </a:rPr>
              <a:t> – Piazza Oberdan, 10</a:t>
            </a:r>
          </a:p>
          <a:p>
            <a:pPr algn="l"/>
            <a:endParaRPr lang="it-IT" dirty="0">
              <a:solidFill>
                <a:schemeClr val="bg1"/>
              </a:solidFill>
            </a:endParaRPr>
          </a:p>
        </p:txBody>
      </p:sp>
      <p:grpSp>
        <p:nvGrpSpPr>
          <p:cNvPr id="7" name="Gruppo 6"/>
          <p:cNvGrpSpPr/>
          <p:nvPr userDrawn="1"/>
        </p:nvGrpSpPr>
        <p:grpSpPr>
          <a:xfrm>
            <a:off x="297106" y="457200"/>
            <a:ext cx="5108283" cy="933189"/>
            <a:chOff x="317555" y="603127"/>
            <a:chExt cx="5108283" cy="933189"/>
          </a:xfrm>
        </p:grpSpPr>
        <p:pic>
          <p:nvPicPr>
            <p:cNvPr id="22" name="Immagine 8" descr="Risultati immagini per council of EUROPE logo black and white"/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 l="6203" t="7277" r="8017" b="7373"/>
            <a:stretch>
              <a:fillRect/>
            </a:stretch>
          </p:blipFill>
          <p:spPr bwMode="auto">
            <a:xfrm>
              <a:off x="317555" y="603127"/>
              <a:ext cx="1041471" cy="933189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Immagine 22"/>
            <p:cNvPicPr>
              <a:picLocks noChangeAspect="1"/>
            </p:cNvPicPr>
            <p:nvPr userDrawn="1"/>
          </p:nvPicPr>
          <p:blipFill>
            <a:blip r:embed="rId5" cstate="print">
              <a:grayscl/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65946" y="603690"/>
              <a:ext cx="2800235" cy="932626"/>
            </a:xfrm>
            <a:prstGeom prst="rect">
              <a:avLst/>
            </a:prstGeom>
          </p:spPr>
        </p:pic>
        <p:pic>
          <p:nvPicPr>
            <p:cNvPr id="15" name="Immagine 11"/>
            <p:cNvPicPr>
              <a:picLocks noChangeAspect="1" noChangeArrowheads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3101" y="764544"/>
              <a:ext cx="1052737" cy="505727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6" name="CasellaDiTesto 26"/>
          <p:cNvSpPr txBox="1"/>
          <p:nvPr userDrawn="1"/>
        </p:nvSpPr>
        <p:spPr>
          <a:xfrm>
            <a:off x="1982837" y="5150156"/>
            <a:ext cx="1739900" cy="277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1200" i="1" kern="120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Under the patronage of</a:t>
            </a:r>
            <a:endParaRPr lang="it-IT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938336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8200" y="1356426"/>
            <a:ext cx="10515600" cy="1034033"/>
          </a:xfr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 smtClean="0"/>
              <a:t>Trieste, 13/12/2016</a:t>
            </a:r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smtClean="0"/>
              <a:t>INTERNATIONAL PRACTICES IN INTER-MUNICIPAL COOPERATION</a:t>
            </a:r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D1028-69C3-4FC6-8C6A-2696D319A159}" type="slidenum">
              <a:rPr lang="it-IT" smtClean="0"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="" xmlns:p14="http://schemas.microsoft.com/office/powerpoint/2010/main" val="21030614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solidFill>
            <a:schemeClr val="tx1">
              <a:lumMod val="50000"/>
              <a:lumOff val="50000"/>
            </a:schemeClr>
          </a:solidFill>
        </p:spPr>
        <p:txBody>
          <a:bodyPr anchor="b"/>
          <a:lstStyle>
            <a:lvl1pPr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 smtClean="0"/>
              <a:t>Trieste, 13/12/2016</a:t>
            </a:r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smtClean="0"/>
              <a:t>INTERNATIONAL PRACTICES IN INTER-MUNICIPAL COOPERATION</a:t>
            </a:r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D1028-69C3-4FC6-8C6A-2696D319A159}" type="slidenum">
              <a:rPr lang="it-IT" smtClean="0"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="" xmlns:p14="http://schemas.microsoft.com/office/powerpoint/2010/main" val="22446345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8200" y="1290181"/>
            <a:ext cx="10515600" cy="896247"/>
          </a:xfr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838200" y="2186427"/>
            <a:ext cx="5181600" cy="3990535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172200" y="2186427"/>
            <a:ext cx="5181600" cy="3990536"/>
          </a:xfrm>
        </p:spPr>
        <p:txBody>
          <a:bodyPr/>
          <a:lstStyle/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it-IT" dirty="0"/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 smtClean="0"/>
              <a:t>Trieste, 13/12/2016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smtClean="0"/>
              <a:t>INTERNATIONAL PRACTICES IN INTER-MUNICIPAL COOPERATION</a:t>
            </a:r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D1028-69C3-4FC6-8C6A-2696D319A159}" type="slidenum">
              <a:rPr lang="it-IT" smtClean="0"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="" xmlns:p14="http://schemas.microsoft.com/office/powerpoint/2010/main" val="42806943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8200" y="1315234"/>
            <a:ext cx="10515600" cy="1046560"/>
          </a:xfr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 smtClean="0"/>
              <a:t>Trieste, 13/12/2016</a:t>
            </a:r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smtClean="0"/>
              <a:t>INTERNATIONAL PRACTICES IN INTER-MUNICIPAL COOPERATION</a:t>
            </a:r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D1028-69C3-4FC6-8C6A-2696D319A159}" type="slidenum">
              <a:rPr lang="it-IT" smtClean="0"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="" xmlns:p14="http://schemas.microsoft.com/office/powerpoint/2010/main" val="33851866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 smtClean="0"/>
              <a:t>Trieste, 13/12/2016</a:t>
            </a:r>
            <a:endParaRPr lang="it-IT"/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smtClean="0"/>
              <a:t>INTERNATIONAL PRACTICES IN INTER-MUNICIPAL COOPERATION</a:t>
            </a:r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D1028-69C3-4FC6-8C6A-2696D319A159}" type="slidenum">
              <a:rPr lang="it-IT" smtClean="0"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="" xmlns:p14="http://schemas.microsoft.com/office/powerpoint/2010/main" val="16793536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4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838200" y="1410601"/>
            <a:ext cx="10515600" cy="103724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838200" y="2480153"/>
            <a:ext cx="10515600" cy="36968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it-IT" smtClean="0"/>
              <a:t>Trieste, 13/12/2016</a:t>
            </a:r>
            <a:endParaRPr lang="it-IT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it-IT" dirty="0" smtClean="0"/>
              <a:t>INTERNATIONAL PRACTICES IN INTER-MUNICIPAL COOPERATION</a:t>
            </a:r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FD1028-69C3-4FC6-8C6A-2696D319A159}" type="slidenum">
              <a:rPr lang="it-IT" smtClean="0"/>
              <a:pPr/>
              <a:t>‹#›</a:t>
            </a:fld>
            <a:endParaRPr lang="it-IT" dirty="0"/>
          </a:p>
        </p:txBody>
      </p:sp>
      <p:pic>
        <p:nvPicPr>
          <p:cNvPr id="17" name="Immagine 11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7056" y="472572"/>
            <a:ext cx="1204215" cy="61870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Immagine 12"/>
          <p:cNvPicPr>
            <a:picLocks noChangeAspect="1" noChangeArrowheads="1"/>
          </p:cNvPicPr>
          <p:nvPr/>
        </p:nvPicPr>
        <p:blipFill>
          <a:blip r:embed="rId9" cstate="print">
            <a:grayscl/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2411" y="408008"/>
            <a:ext cx="1771389" cy="74783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Immagine 8" descr="Risultati immagini per council of EUROPE logo black and white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6203" t="7277" r="8017" b="7373"/>
          <a:stretch>
            <a:fillRect/>
          </a:stretch>
        </p:blipFill>
        <p:spPr bwMode="auto">
          <a:xfrm>
            <a:off x="838200" y="299497"/>
            <a:ext cx="1126785" cy="96485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Immagine 11"/>
          <p:cNvPicPr>
            <a:picLocks noChangeAspect="1"/>
          </p:cNvPicPr>
          <p:nvPr userDrawn="1"/>
        </p:nvPicPr>
        <p:blipFill>
          <a:blip r:embed="rId11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800" y="318892"/>
            <a:ext cx="3047658" cy="90901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914263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4" r:id="rId5"/>
    <p:sldLayoutId id="2147483655" r:id="rId6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15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14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9.jpeg"/><Relationship Id="rId5" Type="http://schemas.openxmlformats.org/officeDocument/2006/relationships/tags" Target="../tags/tag5.xml"/><Relationship Id="rId10" Type="http://schemas.openxmlformats.org/officeDocument/2006/relationships/image" Target="../media/image11.png"/><Relationship Id="rId4" Type="http://schemas.openxmlformats.org/officeDocument/2006/relationships/tags" Target="../tags/tag4.xml"/><Relationship Id="rId9" Type="http://schemas.openxmlformats.org/officeDocument/2006/relationships/image" Target="../media/image13.jpeg"/><Relationship Id="rId14" Type="http://schemas.openxmlformats.org/officeDocument/2006/relationships/image" Target="../media/image16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2764471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 smtClean="0"/>
              <a:t>Trieste, 13/12/2016</a:t>
            </a:r>
            <a:endParaRPr lang="it-IT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smtClean="0"/>
              <a:t>INTERNATIONAL PRACTICES IN INTER-MUNICIPAL COOPERATION</a:t>
            </a:r>
            <a:endParaRPr lang="it-IT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D1028-69C3-4FC6-8C6A-2696D319A159}" type="slidenum">
              <a:rPr lang="it-IT" smtClean="0"/>
              <a:pPr/>
              <a:t>10</a:t>
            </a:fld>
            <a:endParaRPr lang="it-IT"/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>
          <a:xfrm>
            <a:off x="209781" y="1213024"/>
            <a:ext cx="9900677" cy="831335"/>
          </a:xfrm>
          <a:prstGeom prst="rect">
            <a:avLst/>
          </a:prstGeom>
          <a:ln>
            <a:noFill/>
          </a:ln>
        </p:spPr>
        <p:txBody>
          <a:bodyPr vert="horz" lIns="89260" tIns="44633" rIns="89260" bIns="44633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spcAft>
                <a:spcPct val="0"/>
              </a:spcAft>
              <a:buFont typeface="Arial" panose="020B0604020202020204" pitchFamily="34" charset="0"/>
              <a:buNone/>
              <a:tabLst>
                <a:tab pos="879279" algn="l"/>
              </a:tabLst>
            </a:pPr>
            <a:r>
              <a:rPr lang="uk-UA" altLang="ru-RU" sz="1800" b="1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О ПОРЯДКЕ И УСЛОВИЯХ ПРЕДОСТАВЛЕНИЯ СУБВЕНЦИИ  ИЗ  ГОСУДАРСТВЕННОГО БЮДЖЕТА МЕСТНЫМ БЮДЖЕТАМ НА ФОРМИРОВАНИЕ ИНФРАСТРУКТУРЫ ОТГ  </a:t>
            </a:r>
            <a:r>
              <a:rPr lang="uk-UA" altLang="ru-RU" sz="2000" b="1" dirty="0" smtClean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1 млрд. грн</a:t>
            </a:r>
            <a:r>
              <a:rPr lang="uk-UA" altLang="ru-RU" sz="2000" b="1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.</a:t>
            </a:r>
            <a:endParaRPr lang="uk-UA" altLang="ru-RU" sz="2000" b="1" dirty="0">
              <a:solidFill>
                <a:srgbClr val="1D89CB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8" name="Snip Same Side Corner Rectangle 4"/>
          <p:cNvSpPr/>
          <p:nvPr/>
        </p:nvSpPr>
        <p:spPr>
          <a:xfrm>
            <a:off x="167265" y="1917359"/>
            <a:ext cx="10966402" cy="684000"/>
          </a:xfrm>
          <a:prstGeom prst="snip2SameRect">
            <a:avLst/>
          </a:prstGeom>
          <a:solidFill>
            <a:srgbClr val="FFC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9" name="TextBox 109"/>
          <p:cNvSpPr txBox="1">
            <a:spLocks noChangeArrowheads="1"/>
          </p:cNvSpPr>
          <p:nvPr/>
        </p:nvSpPr>
        <p:spPr bwMode="auto">
          <a:xfrm>
            <a:off x="338667" y="1976627"/>
            <a:ext cx="10922000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/>
            <a:r>
              <a:rPr lang="uk-UA" sz="1600" b="1" dirty="0" smtClean="0">
                <a:solidFill>
                  <a:srgbClr val="143B4F"/>
                </a:solidFill>
                <a:latin typeface="Calibri Light" pitchFamily="34" charset="0"/>
              </a:rPr>
              <a:t>РАСПРЕДЕЛЕНИЕ СУБВЕНЦИИ МЕЖДУ МЕСТНЫМИ БЮДЖЕТАМИ ОСУЩЕСТВЛЯЕТСЯ  ИСХОДЯ  ИЗ </a:t>
            </a:r>
          </a:p>
          <a:p>
            <a:pPr algn="ctr"/>
            <a:r>
              <a:rPr lang="uk-UA" sz="1600" b="1" dirty="0" smtClean="0">
                <a:solidFill>
                  <a:srgbClr val="143B4F"/>
                </a:solidFill>
                <a:latin typeface="Calibri Light" pitchFamily="34" charset="0"/>
              </a:rPr>
              <a:t>ДВУХ  ПОКАЗАТЕЛЕЙ: ПЛОЩАДИ ОТГ  И  КОЛИЧЕСТВА  НАСЕЛЕНИЯ, ПРОЖИВАЮЩЕГО  В ОТГ</a:t>
            </a:r>
            <a:endParaRPr lang="uk-UA" sz="1600" b="1" dirty="0">
              <a:solidFill>
                <a:srgbClr val="143B4F"/>
              </a:solidFill>
              <a:latin typeface="Calibri Light" pitchFamily="34" charset="0"/>
            </a:endParaRPr>
          </a:p>
        </p:txBody>
      </p:sp>
      <p:grpSp>
        <p:nvGrpSpPr>
          <p:cNvPr id="2" name="Group 165"/>
          <p:cNvGrpSpPr>
            <a:grpSpLocks/>
          </p:cNvGrpSpPr>
          <p:nvPr/>
        </p:nvGrpSpPr>
        <p:grpSpPr bwMode="auto">
          <a:xfrm>
            <a:off x="401514" y="2683934"/>
            <a:ext cx="1744529" cy="1236134"/>
            <a:chOff x="1714663" y="980728"/>
            <a:chExt cx="7304904" cy="4752589"/>
          </a:xfrm>
        </p:grpSpPr>
        <p:grpSp>
          <p:nvGrpSpPr>
            <p:cNvPr id="3" name="Group 99"/>
            <p:cNvGrpSpPr>
              <a:grpSpLocks/>
            </p:cNvGrpSpPr>
            <p:nvPr/>
          </p:nvGrpSpPr>
          <p:grpSpPr bwMode="auto">
            <a:xfrm>
              <a:off x="1714663" y="980728"/>
              <a:ext cx="7304904" cy="4752589"/>
              <a:chOff x="179512" y="1788775"/>
              <a:chExt cx="6262359" cy="4016489"/>
            </a:xfrm>
          </p:grpSpPr>
          <p:sp>
            <p:nvSpPr>
              <p:cNvPr id="14" name="AutoShape 63"/>
              <p:cNvSpPr>
                <a:spLocks noChangeAspect="1" noChangeArrowheads="1"/>
              </p:cNvSpPr>
              <p:nvPr/>
            </p:nvSpPr>
            <p:spPr bwMode="auto">
              <a:xfrm>
                <a:off x="179512" y="1788775"/>
                <a:ext cx="6105013" cy="3654643"/>
              </a:xfrm>
              <a:prstGeom prst="rect">
                <a:avLst/>
              </a:prstGeom>
              <a:noFill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15" name="Freeform 62"/>
              <p:cNvSpPr>
                <a:spLocks/>
              </p:cNvSpPr>
              <p:nvPr/>
            </p:nvSpPr>
            <p:spPr bwMode="auto">
              <a:xfrm>
                <a:off x="4564212" y="4995635"/>
                <a:ext cx="89161" cy="72369"/>
              </a:xfrm>
              <a:custGeom>
                <a:avLst/>
                <a:gdLst/>
                <a:ahLst/>
                <a:cxnLst>
                  <a:cxn ang="0">
                    <a:pos x="7" y="28"/>
                  </a:cxn>
                  <a:cxn ang="0">
                    <a:pos x="7" y="15"/>
                  </a:cxn>
                  <a:cxn ang="0">
                    <a:pos x="20" y="4"/>
                  </a:cxn>
                  <a:cxn ang="0">
                    <a:pos x="25" y="18"/>
                  </a:cxn>
                  <a:cxn ang="0">
                    <a:pos x="26" y="29"/>
                  </a:cxn>
                  <a:cxn ang="0">
                    <a:pos x="7" y="28"/>
                  </a:cxn>
                  <a:cxn ang="0">
                    <a:pos x="7" y="28"/>
                  </a:cxn>
                </a:cxnLst>
                <a:rect l="0" t="0" r="r" b="b"/>
                <a:pathLst>
                  <a:path w="30" h="29">
                    <a:moveTo>
                      <a:pt x="7" y="28"/>
                    </a:moveTo>
                    <a:cubicBezTo>
                      <a:pt x="0" y="20"/>
                      <a:pt x="7" y="15"/>
                      <a:pt x="7" y="15"/>
                    </a:cubicBezTo>
                    <a:cubicBezTo>
                      <a:pt x="7" y="0"/>
                      <a:pt x="20" y="4"/>
                      <a:pt x="20" y="4"/>
                    </a:cubicBezTo>
                    <a:cubicBezTo>
                      <a:pt x="30" y="4"/>
                      <a:pt x="25" y="18"/>
                      <a:pt x="25" y="18"/>
                    </a:cubicBezTo>
                    <a:cubicBezTo>
                      <a:pt x="26" y="22"/>
                      <a:pt x="26" y="26"/>
                      <a:pt x="26" y="29"/>
                    </a:cubicBezTo>
                    <a:cubicBezTo>
                      <a:pt x="26" y="29"/>
                      <a:pt x="13" y="18"/>
                      <a:pt x="7" y="28"/>
                    </a:cubicBezTo>
                    <a:cubicBezTo>
                      <a:pt x="7" y="28"/>
                      <a:pt x="7" y="28"/>
                      <a:pt x="7" y="28"/>
                    </a:cubicBez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16" name="Freeform 61"/>
              <p:cNvSpPr>
                <a:spLocks/>
              </p:cNvSpPr>
              <p:nvPr/>
            </p:nvSpPr>
            <p:spPr bwMode="auto">
              <a:xfrm>
                <a:off x="3541464" y="4823759"/>
                <a:ext cx="110144" cy="45231"/>
              </a:xfrm>
              <a:custGeom>
                <a:avLst/>
                <a:gdLst/>
                <a:ahLst/>
                <a:cxnLst>
                  <a:cxn ang="0">
                    <a:pos x="37" y="3"/>
                  </a:cxn>
                  <a:cxn ang="0">
                    <a:pos x="33" y="15"/>
                  </a:cxn>
                  <a:cxn ang="0">
                    <a:pos x="17" y="18"/>
                  </a:cxn>
                  <a:cxn ang="0">
                    <a:pos x="0" y="0"/>
                  </a:cxn>
                  <a:cxn ang="0">
                    <a:pos x="22" y="0"/>
                  </a:cxn>
                  <a:cxn ang="0">
                    <a:pos x="37" y="3"/>
                  </a:cxn>
                  <a:cxn ang="0">
                    <a:pos x="37" y="3"/>
                  </a:cxn>
                </a:cxnLst>
                <a:rect l="0" t="0" r="r" b="b"/>
                <a:pathLst>
                  <a:path w="38" h="18">
                    <a:moveTo>
                      <a:pt x="37" y="3"/>
                    </a:moveTo>
                    <a:cubicBezTo>
                      <a:pt x="38" y="8"/>
                      <a:pt x="29" y="11"/>
                      <a:pt x="33" y="15"/>
                    </a:cubicBezTo>
                    <a:cubicBezTo>
                      <a:pt x="24" y="15"/>
                      <a:pt x="17" y="18"/>
                      <a:pt x="17" y="18"/>
                    </a:cubicBezTo>
                    <a:cubicBezTo>
                      <a:pt x="7" y="14"/>
                      <a:pt x="0" y="0"/>
                      <a:pt x="0" y="0"/>
                    </a:cubicBezTo>
                    <a:cubicBezTo>
                      <a:pt x="16" y="5"/>
                      <a:pt x="22" y="0"/>
                      <a:pt x="22" y="0"/>
                    </a:cubicBezTo>
                    <a:cubicBezTo>
                      <a:pt x="29" y="2"/>
                      <a:pt x="33" y="3"/>
                      <a:pt x="37" y="3"/>
                    </a:cubicBezTo>
                    <a:cubicBezTo>
                      <a:pt x="37" y="3"/>
                      <a:pt x="37" y="3"/>
                      <a:pt x="37" y="3"/>
                    </a:cubicBez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17" name="Freeform 60"/>
              <p:cNvSpPr>
                <a:spLocks/>
              </p:cNvSpPr>
              <p:nvPr/>
            </p:nvSpPr>
            <p:spPr bwMode="auto">
              <a:xfrm>
                <a:off x="4774007" y="4963972"/>
                <a:ext cx="73428" cy="49755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0" y="21"/>
                  </a:cxn>
                  <a:cxn ang="0">
                    <a:pos x="25" y="0"/>
                  </a:cxn>
                  <a:cxn ang="0">
                    <a:pos x="25" y="0"/>
                  </a:cxn>
                </a:cxnLst>
                <a:rect l="0" t="0" r="r" b="b"/>
                <a:pathLst>
                  <a:path w="25" h="21">
                    <a:moveTo>
                      <a:pt x="25" y="0"/>
                    </a:moveTo>
                    <a:cubicBezTo>
                      <a:pt x="25" y="10"/>
                      <a:pt x="0" y="21"/>
                      <a:pt x="0" y="21"/>
                    </a:cubicBezTo>
                    <a:cubicBezTo>
                      <a:pt x="1" y="6"/>
                      <a:pt x="16" y="8"/>
                      <a:pt x="25" y="0"/>
                    </a:cubicBezTo>
                    <a:cubicBezTo>
                      <a:pt x="25" y="0"/>
                      <a:pt x="25" y="0"/>
                      <a:pt x="25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18" name="Freeform 59"/>
              <p:cNvSpPr>
                <a:spLocks/>
              </p:cNvSpPr>
              <p:nvPr/>
            </p:nvSpPr>
            <p:spPr bwMode="auto">
              <a:xfrm>
                <a:off x="3940073" y="5036342"/>
                <a:ext cx="146856" cy="45231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35" y="13"/>
                  </a:cxn>
                  <a:cxn ang="0">
                    <a:pos x="50" y="8"/>
                  </a:cxn>
                  <a:cxn ang="0">
                    <a:pos x="35" y="3"/>
                  </a:cxn>
                  <a:cxn ang="0">
                    <a:pos x="0" y="2"/>
                  </a:cxn>
                  <a:cxn ang="0">
                    <a:pos x="0" y="2"/>
                  </a:cxn>
                </a:cxnLst>
                <a:rect l="0" t="0" r="r" b="b"/>
                <a:pathLst>
                  <a:path w="53" h="17">
                    <a:moveTo>
                      <a:pt x="0" y="2"/>
                    </a:moveTo>
                    <a:cubicBezTo>
                      <a:pt x="24" y="8"/>
                      <a:pt x="35" y="13"/>
                      <a:pt x="35" y="13"/>
                    </a:cubicBezTo>
                    <a:cubicBezTo>
                      <a:pt x="53" y="17"/>
                      <a:pt x="50" y="8"/>
                      <a:pt x="50" y="8"/>
                    </a:cubicBezTo>
                    <a:cubicBezTo>
                      <a:pt x="49" y="2"/>
                      <a:pt x="35" y="3"/>
                      <a:pt x="35" y="3"/>
                    </a:cubicBezTo>
                    <a:cubicBezTo>
                      <a:pt x="28" y="0"/>
                      <a:pt x="26" y="6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19" name="Freeform 105"/>
              <p:cNvSpPr>
                <a:spLocks/>
              </p:cNvSpPr>
              <p:nvPr/>
            </p:nvSpPr>
            <p:spPr bwMode="auto">
              <a:xfrm>
                <a:off x="824628" y="3385421"/>
                <a:ext cx="702811" cy="827721"/>
              </a:xfrm>
              <a:custGeom>
                <a:avLst/>
                <a:gdLst/>
                <a:ahLst/>
                <a:cxnLst>
                  <a:cxn ang="0">
                    <a:pos x="0" y="135"/>
                  </a:cxn>
                  <a:cxn ang="0">
                    <a:pos x="3" y="108"/>
                  </a:cxn>
                  <a:cxn ang="0">
                    <a:pos x="11" y="90"/>
                  </a:cxn>
                  <a:cxn ang="0">
                    <a:pos x="22" y="80"/>
                  </a:cxn>
                  <a:cxn ang="0">
                    <a:pos x="39" y="71"/>
                  </a:cxn>
                  <a:cxn ang="0">
                    <a:pos x="63" y="69"/>
                  </a:cxn>
                  <a:cxn ang="0">
                    <a:pos x="93" y="66"/>
                  </a:cxn>
                  <a:cxn ang="0">
                    <a:pos x="116" y="59"/>
                  </a:cxn>
                  <a:cxn ang="0">
                    <a:pos x="103" y="56"/>
                  </a:cxn>
                  <a:cxn ang="0">
                    <a:pos x="102" y="40"/>
                  </a:cxn>
                  <a:cxn ang="0">
                    <a:pos x="113" y="21"/>
                  </a:cxn>
                  <a:cxn ang="0">
                    <a:pos x="123" y="7"/>
                  </a:cxn>
                  <a:cxn ang="0">
                    <a:pos x="140" y="6"/>
                  </a:cxn>
                  <a:cxn ang="0">
                    <a:pos x="151" y="11"/>
                  </a:cxn>
                  <a:cxn ang="0">
                    <a:pos x="162" y="53"/>
                  </a:cxn>
                  <a:cxn ang="0">
                    <a:pos x="163" y="66"/>
                  </a:cxn>
                  <a:cxn ang="0">
                    <a:pos x="160" y="81"/>
                  </a:cxn>
                  <a:cxn ang="0">
                    <a:pos x="176" y="87"/>
                  </a:cxn>
                  <a:cxn ang="0">
                    <a:pos x="165" y="95"/>
                  </a:cxn>
                  <a:cxn ang="0">
                    <a:pos x="179" y="111"/>
                  </a:cxn>
                  <a:cxn ang="0">
                    <a:pos x="188" y="117"/>
                  </a:cxn>
                  <a:cxn ang="0">
                    <a:pos x="196" y="126"/>
                  </a:cxn>
                  <a:cxn ang="0">
                    <a:pos x="204" y="135"/>
                  </a:cxn>
                  <a:cxn ang="0">
                    <a:pos x="219" y="135"/>
                  </a:cxn>
                  <a:cxn ang="0">
                    <a:pos x="233" y="143"/>
                  </a:cxn>
                  <a:cxn ang="0">
                    <a:pos x="246" y="168"/>
                  </a:cxn>
                  <a:cxn ang="0">
                    <a:pos x="241" y="189"/>
                  </a:cxn>
                  <a:cxn ang="0">
                    <a:pos x="241" y="205"/>
                  </a:cxn>
                  <a:cxn ang="0">
                    <a:pos x="225" y="217"/>
                  </a:cxn>
                  <a:cxn ang="0">
                    <a:pos x="189" y="240"/>
                  </a:cxn>
                  <a:cxn ang="0">
                    <a:pos x="182" y="245"/>
                  </a:cxn>
                  <a:cxn ang="0">
                    <a:pos x="161" y="264"/>
                  </a:cxn>
                  <a:cxn ang="0">
                    <a:pos x="153" y="302"/>
                  </a:cxn>
                  <a:cxn ang="0">
                    <a:pos x="148" y="331"/>
                  </a:cxn>
                  <a:cxn ang="0">
                    <a:pos x="124" y="306"/>
                  </a:cxn>
                  <a:cxn ang="0">
                    <a:pos x="113" y="285"/>
                  </a:cxn>
                  <a:cxn ang="0">
                    <a:pos x="111" y="256"/>
                  </a:cxn>
                  <a:cxn ang="0">
                    <a:pos x="106" y="238"/>
                  </a:cxn>
                  <a:cxn ang="0">
                    <a:pos x="91" y="217"/>
                  </a:cxn>
                  <a:cxn ang="0">
                    <a:pos x="78" y="213"/>
                  </a:cxn>
                  <a:cxn ang="0">
                    <a:pos x="62" y="201"/>
                  </a:cxn>
                  <a:cxn ang="0">
                    <a:pos x="60" y="180"/>
                  </a:cxn>
                  <a:cxn ang="0">
                    <a:pos x="45" y="186"/>
                  </a:cxn>
                  <a:cxn ang="0">
                    <a:pos x="40" y="177"/>
                  </a:cxn>
                  <a:cxn ang="0">
                    <a:pos x="32" y="169"/>
                  </a:cxn>
                  <a:cxn ang="0">
                    <a:pos x="12" y="153"/>
                  </a:cxn>
                  <a:cxn ang="0">
                    <a:pos x="0" y="135"/>
                  </a:cxn>
                  <a:cxn ang="0">
                    <a:pos x="0" y="135"/>
                  </a:cxn>
                </a:cxnLst>
                <a:rect l="0" t="0" r="r" b="b"/>
                <a:pathLst>
                  <a:path w="249" h="331">
                    <a:moveTo>
                      <a:pt x="0" y="135"/>
                    </a:moveTo>
                    <a:cubicBezTo>
                      <a:pt x="7" y="119"/>
                      <a:pt x="3" y="108"/>
                      <a:pt x="3" y="108"/>
                    </a:cubicBezTo>
                    <a:cubicBezTo>
                      <a:pt x="2" y="93"/>
                      <a:pt x="11" y="90"/>
                      <a:pt x="11" y="90"/>
                    </a:cubicBezTo>
                    <a:cubicBezTo>
                      <a:pt x="20" y="87"/>
                      <a:pt x="22" y="80"/>
                      <a:pt x="22" y="80"/>
                    </a:cubicBezTo>
                    <a:cubicBezTo>
                      <a:pt x="19" y="64"/>
                      <a:pt x="39" y="71"/>
                      <a:pt x="39" y="71"/>
                    </a:cubicBezTo>
                    <a:cubicBezTo>
                      <a:pt x="59" y="75"/>
                      <a:pt x="63" y="69"/>
                      <a:pt x="63" y="69"/>
                    </a:cubicBezTo>
                    <a:cubicBezTo>
                      <a:pt x="72" y="65"/>
                      <a:pt x="93" y="66"/>
                      <a:pt x="93" y="66"/>
                    </a:cubicBezTo>
                    <a:cubicBezTo>
                      <a:pt x="116" y="67"/>
                      <a:pt x="116" y="59"/>
                      <a:pt x="116" y="59"/>
                    </a:cubicBezTo>
                    <a:cubicBezTo>
                      <a:pt x="115" y="55"/>
                      <a:pt x="103" y="56"/>
                      <a:pt x="103" y="56"/>
                    </a:cubicBezTo>
                    <a:cubicBezTo>
                      <a:pt x="100" y="50"/>
                      <a:pt x="102" y="40"/>
                      <a:pt x="102" y="40"/>
                    </a:cubicBezTo>
                    <a:cubicBezTo>
                      <a:pt x="116" y="39"/>
                      <a:pt x="113" y="21"/>
                      <a:pt x="113" y="21"/>
                    </a:cubicBezTo>
                    <a:cubicBezTo>
                      <a:pt x="110" y="4"/>
                      <a:pt x="123" y="7"/>
                      <a:pt x="123" y="7"/>
                    </a:cubicBezTo>
                    <a:cubicBezTo>
                      <a:pt x="129" y="0"/>
                      <a:pt x="140" y="6"/>
                      <a:pt x="140" y="6"/>
                    </a:cubicBezTo>
                    <a:cubicBezTo>
                      <a:pt x="142" y="14"/>
                      <a:pt x="151" y="11"/>
                      <a:pt x="151" y="11"/>
                    </a:cubicBezTo>
                    <a:cubicBezTo>
                      <a:pt x="151" y="11"/>
                      <a:pt x="162" y="31"/>
                      <a:pt x="162" y="53"/>
                    </a:cubicBezTo>
                    <a:cubicBezTo>
                      <a:pt x="162" y="53"/>
                      <a:pt x="168" y="63"/>
                      <a:pt x="163" y="66"/>
                    </a:cubicBezTo>
                    <a:cubicBezTo>
                      <a:pt x="163" y="66"/>
                      <a:pt x="158" y="73"/>
                      <a:pt x="160" y="81"/>
                    </a:cubicBezTo>
                    <a:cubicBezTo>
                      <a:pt x="160" y="81"/>
                      <a:pt x="175" y="80"/>
                      <a:pt x="176" y="87"/>
                    </a:cubicBezTo>
                    <a:cubicBezTo>
                      <a:pt x="176" y="87"/>
                      <a:pt x="179" y="94"/>
                      <a:pt x="165" y="95"/>
                    </a:cubicBezTo>
                    <a:cubicBezTo>
                      <a:pt x="182" y="98"/>
                      <a:pt x="173" y="109"/>
                      <a:pt x="179" y="111"/>
                    </a:cubicBezTo>
                    <a:cubicBezTo>
                      <a:pt x="179" y="111"/>
                      <a:pt x="190" y="102"/>
                      <a:pt x="188" y="117"/>
                    </a:cubicBezTo>
                    <a:cubicBezTo>
                      <a:pt x="188" y="117"/>
                      <a:pt x="186" y="139"/>
                      <a:pt x="196" y="126"/>
                    </a:cubicBezTo>
                    <a:cubicBezTo>
                      <a:pt x="196" y="126"/>
                      <a:pt x="203" y="111"/>
                      <a:pt x="204" y="135"/>
                    </a:cubicBezTo>
                    <a:cubicBezTo>
                      <a:pt x="204" y="135"/>
                      <a:pt x="196" y="154"/>
                      <a:pt x="219" y="135"/>
                    </a:cubicBezTo>
                    <a:cubicBezTo>
                      <a:pt x="219" y="135"/>
                      <a:pt x="230" y="129"/>
                      <a:pt x="233" y="143"/>
                    </a:cubicBezTo>
                    <a:cubicBezTo>
                      <a:pt x="233" y="143"/>
                      <a:pt x="249" y="147"/>
                      <a:pt x="246" y="168"/>
                    </a:cubicBezTo>
                    <a:cubicBezTo>
                      <a:pt x="246" y="168"/>
                      <a:pt x="234" y="172"/>
                      <a:pt x="241" y="189"/>
                    </a:cubicBezTo>
                    <a:cubicBezTo>
                      <a:pt x="241" y="189"/>
                      <a:pt x="245" y="194"/>
                      <a:pt x="241" y="205"/>
                    </a:cubicBezTo>
                    <a:cubicBezTo>
                      <a:pt x="241" y="205"/>
                      <a:pt x="243" y="220"/>
                      <a:pt x="225" y="217"/>
                    </a:cubicBezTo>
                    <a:cubicBezTo>
                      <a:pt x="225" y="217"/>
                      <a:pt x="208" y="213"/>
                      <a:pt x="189" y="240"/>
                    </a:cubicBezTo>
                    <a:cubicBezTo>
                      <a:pt x="189" y="240"/>
                      <a:pt x="186" y="247"/>
                      <a:pt x="182" y="245"/>
                    </a:cubicBezTo>
                    <a:cubicBezTo>
                      <a:pt x="182" y="245"/>
                      <a:pt x="177" y="260"/>
                      <a:pt x="161" y="264"/>
                    </a:cubicBezTo>
                    <a:cubicBezTo>
                      <a:pt x="161" y="264"/>
                      <a:pt x="148" y="282"/>
                      <a:pt x="153" y="302"/>
                    </a:cubicBezTo>
                    <a:cubicBezTo>
                      <a:pt x="153" y="302"/>
                      <a:pt x="162" y="311"/>
                      <a:pt x="148" y="331"/>
                    </a:cubicBezTo>
                    <a:cubicBezTo>
                      <a:pt x="148" y="331"/>
                      <a:pt x="138" y="304"/>
                      <a:pt x="124" y="306"/>
                    </a:cubicBezTo>
                    <a:cubicBezTo>
                      <a:pt x="124" y="306"/>
                      <a:pt x="125" y="291"/>
                      <a:pt x="113" y="285"/>
                    </a:cubicBezTo>
                    <a:cubicBezTo>
                      <a:pt x="125" y="264"/>
                      <a:pt x="111" y="256"/>
                      <a:pt x="111" y="256"/>
                    </a:cubicBezTo>
                    <a:cubicBezTo>
                      <a:pt x="102" y="252"/>
                      <a:pt x="113" y="242"/>
                      <a:pt x="106" y="238"/>
                    </a:cubicBezTo>
                    <a:cubicBezTo>
                      <a:pt x="100" y="219"/>
                      <a:pt x="91" y="217"/>
                      <a:pt x="91" y="217"/>
                    </a:cubicBezTo>
                    <a:cubicBezTo>
                      <a:pt x="84" y="201"/>
                      <a:pt x="78" y="213"/>
                      <a:pt x="78" y="213"/>
                    </a:cubicBezTo>
                    <a:cubicBezTo>
                      <a:pt x="53" y="216"/>
                      <a:pt x="62" y="201"/>
                      <a:pt x="62" y="201"/>
                    </a:cubicBezTo>
                    <a:cubicBezTo>
                      <a:pt x="67" y="172"/>
                      <a:pt x="60" y="180"/>
                      <a:pt x="60" y="180"/>
                    </a:cubicBezTo>
                    <a:cubicBezTo>
                      <a:pt x="49" y="179"/>
                      <a:pt x="45" y="186"/>
                      <a:pt x="45" y="186"/>
                    </a:cubicBezTo>
                    <a:cubicBezTo>
                      <a:pt x="32" y="188"/>
                      <a:pt x="40" y="177"/>
                      <a:pt x="40" y="177"/>
                    </a:cubicBezTo>
                    <a:cubicBezTo>
                      <a:pt x="39" y="170"/>
                      <a:pt x="32" y="169"/>
                      <a:pt x="32" y="169"/>
                    </a:cubicBezTo>
                    <a:cubicBezTo>
                      <a:pt x="23" y="167"/>
                      <a:pt x="29" y="152"/>
                      <a:pt x="12" y="153"/>
                    </a:cubicBezTo>
                    <a:cubicBezTo>
                      <a:pt x="13" y="144"/>
                      <a:pt x="0" y="135"/>
                      <a:pt x="0" y="135"/>
                    </a:cubicBezTo>
                    <a:cubicBezTo>
                      <a:pt x="0" y="135"/>
                      <a:pt x="0" y="135"/>
                      <a:pt x="0" y="135"/>
                    </a:cubicBezTo>
                    <a:close/>
                  </a:path>
                </a:pathLst>
              </a:custGeom>
              <a:solidFill>
                <a:srgbClr val="EEBB0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20" name="Freeform 57"/>
              <p:cNvSpPr>
                <a:spLocks/>
              </p:cNvSpPr>
              <p:nvPr/>
            </p:nvSpPr>
            <p:spPr bwMode="auto">
              <a:xfrm>
                <a:off x="541405" y="2892405"/>
                <a:ext cx="970300" cy="832245"/>
              </a:xfrm>
              <a:custGeom>
                <a:avLst/>
                <a:gdLst/>
                <a:ahLst/>
                <a:cxnLst>
                  <a:cxn ang="0">
                    <a:pos x="28" y="267"/>
                  </a:cxn>
                  <a:cxn ang="0">
                    <a:pos x="20" y="247"/>
                  </a:cxn>
                  <a:cxn ang="0">
                    <a:pos x="16" y="227"/>
                  </a:cxn>
                  <a:cxn ang="0">
                    <a:pos x="18" y="197"/>
                  </a:cxn>
                  <a:cxn ang="0">
                    <a:pos x="15" y="179"/>
                  </a:cxn>
                  <a:cxn ang="0">
                    <a:pos x="48" y="134"/>
                  </a:cxn>
                  <a:cxn ang="0">
                    <a:pos x="148" y="45"/>
                  </a:cxn>
                  <a:cxn ang="0">
                    <a:pos x="172" y="32"/>
                  </a:cxn>
                  <a:cxn ang="0">
                    <a:pos x="189" y="24"/>
                  </a:cxn>
                  <a:cxn ang="0">
                    <a:pos x="201" y="13"/>
                  </a:cxn>
                  <a:cxn ang="0">
                    <a:pos x="201" y="0"/>
                  </a:cxn>
                  <a:cxn ang="0">
                    <a:pos x="219" y="10"/>
                  </a:cxn>
                  <a:cxn ang="0">
                    <a:pos x="234" y="14"/>
                  </a:cxn>
                  <a:cxn ang="0">
                    <a:pos x="244" y="22"/>
                  </a:cxn>
                  <a:cxn ang="0">
                    <a:pos x="237" y="35"/>
                  </a:cxn>
                  <a:cxn ang="0">
                    <a:pos x="245" y="40"/>
                  </a:cxn>
                  <a:cxn ang="0">
                    <a:pos x="259" y="48"/>
                  </a:cxn>
                  <a:cxn ang="0">
                    <a:pos x="274" y="58"/>
                  </a:cxn>
                  <a:cxn ang="0">
                    <a:pos x="295" y="58"/>
                  </a:cxn>
                  <a:cxn ang="0">
                    <a:pos x="304" y="69"/>
                  </a:cxn>
                  <a:cxn ang="0">
                    <a:pos x="318" y="72"/>
                  </a:cxn>
                  <a:cxn ang="0">
                    <a:pos x="315" y="84"/>
                  </a:cxn>
                  <a:cxn ang="0">
                    <a:pos x="318" y="108"/>
                  </a:cxn>
                  <a:cxn ang="0">
                    <a:pos x="318" y="108"/>
                  </a:cxn>
                  <a:cxn ang="0">
                    <a:pos x="333" y="124"/>
                  </a:cxn>
                  <a:cxn ang="0">
                    <a:pos x="333" y="124"/>
                  </a:cxn>
                  <a:cxn ang="0">
                    <a:pos x="333" y="144"/>
                  </a:cxn>
                  <a:cxn ang="0">
                    <a:pos x="319" y="152"/>
                  </a:cxn>
                  <a:cxn ang="0">
                    <a:pos x="296" y="164"/>
                  </a:cxn>
                  <a:cxn ang="0">
                    <a:pos x="289" y="172"/>
                  </a:cxn>
                  <a:cxn ang="0">
                    <a:pos x="274" y="190"/>
                  </a:cxn>
                  <a:cxn ang="0">
                    <a:pos x="254" y="199"/>
                  </a:cxn>
                  <a:cxn ang="0">
                    <a:pos x="250" y="209"/>
                  </a:cxn>
                  <a:cxn ang="0">
                    <a:pos x="239" y="204"/>
                  </a:cxn>
                  <a:cxn ang="0">
                    <a:pos x="222" y="205"/>
                  </a:cxn>
                  <a:cxn ang="0">
                    <a:pos x="212" y="219"/>
                  </a:cxn>
                  <a:cxn ang="0">
                    <a:pos x="201" y="238"/>
                  </a:cxn>
                  <a:cxn ang="0">
                    <a:pos x="202" y="254"/>
                  </a:cxn>
                  <a:cxn ang="0">
                    <a:pos x="215" y="257"/>
                  </a:cxn>
                  <a:cxn ang="0">
                    <a:pos x="192" y="264"/>
                  </a:cxn>
                  <a:cxn ang="0">
                    <a:pos x="162" y="267"/>
                  </a:cxn>
                  <a:cxn ang="0">
                    <a:pos x="138" y="269"/>
                  </a:cxn>
                  <a:cxn ang="0">
                    <a:pos x="121" y="278"/>
                  </a:cxn>
                  <a:cxn ang="0">
                    <a:pos x="110" y="288"/>
                  </a:cxn>
                  <a:cxn ang="0">
                    <a:pos x="102" y="306"/>
                  </a:cxn>
                  <a:cxn ang="0">
                    <a:pos x="100" y="333"/>
                  </a:cxn>
                  <a:cxn ang="0">
                    <a:pos x="100" y="333"/>
                  </a:cxn>
                  <a:cxn ang="0">
                    <a:pos x="83" y="333"/>
                  </a:cxn>
                  <a:cxn ang="0">
                    <a:pos x="83" y="333"/>
                  </a:cxn>
                  <a:cxn ang="0">
                    <a:pos x="69" y="324"/>
                  </a:cxn>
                  <a:cxn ang="0">
                    <a:pos x="55" y="313"/>
                  </a:cxn>
                  <a:cxn ang="0">
                    <a:pos x="43" y="304"/>
                  </a:cxn>
                  <a:cxn ang="0">
                    <a:pos x="31" y="295"/>
                  </a:cxn>
                  <a:cxn ang="0">
                    <a:pos x="28" y="267"/>
                  </a:cxn>
                  <a:cxn ang="0">
                    <a:pos x="28" y="267"/>
                  </a:cxn>
                </a:cxnLst>
                <a:rect l="0" t="0" r="r" b="b"/>
                <a:pathLst>
                  <a:path w="343" h="333">
                    <a:moveTo>
                      <a:pt x="28" y="267"/>
                    </a:moveTo>
                    <a:cubicBezTo>
                      <a:pt x="28" y="267"/>
                      <a:pt x="31" y="255"/>
                      <a:pt x="20" y="247"/>
                    </a:cubicBezTo>
                    <a:cubicBezTo>
                      <a:pt x="20" y="247"/>
                      <a:pt x="7" y="242"/>
                      <a:pt x="16" y="227"/>
                    </a:cubicBezTo>
                    <a:cubicBezTo>
                      <a:pt x="16" y="227"/>
                      <a:pt x="23" y="219"/>
                      <a:pt x="18" y="197"/>
                    </a:cubicBezTo>
                    <a:cubicBezTo>
                      <a:pt x="18" y="197"/>
                      <a:pt x="13" y="197"/>
                      <a:pt x="15" y="179"/>
                    </a:cubicBezTo>
                    <a:cubicBezTo>
                      <a:pt x="15" y="179"/>
                      <a:pt x="0" y="177"/>
                      <a:pt x="48" y="134"/>
                    </a:cubicBezTo>
                    <a:cubicBezTo>
                      <a:pt x="48" y="134"/>
                      <a:pt x="98" y="73"/>
                      <a:pt x="148" y="45"/>
                    </a:cubicBezTo>
                    <a:cubicBezTo>
                      <a:pt x="148" y="45"/>
                      <a:pt x="145" y="31"/>
                      <a:pt x="172" y="32"/>
                    </a:cubicBezTo>
                    <a:cubicBezTo>
                      <a:pt x="172" y="32"/>
                      <a:pt x="191" y="36"/>
                      <a:pt x="189" y="24"/>
                    </a:cubicBezTo>
                    <a:cubicBezTo>
                      <a:pt x="189" y="24"/>
                      <a:pt x="186" y="12"/>
                      <a:pt x="201" y="13"/>
                    </a:cubicBezTo>
                    <a:cubicBezTo>
                      <a:pt x="201" y="13"/>
                      <a:pt x="202" y="7"/>
                      <a:pt x="201" y="0"/>
                    </a:cubicBezTo>
                    <a:cubicBezTo>
                      <a:pt x="210" y="11"/>
                      <a:pt x="219" y="10"/>
                      <a:pt x="219" y="10"/>
                    </a:cubicBezTo>
                    <a:cubicBezTo>
                      <a:pt x="230" y="7"/>
                      <a:pt x="234" y="14"/>
                      <a:pt x="234" y="14"/>
                    </a:cubicBezTo>
                    <a:cubicBezTo>
                      <a:pt x="243" y="14"/>
                      <a:pt x="244" y="22"/>
                      <a:pt x="244" y="22"/>
                    </a:cubicBezTo>
                    <a:cubicBezTo>
                      <a:pt x="246" y="28"/>
                      <a:pt x="230" y="30"/>
                      <a:pt x="237" y="35"/>
                    </a:cubicBezTo>
                    <a:cubicBezTo>
                      <a:pt x="238" y="44"/>
                      <a:pt x="245" y="40"/>
                      <a:pt x="245" y="40"/>
                    </a:cubicBezTo>
                    <a:cubicBezTo>
                      <a:pt x="256" y="41"/>
                      <a:pt x="259" y="48"/>
                      <a:pt x="259" y="48"/>
                    </a:cubicBezTo>
                    <a:cubicBezTo>
                      <a:pt x="263" y="63"/>
                      <a:pt x="274" y="58"/>
                      <a:pt x="274" y="58"/>
                    </a:cubicBezTo>
                    <a:cubicBezTo>
                      <a:pt x="284" y="53"/>
                      <a:pt x="295" y="58"/>
                      <a:pt x="295" y="58"/>
                    </a:cubicBezTo>
                    <a:cubicBezTo>
                      <a:pt x="305" y="61"/>
                      <a:pt x="304" y="69"/>
                      <a:pt x="304" y="69"/>
                    </a:cubicBezTo>
                    <a:cubicBezTo>
                      <a:pt x="301" y="75"/>
                      <a:pt x="318" y="72"/>
                      <a:pt x="318" y="72"/>
                    </a:cubicBezTo>
                    <a:cubicBezTo>
                      <a:pt x="322" y="78"/>
                      <a:pt x="315" y="84"/>
                      <a:pt x="315" y="84"/>
                    </a:cubicBezTo>
                    <a:cubicBezTo>
                      <a:pt x="312" y="101"/>
                      <a:pt x="318" y="108"/>
                      <a:pt x="318" y="108"/>
                    </a:cubicBezTo>
                    <a:cubicBezTo>
                      <a:pt x="318" y="108"/>
                      <a:pt x="318" y="108"/>
                      <a:pt x="318" y="108"/>
                    </a:cubicBezTo>
                    <a:cubicBezTo>
                      <a:pt x="333" y="124"/>
                      <a:pt x="333" y="124"/>
                      <a:pt x="333" y="124"/>
                    </a:cubicBezTo>
                    <a:cubicBezTo>
                      <a:pt x="333" y="124"/>
                      <a:pt x="333" y="124"/>
                      <a:pt x="333" y="124"/>
                    </a:cubicBezTo>
                    <a:cubicBezTo>
                      <a:pt x="343" y="135"/>
                      <a:pt x="333" y="144"/>
                      <a:pt x="333" y="144"/>
                    </a:cubicBezTo>
                    <a:cubicBezTo>
                      <a:pt x="333" y="151"/>
                      <a:pt x="319" y="152"/>
                      <a:pt x="319" y="152"/>
                    </a:cubicBezTo>
                    <a:cubicBezTo>
                      <a:pt x="289" y="151"/>
                      <a:pt x="296" y="164"/>
                      <a:pt x="296" y="164"/>
                    </a:cubicBezTo>
                    <a:cubicBezTo>
                      <a:pt x="303" y="172"/>
                      <a:pt x="289" y="172"/>
                      <a:pt x="289" y="172"/>
                    </a:cubicBezTo>
                    <a:cubicBezTo>
                      <a:pt x="280" y="194"/>
                      <a:pt x="274" y="190"/>
                      <a:pt x="274" y="190"/>
                    </a:cubicBezTo>
                    <a:cubicBezTo>
                      <a:pt x="269" y="197"/>
                      <a:pt x="259" y="191"/>
                      <a:pt x="254" y="199"/>
                    </a:cubicBezTo>
                    <a:cubicBezTo>
                      <a:pt x="251" y="201"/>
                      <a:pt x="250" y="209"/>
                      <a:pt x="250" y="209"/>
                    </a:cubicBezTo>
                    <a:cubicBezTo>
                      <a:pt x="250" y="209"/>
                      <a:pt x="241" y="212"/>
                      <a:pt x="239" y="204"/>
                    </a:cubicBezTo>
                    <a:cubicBezTo>
                      <a:pt x="239" y="204"/>
                      <a:pt x="228" y="198"/>
                      <a:pt x="222" y="205"/>
                    </a:cubicBezTo>
                    <a:cubicBezTo>
                      <a:pt x="222" y="205"/>
                      <a:pt x="209" y="202"/>
                      <a:pt x="212" y="219"/>
                    </a:cubicBezTo>
                    <a:cubicBezTo>
                      <a:pt x="212" y="219"/>
                      <a:pt x="215" y="237"/>
                      <a:pt x="201" y="238"/>
                    </a:cubicBezTo>
                    <a:cubicBezTo>
                      <a:pt x="201" y="238"/>
                      <a:pt x="199" y="248"/>
                      <a:pt x="202" y="254"/>
                    </a:cubicBezTo>
                    <a:cubicBezTo>
                      <a:pt x="202" y="254"/>
                      <a:pt x="214" y="253"/>
                      <a:pt x="215" y="257"/>
                    </a:cubicBezTo>
                    <a:cubicBezTo>
                      <a:pt x="215" y="257"/>
                      <a:pt x="215" y="265"/>
                      <a:pt x="192" y="264"/>
                    </a:cubicBezTo>
                    <a:cubicBezTo>
                      <a:pt x="192" y="264"/>
                      <a:pt x="171" y="263"/>
                      <a:pt x="162" y="267"/>
                    </a:cubicBezTo>
                    <a:cubicBezTo>
                      <a:pt x="162" y="267"/>
                      <a:pt x="158" y="273"/>
                      <a:pt x="138" y="269"/>
                    </a:cubicBezTo>
                    <a:cubicBezTo>
                      <a:pt x="138" y="269"/>
                      <a:pt x="118" y="262"/>
                      <a:pt x="121" y="278"/>
                    </a:cubicBezTo>
                    <a:cubicBezTo>
                      <a:pt x="121" y="278"/>
                      <a:pt x="119" y="285"/>
                      <a:pt x="110" y="288"/>
                    </a:cubicBezTo>
                    <a:cubicBezTo>
                      <a:pt x="110" y="288"/>
                      <a:pt x="101" y="291"/>
                      <a:pt x="102" y="306"/>
                    </a:cubicBezTo>
                    <a:cubicBezTo>
                      <a:pt x="102" y="306"/>
                      <a:pt x="106" y="316"/>
                      <a:pt x="100" y="333"/>
                    </a:cubicBezTo>
                    <a:cubicBezTo>
                      <a:pt x="100" y="333"/>
                      <a:pt x="100" y="333"/>
                      <a:pt x="100" y="333"/>
                    </a:cubicBezTo>
                    <a:cubicBezTo>
                      <a:pt x="83" y="333"/>
                      <a:pt x="83" y="333"/>
                      <a:pt x="83" y="333"/>
                    </a:cubicBezTo>
                    <a:cubicBezTo>
                      <a:pt x="83" y="333"/>
                      <a:pt x="83" y="333"/>
                      <a:pt x="83" y="333"/>
                    </a:cubicBezTo>
                    <a:cubicBezTo>
                      <a:pt x="83" y="333"/>
                      <a:pt x="80" y="324"/>
                      <a:pt x="69" y="324"/>
                    </a:cubicBezTo>
                    <a:cubicBezTo>
                      <a:pt x="69" y="324"/>
                      <a:pt x="57" y="326"/>
                      <a:pt x="55" y="313"/>
                    </a:cubicBezTo>
                    <a:cubicBezTo>
                      <a:pt x="55" y="313"/>
                      <a:pt x="55" y="297"/>
                      <a:pt x="43" y="304"/>
                    </a:cubicBezTo>
                    <a:cubicBezTo>
                      <a:pt x="43" y="304"/>
                      <a:pt x="33" y="303"/>
                      <a:pt x="31" y="295"/>
                    </a:cubicBezTo>
                    <a:cubicBezTo>
                      <a:pt x="31" y="295"/>
                      <a:pt x="25" y="292"/>
                      <a:pt x="28" y="267"/>
                    </a:cubicBezTo>
                    <a:cubicBezTo>
                      <a:pt x="28" y="267"/>
                      <a:pt x="28" y="267"/>
                      <a:pt x="28" y="267"/>
                    </a:cubicBezTo>
                    <a:close/>
                  </a:path>
                </a:pathLst>
              </a:custGeom>
              <a:solidFill>
                <a:srgbClr val="EEBB0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21" name="Freeform 56"/>
              <p:cNvSpPr>
                <a:spLocks/>
              </p:cNvSpPr>
              <p:nvPr/>
            </p:nvSpPr>
            <p:spPr bwMode="auto">
              <a:xfrm>
                <a:off x="1249463" y="3086898"/>
                <a:ext cx="540219" cy="800583"/>
              </a:xfrm>
              <a:custGeom>
                <a:avLst/>
                <a:gdLst/>
                <a:ahLst/>
                <a:cxnLst>
                  <a:cxn ang="0">
                    <a:pos x="96" y="288"/>
                  </a:cxn>
                  <a:cxn ang="0">
                    <a:pos x="104" y="292"/>
                  </a:cxn>
                  <a:cxn ang="0">
                    <a:pos x="114" y="294"/>
                  </a:cxn>
                  <a:cxn ang="0">
                    <a:pos x="126" y="302"/>
                  </a:cxn>
                  <a:cxn ang="0">
                    <a:pos x="134" y="304"/>
                  </a:cxn>
                  <a:cxn ang="0">
                    <a:pos x="151" y="309"/>
                  </a:cxn>
                  <a:cxn ang="0">
                    <a:pos x="165" y="318"/>
                  </a:cxn>
                  <a:cxn ang="0">
                    <a:pos x="180" y="320"/>
                  </a:cxn>
                  <a:cxn ang="0">
                    <a:pos x="175" y="303"/>
                  </a:cxn>
                  <a:cxn ang="0">
                    <a:pos x="169" y="266"/>
                  </a:cxn>
                  <a:cxn ang="0">
                    <a:pos x="169" y="223"/>
                  </a:cxn>
                  <a:cxn ang="0">
                    <a:pos x="173" y="188"/>
                  </a:cxn>
                  <a:cxn ang="0">
                    <a:pos x="171" y="153"/>
                  </a:cxn>
                  <a:cxn ang="0">
                    <a:pos x="172" y="134"/>
                  </a:cxn>
                  <a:cxn ang="0">
                    <a:pos x="178" y="111"/>
                  </a:cxn>
                  <a:cxn ang="0">
                    <a:pos x="179" y="100"/>
                  </a:cxn>
                  <a:cxn ang="0">
                    <a:pos x="178" y="89"/>
                  </a:cxn>
                  <a:cxn ang="0">
                    <a:pos x="182" y="55"/>
                  </a:cxn>
                  <a:cxn ang="0">
                    <a:pos x="189" y="24"/>
                  </a:cxn>
                  <a:cxn ang="0">
                    <a:pos x="178" y="10"/>
                  </a:cxn>
                  <a:cxn ang="0">
                    <a:pos x="159" y="5"/>
                  </a:cxn>
                  <a:cxn ang="0">
                    <a:pos x="144" y="12"/>
                  </a:cxn>
                  <a:cxn ang="0">
                    <a:pos x="120" y="20"/>
                  </a:cxn>
                  <a:cxn ang="0">
                    <a:pos x="96" y="23"/>
                  </a:cxn>
                  <a:cxn ang="0">
                    <a:pos x="83" y="45"/>
                  </a:cxn>
                  <a:cxn ang="0">
                    <a:pos x="83" y="65"/>
                  </a:cxn>
                  <a:cxn ang="0">
                    <a:pos x="69" y="73"/>
                  </a:cxn>
                  <a:cxn ang="0">
                    <a:pos x="46" y="85"/>
                  </a:cxn>
                  <a:cxn ang="0">
                    <a:pos x="39" y="93"/>
                  </a:cxn>
                  <a:cxn ang="0">
                    <a:pos x="24" y="111"/>
                  </a:cxn>
                  <a:cxn ang="0">
                    <a:pos x="4" y="120"/>
                  </a:cxn>
                  <a:cxn ang="0">
                    <a:pos x="0" y="130"/>
                  </a:cxn>
                  <a:cxn ang="0">
                    <a:pos x="11" y="172"/>
                  </a:cxn>
                  <a:cxn ang="0">
                    <a:pos x="12" y="185"/>
                  </a:cxn>
                  <a:cxn ang="0">
                    <a:pos x="9" y="200"/>
                  </a:cxn>
                  <a:cxn ang="0">
                    <a:pos x="25" y="206"/>
                  </a:cxn>
                  <a:cxn ang="0">
                    <a:pos x="14" y="214"/>
                  </a:cxn>
                  <a:cxn ang="0">
                    <a:pos x="28" y="230"/>
                  </a:cxn>
                  <a:cxn ang="0">
                    <a:pos x="37" y="236"/>
                  </a:cxn>
                  <a:cxn ang="0">
                    <a:pos x="45" y="245"/>
                  </a:cxn>
                  <a:cxn ang="0">
                    <a:pos x="53" y="254"/>
                  </a:cxn>
                  <a:cxn ang="0">
                    <a:pos x="68" y="254"/>
                  </a:cxn>
                  <a:cxn ang="0">
                    <a:pos x="82" y="262"/>
                  </a:cxn>
                  <a:cxn ang="0">
                    <a:pos x="96" y="288"/>
                  </a:cxn>
                  <a:cxn ang="0">
                    <a:pos x="96" y="288"/>
                  </a:cxn>
                </a:cxnLst>
                <a:rect l="0" t="0" r="r" b="b"/>
                <a:pathLst>
                  <a:path w="190" h="320">
                    <a:moveTo>
                      <a:pt x="96" y="288"/>
                    </a:moveTo>
                    <a:cubicBezTo>
                      <a:pt x="96" y="288"/>
                      <a:pt x="104" y="286"/>
                      <a:pt x="104" y="292"/>
                    </a:cubicBezTo>
                    <a:cubicBezTo>
                      <a:pt x="104" y="292"/>
                      <a:pt x="107" y="302"/>
                      <a:pt x="114" y="294"/>
                    </a:cubicBezTo>
                    <a:cubicBezTo>
                      <a:pt x="114" y="294"/>
                      <a:pt x="122" y="284"/>
                      <a:pt x="126" y="302"/>
                    </a:cubicBezTo>
                    <a:cubicBezTo>
                      <a:pt x="126" y="302"/>
                      <a:pt x="120" y="319"/>
                      <a:pt x="134" y="304"/>
                    </a:cubicBezTo>
                    <a:cubicBezTo>
                      <a:pt x="134" y="304"/>
                      <a:pt x="148" y="291"/>
                      <a:pt x="151" y="309"/>
                    </a:cubicBezTo>
                    <a:cubicBezTo>
                      <a:pt x="151" y="309"/>
                      <a:pt x="155" y="320"/>
                      <a:pt x="165" y="318"/>
                    </a:cubicBezTo>
                    <a:cubicBezTo>
                      <a:pt x="165" y="318"/>
                      <a:pt x="174" y="316"/>
                      <a:pt x="180" y="320"/>
                    </a:cubicBezTo>
                    <a:cubicBezTo>
                      <a:pt x="182" y="309"/>
                      <a:pt x="175" y="303"/>
                      <a:pt x="175" y="303"/>
                    </a:cubicBezTo>
                    <a:cubicBezTo>
                      <a:pt x="166" y="294"/>
                      <a:pt x="169" y="266"/>
                      <a:pt x="169" y="266"/>
                    </a:cubicBezTo>
                    <a:cubicBezTo>
                      <a:pt x="165" y="249"/>
                      <a:pt x="169" y="223"/>
                      <a:pt x="169" y="223"/>
                    </a:cubicBezTo>
                    <a:cubicBezTo>
                      <a:pt x="175" y="216"/>
                      <a:pt x="166" y="201"/>
                      <a:pt x="173" y="188"/>
                    </a:cubicBezTo>
                    <a:cubicBezTo>
                      <a:pt x="179" y="170"/>
                      <a:pt x="171" y="153"/>
                      <a:pt x="171" y="153"/>
                    </a:cubicBezTo>
                    <a:cubicBezTo>
                      <a:pt x="166" y="139"/>
                      <a:pt x="172" y="134"/>
                      <a:pt x="172" y="134"/>
                    </a:cubicBezTo>
                    <a:cubicBezTo>
                      <a:pt x="172" y="134"/>
                      <a:pt x="178" y="128"/>
                      <a:pt x="178" y="111"/>
                    </a:cubicBezTo>
                    <a:cubicBezTo>
                      <a:pt x="175" y="109"/>
                      <a:pt x="179" y="100"/>
                      <a:pt x="179" y="100"/>
                    </a:cubicBezTo>
                    <a:cubicBezTo>
                      <a:pt x="184" y="93"/>
                      <a:pt x="178" y="89"/>
                      <a:pt x="178" y="89"/>
                    </a:cubicBezTo>
                    <a:cubicBezTo>
                      <a:pt x="168" y="65"/>
                      <a:pt x="182" y="55"/>
                      <a:pt x="182" y="55"/>
                    </a:cubicBezTo>
                    <a:cubicBezTo>
                      <a:pt x="182" y="32"/>
                      <a:pt x="190" y="42"/>
                      <a:pt x="189" y="24"/>
                    </a:cubicBezTo>
                    <a:cubicBezTo>
                      <a:pt x="182" y="22"/>
                      <a:pt x="188" y="0"/>
                      <a:pt x="178" y="10"/>
                    </a:cubicBezTo>
                    <a:cubicBezTo>
                      <a:pt x="170" y="2"/>
                      <a:pt x="159" y="5"/>
                      <a:pt x="159" y="5"/>
                    </a:cubicBezTo>
                    <a:cubicBezTo>
                      <a:pt x="150" y="3"/>
                      <a:pt x="144" y="12"/>
                      <a:pt x="144" y="12"/>
                    </a:cubicBezTo>
                    <a:cubicBezTo>
                      <a:pt x="137" y="20"/>
                      <a:pt x="120" y="20"/>
                      <a:pt x="120" y="20"/>
                    </a:cubicBezTo>
                    <a:cubicBezTo>
                      <a:pt x="110" y="26"/>
                      <a:pt x="98" y="7"/>
                      <a:pt x="96" y="23"/>
                    </a:cubicBezTo>
                    <a:cubicBezTo>
                      <a:pt x="98" y="31"/>
                      <a:pt x="83" y="45"/>
                      <a:pt x="83" y="45"/>
                    </a:cubicBezTo>
                    <a:cubicBezTo>
                      <a:pt x="94" y="56"/>
                      <a:pt x="83" y="65"/>
                      <a:pt x="83" y="65"/>
                    </a:cubicBezTo>
                    <a:cubicBezTo>
                      <a:pt x="83" y="72"/>
                      <a:pt x="69" y="73"/>
                      <a:pt x="69" y="73"/>
                    </a:cubicBezTo>
                    <a:cubicBezTo>
                      <a:pt x="39" y="72"/>
                      <a:pt x="46" y="85"/>
                      <a:pt x="46" y="85"/>
                    </a:cubicBezTo>
                    <a:cubicBezTo>
                      <a:pt x="53" y="93"/>
                      <a:pt x="39" y="93"/>
                      <a:pt x="39" y="93"/>
                    </a:cubicBezTo>
                    <a:cubicBezTo>
                      <a:pt x="30" y="115"/>
                      <a:pt x="24" y="111"/>
                      <a:pt x="24" y="111"/>
                    </a:cubicBezTo>
                    <a:cubicBezTo>
                      <a:pt x="19" y="118"/>
                      <a:pt x="9" y="112"/>
                      <a:pt x="4" y="120"/>
                    </a:cubicBezTo>
                    <a:cubicBezTo>
                      <a:pt x="1" y="122"/>
                      <a:pt x="0" y="130"/>
                      <a:pt x="0" y="130"/>
                    </a:cubicBezTo>
                    <a:cubicBezTo>
                      <a:pt x="0" y="130"/>
                      <a:pt x="11" y="150"/>
                      <a:pt x="11" y="172"/>
                    </a:cubicBezTo>
                    <a:cubicBezTo>
                      <a:pt x="11" y="172"/>
                      <a:pt x="17" y="182"/>
                      <a:pt x="12" y="185"/>
                    </a:cubicBezTo>
                    <a:cubicBezTo>
                      <a:pt x="12" y="185"/>
                      <a:pt x="7" y="192"/>
                      <a:pt x="9" y="200"/>
                    </a:cubicBezTo>
                    <a:cubicBezTo>
                      <a:pt x="9" y="200"/>
                      <a:pt x="24" y="199"/>
                      <a:pt x="25" y="206"/>
                    </a:cubicBezTo>
                    <a:cubicBezTo>
                      <a:pt x="25" y="206"/>
                      <a:pt x="28" y="213"/>
                      <a:pt x="14" y="214"/>
                    </a:cubicBezTo>
                    <a:cubicBezTo>
                      <a:pt x="31" y="217"/>
                      <a:pt x="22" y="228"/>
                      <a:pt x="28" y="230"/>
                    </a:cubicBezTo>
                    <a:cubicBezTo>
                      <a:pt x="28" y="230"/>
                      <a:pt x="39" y="221"/>
                      <a:pt x="37" y="236"/>
                    </a:cubicBezTo>
                    <a:cubicBezTo>
                      <a:pt x="37" y="236"/>
                      <a:pt x="35" y="258"/>
                      <a:pt x="45" y="245"/>
                    </a:cubicBezTo>
                    <a:cubicBezTo>
                      <a:pt x="45" y="245"/>
                      <a:pt x="52" y="230"/>
                      <a:pt x="53" y="254"/>
                    </a:cubicBezTo>
                    <a:cubicBezTo>
                      <a:pt x="53" y="254"/>
                      <a:pt x="45" y="273"/>
                      <a:pt x="68" y="254"/>
                    </a:cubicBezTo>
                    <a:cubicBezTo>
                      <a:pt x="68" y="254"/>
                      <a:pt x="79" y="248"/>
                      <a:pt x="82" y="262"/>
                    </a:cubicBezTo>
                    <a:cubicBezTo>
                      <a:pt x="82" y="262"/>
                      <a:pt x="99" y="267"/>
                      <a:pt x="96" y="288"/>
                    </a:cubicBezTo>
                    <a:cubicBezTo>
                      <a:pt x="96" y="288"/>
                      <a:pt x="96" y="288"/>
                      <a:pt x="96" y="288"/>
                    </a:cubicBezTo>
                    <a:close/>
                  </a:path>
                </a:pathLst>
              </a:custGeom>
              <a:solidFill>
                <a:srgbClr val="EEBB0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22" name="Freeform 55"/>
              <p:cNvSpPr>
                <a:spLocks/>
              </p:cNvSpPr>
              <p:nvPr/>
            </p:nvSpPr>
            <p:spPr bwMode="auto">
              <a:xfrm>
                <a:off x="987220" y="2299884"/>
                <a:ext cx="791972" cy="759876"/>
              </a:xfrm>
              <a:custGeom>
                <a:avLst/>
                <a:gdLst/>
                <a:ahLst/>
                <a:cxnLst>
                  <a:cxn ang="0">
                    <a:pos x="45" y="236"/>
                  </a:cxn>
                  <a:cxn ang="0">
                    <a:pos x="36" y="206"/>
                  </a:cxn>
                  <a:cxn ang="0">
                    <a:pos x="37" y="194"/>
                  </a:cxn>
                  <a:cxn ang="0">
                    <a:pos x="53" y="194"/>
                  </a:cxn>
                  <a:cxn ang="0">
                    <a:pos x="29" y="149"/>
                  </a:cxn>
                  <a:cxn ang="0">
                    <a:pos x="20" y="126"/>
                  </a:cxn>
                  <a:cxn ang="0">
                    <a:pos x="9" y="107"/>
                  </a:cxn>
                  <a:cxn ang="0">
                    <a:pos x="12" y="87"/>
                  </a:cxn>
                  <a:cxn ang="0">
                    <a:pos x="12" y="87"/>
                  </a:cxn>
                  <a:cxn ang="0">
                    <a:pos x="5" y="63"/>
                  </a:cxn>
                  <a:cxn ang="0">
                    <a:pos x="5" y="63"/>
                  </a:cxn>
                  <a:cxn ang="0">
                    <a:pos x="18" y="46"/>
                  </a:cxn>
                  <a:cxn ang="0">
                    <a:pos x="42" y="52"/>
                  </a:cxn>
                  <a:cxn ang="0">
                    <a:pos x="60" y="50"/>
                  </a:cxn>
                  <a:cxn ang="0">
                    <a:pos x="84" y="32"/>
                  </a:cxn>
                  <a:cxn ang="0">
                    <a:pos x="93" y="15"/>
                  </a:cxn>
                  <a:cxn ang="0">
                    <a:pos x="129" y="10"/>
                  </a:cxn>
                  <a:cxn ang="0">
                    <a:pos x="178" y="7"/>
                  </a:cxn>
                  <a:cxn ang="0">
                    <a:pos x="206" y="12"/>
                  </a:cxn>
                  <a:cxn ang="0">
                    <a:pos x="225" y="14"/>
                  </a:cxn>
                  <a:cxn ang="0">
                    <a:pos x="228" y="26"/>
                  </a:cxn>
                  <a:cxn ang="0">
                    <a:pos x="225" y="39"/>
                  </a:cxn>
                  <a:cxn ang="0">
                    <a:pos x="218" y="54"/>
                  </a:cxn>
                  <a:cxn ang="0">
                    <a:pos x="221" y="74"/>
                  </a:cxn>
                  <a:cxn ang="0">
                    <a:pos x="222" y="85"/>
                  </a:cxn>
                  <a:cxn ang="0">
                    <a:pos x="218" y="114"/>
                  </a:cxn>
                  <a:cxn ang="0">
                    <a:pos x="229" y="116"/>
                  </a:cxn>
                  <a:cxn ang="0">
                    <a:pos x="248" y="126"/>
                  </a:cxn>
                  <a:cxn ang="0">
                    <a:pos x="259" y="143"/>
                  </a:cxn>
                  <a:cxn ang="0">
                    <a:pos x="267" y="162"/>
                  </a:cxn>
                  <a:cxn ang="0">
                    <a:pos x="258" y="174"/>
                  </a:cxn>
                  <a:cxn ang="0">
                    <a:pos x="272" y="186"/>
                  </a:cxn>
                  <a:cxn ang="0">
                    <a:pos x="257" y="195"/>
                  </a:cxn>
                  <a:cxn ang="0">
                    <a:pos x="259" y="210"/>
                  </a:cxn>
                  <a:cxn ang="0">
                    <a:pos x="249" y="221"/>
                  </a:cxn>
                  <a:cxn ang="0">
                    <a:pos x="245" y="235"/>
                  </a:cxn>
                  <a:cxn ang="0">
                    <a:pos x="232" y="247"/>
                  </a:cxn>
                  <a:cxn ang="0">
                    <a:pos x="217" y="238"/>
                  </a:cxn>
                  <a:cxn ang="0">
                    <a:pos x="199" y="243"/>
                  </a:cxn>
                  <a:cxn ang="0">
                    <a:pos x="182" y="247"/>
                  </a:cxn>
                  <a:cxn ang="0">
                    <a:pos x="170" y="260"/>
                  </a:cxn>
                  <a:cxn ang="0">
                    <a:pos x="157" y="280"/>
                  </a:cxn>
                  <a:cxn ang="0">
                    <a:pos x="157" y="295"/>
                  </a:cxn>
                  <a:cxn ang="0">
                    <a:pos x="148" y="304"/>
                  </a:cxn>
                  <a:cxn ang="0">
                    <a:pos x="139" y="294"/>
                  </a:cxn>
                  <a:cxn ang="0">
                    <a:pos x="118" y="294"/>
                  </a:cxn>
                  <a:cxn ang="0">
                    <a:pos x="103" y="284"/>
                  </a:cxn>
                  <a:cxn ang="0">
                    <a:pos x="89" y="276"/>
                  </a:cxn>
                  <a:cxn ang="0">
                    <a:pos x="81" y="271"/>
                  </a:cxn>
                  <a:cxn ang="0">
                    <a:pos x="88" y="258"/>
                  </a:cxn>
                  <a:cxn ang="0">
                    <a:pos x="78" y="250"/>
                  </a:cxn>
                  <a:cxn ang="0">
                    <a:pos x="63" y="246"/>
                  </a:cxn>
                  <a:cxn ang="0">
                    <a:pos x="45" y="236"/>
                  </a:cxn>
                  <a:cxn ang="0">
                    <a:pos x="45" y="236"/>
                  </a:cxn>
                </a:cxnLst>
                <a:rect l="0" t="0" r="r" b="b"/>
                <a:pathLst>
                  <a:path w="281" h="304">
                    <a:moveTo>
                      <a:pt x="45" y="236"/>
                    </a:moveTo>
                    <a:cubicBezTo>
                      <a:pt x="45" y="227"/>
                      <a:pt x="42" y="216"/>
                      <a:pt x="36" y="206"/>
                    </a:cubicBezTo>
                    <a:cubicBezTo>
                      <a:pt x="36" y="206"/>
                      <a:pt x="24" y="198"/>
                      <a:pt x="37" y="194"/>
                    </a:cubicBezTo>
                    <a:cubicBezTo>
                      <a:pt x="37" y="194"/>
                      <a:pt x="43" y="192"/>
                      <a:pt x="53" y="194"/>
                    </a:cubicBezTo>
                    <a:cubicBezTo>
                      <a:pt x="53" y="184"/>
                      <a:pt x="32" y="184"/>
                      <a:pt x="29" y="149"/>
                    </a:cubicBezTo>
                    <a:cubicBezTo>
                      <a:pt x="23" y="143"/>
                      <a:pt x="31" y="128"/>
                      <a:pt x="20" y="126"/>
                    </a:cubicBezTo>
                    <a:cubicBezTo>
                      <a:pt x="8" y="124"/>
                      <a:pt x="14" y="108"/>
                      <a:pt x="9" y="107"/>
                    </a:cubicBezTo>
                    <a:cubicBezTo>
                      <a:pt x="9" y="107"/>
                      <a:pt x="0" y="103"/>
                      <a:pt x="12" y="87"/>
                    </a:cubicBezTo>
                    <a:cubicBezTo>
                      <a:pt x="12" y="87"/>
                      <a:pt x="12" y="87"/>
                      <a:pt x="12" y="87"/>
                    </a:cubicBezTo>
                    <a:cubicBezTo>
                      <a:pt x="5" y="63"/>
                      <a:pt x="5" y="63"/>
                      <a:pt x="5" y="63"/>
                    </a:cubicBezTo>
                    <a:cubicBezTo>
                      <a:pt x="5" y="63"/>
                      <a:pt x="5" y="63"/>
                      <a:pt x="5" y="63"/>
                    </a:cubicBezTo>
                    <a:cubicBezTo>
                      <a:pt x="5" y="63"/>
                      <a:pt x="6" y="45"/>
                      <a:pt x="18" y="46"/>
                    </a:cubicBezTo>
                    <a:cubicBezTo>
                      <a:pt x="18" y="46"/>
                      <a:pt x="38" y="44"/>
                      <a:pt x="42" y="52"/>
                    </a:cubicBezTo>
                    <a:cubicBezTo>
                      <a:pt x="42" y="52"/>
                      <a:pt x="37" y="68"/>
                      <a:pt x="60" y="50"/>
                    </a:cubicBezTo>
                    <a:cubicBezTo>
                      <a:pt x="60" y="50"/>
                      <a:pt x="75" y="43"/>
                      <a:pt x="84" y="32"/>
                    </a:cubicBezTo>
                    <a:cubicBezTo>
                      <a:pt x="84" y="32"/>
                      <a:pt x="86" y="22"/>
                      <a:pt x="93" y="15"/>
                    </a:cubicBezTo>
                    <a:cubicBezTo>
                      <a:pt x="93" y="15"/>
                      <a:pt x="96" y="3"/>
                      <a:pt x="129" y="10"/>
                    </a:cubicBezTo>
                    <a:cubicBezTo>
                      <a:pt x="129" y="10"/>
                      <a:pt x="163" y="15"/>
                      <a:pt x="178" y="7"/>
                    </a:cubicBezTo>
                    <a:cubicBezTo>
                      <a:pt x="204" y="0"/>
                      <a:pt x="196" y="8"/>
                      <a:pt x="206" y="12"/>
                    </a:cubicBezTo>
                    <a:cubicBezTo>
                      <a:pt x="206" y="12"/>
                      <a:pt x="213" y="13"/>
                      <a:pt x="225" y="14"/>
                    </a:cubicBezTo>
                    <a:cubicBezTo>
                      <a:pt x="224" y="23"/>
                      <a:pt x="228" y="26"/>
                      <a:pt x="228" y="26"/>
                    </a:cubicBezTo>
                    <a:cubicBezTo>
                      <a:pt x="236" y="25"/>
                      <a:pt x="233" y="41"/>
                      <a:pt x="225" y="39"/>
                    </a:cubicBezTo>
                    <a:cubicBezTo>
                      <a:pt x="221" y="45"/>
                      <a:pt x="218" y="54"/>
                      <a:pt x="218" y="54"/>
                    </a:cubicBezTo>
                    <a:cubicBezTo>
                      <a:pt x="214" y="68"/>
                      <a:pt x="221" y="74"/>
                      <a:pt x="221" y="74"/>
                    </a:cubicBezTo>
                    <a:cubicBezTo>
                      <a:pt x="228" y="80"/>
                      <a:pt x="222" y="85"/>
                      <a:pt x="222" y="85"/>
                    </a:cubicBezTo>
                    <a:cubicBezTo>
                      <a:pt x="223" y="107"/>
                      <a:pt x="218" y="114"/>
                      <a:pt x="218" y="114"/>
                    </a:cubicBezTo>
                    <a:cubicBezTo>
                      <a:pt x="221" y="130"/>
                      <a:pt x="229" y="116"/>
                      <a:pt x="229" y="116"/>
                    </a:cubicBezTo>
                    <a:cubicBezTo>
                      <a:pt x="246" y="110"/>
                      <a:pt x="248" y="126"/>
                      <a:pt x="248" y="126"/>
                    </a:cubicBezTo>
                    <a:cubicBezTo>
                      <a:pt x="252" y="141"/>
                      <a:pt x="259" y="143"/>
                      <a:pt x="259" y="143"/>
                    </a:cubicBezTo>
                    <a:cubicBezTo>
                      <a:pt x="281" y="162"/>
                      <a:pt x="267" y="162"/>
                      <a:pt x="267" y="162"/>
                    </a:cubicBezTo>
                    <a:cubicBezTo>
                      <a:pt x="258" y="165"/>
                      <a:pt x="258" y="174"/>
                      <a:pt x="258" y="174"/>
                    </a:cubicBezTo>
                    <a:cubicBezTo>
                      <a:pt x="276" y="173"/>
                      <a:pt x="272" y="186"/>
                      <a:pt x="272" y="186"/>
                    </a:cubicBezTo>
                    <a:cubicBezTo>
                      <a:pt x="273" y="196"/>
                      <a:pt x="257" y="192"/>
                      <a:pt x="257" y="195"/>
                    </a:cubicBezTo>
                    <a:cubicBezTo>
                      <a:pt x="271" y="205"/>
                      <a:pt x="259" y="210"/>
                      <a:pt x="259" y="210"/>
                    </a:cubicBezTo>
                    <a:cubicBezTo>
                      <a:pt x="260" y="217"/>
                      <a:pt x="249" y="221"/>
                      <a:pt x="249" y="221"/>
                    </a:cubicBezTo>
                    <a:cubicBezTo>
                      <a:pt x="242" y="225"/>
                      <a:pt x="245" y="235"/>
                      <a:pt x="245" y="235"/>
                    </a:cubicBezTo>
                    <a:cubicBezTo>
                      <a:pt x="246" y="258"/>
                      <a:pt x="232" y="247"/>
                      <a:pt x="232" y="247"/>
                    </a:cubicBezTo>
                    <a:cubicBezTo>
                      <a:pt x="224" y="247"/>
                      <a:pt x="225" y="237"/>
                      <a:pt x="217" y="238"/>
                    </a:cubicBezTo>
                    <a:cubicBezTo>
                      <a:pt x="210" y="236"/>
                      <a:pt x="210" y="243"/>
                      <a:pt x="199" y="243"/>
                    </a:cubicBezTo>
                    <a:cubicBezTo>
                      <a:pt x="184" y="239"/>
                      <a:pt x="182" y="247"/>
                      <a:pt x="182" y="247"/>
                    </a:cubicBezTo>
                    <a:cubicBezTo>
                      <a:pt x="177" y="252"/>
                      <a:pt x="181" y="265"/>
                      <a:pt x="170" y="260"/>
                    </a:cubicBezTo>
                    <a:cubicBezTo>
                      <a:pt x="153" y="257"/>
                      <a:pt x="157" y="280"/>
                      <a:pt x="157" y="280"/>
                    </a:cubicBezTo>
                    <a:cubicBezTo>
                      <a:pt x="168" y="291"/>
                      <a:pt x="157" y="295"/>
                      <a:pt x="157" y="295"/>
                    </a:cubicBezTo>
                    <a:cubicBezTo>
                      <a:pt x="155" y="301"/>
                      <a:pt x="148" y="304"/>
                      <a:pt x="148" y="304"/>
                    </a:cubicBezTo>
                    <a:cubicBezTo>
                      <a:pt x="148" y="304"/>
                      <a:pt x="149" y="297"/>
                      <a:pt x="139" y="294"/>
                    </a:cubicBezTo>
                    <a:cubicBezTo>
                      <a:pt x="139" y="294"/>
                      <a:pt x="128" y="289"/>
                      <a:pt x="118" y="294"/>
                    </a:cubicBezTo>
                    <a:cubicBezTo>
                      <a:pt x="118" y="294"/>
                      <a:pt x="107" y="299"/>
                      <a:pt x="103" y="284"/>
                    </a:cubicBezTo>
                    <a:cubicBezTo>
                      <a:pt x="103" y="284"/>
                      <a:pt x="100" y="277"/>
                      <a:pt x="89" y="276"/>
                    </a:cubicBezTo>
                    <a:cubicBezTo>
                      <a:pt x="89" y="276"/>
                      <a:pt x="82" y="280"/>
                      <a:pt x="81" y="271"/>
                    </a:cubicBezTo>
                    <a:cubicBezTo>
                      <a:pt x="74" y="266"/>
                      <a:pt x="90" y="264"/>
                      <a:pt x="88" y="258"/>
                    </a:cubicBezTo>
                    <a:cubicBezTo>
                      <a:pt x="88" y="258"/>
                      <a:pt x="87" y="250"/>
                      <a:pt x="78" y="250"/>
                    </a:cubicBezTo>
                    <a:cubicBezTo>
                      <a:pt x="78" y="250"/>
                      <a:pt x="74" y="243"/>
                      <a:pt x="63" y="246"/>
                    </a:cubicBezTo>
                    <a:cubicBezTo>
                      <a:pt x="63" y="246"/>
                      <a:pt x="54" y="247"/>
                      <a:pt x="45" y="236"/>
                    </a:cubicBezTo>
                    <a:cubicBezTo>
                      <a:pt x="45" y="236"/>
                      <a:pt x="45" y="236"/>
                      <a:pt x="45" y="236"/>
                    </a:cubicBezTo>
                    <a:close/>
                  </a:path>
                </a:pathLst>
              </a:custGeom>
              <a:solidFill>
                <a:srgbClr val="EEBB0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900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23" name="Freeform 54"/>
              <p:cNvSpPr>
                <a:spLocks/>
              </p:cNvSpPr>
              <p:nvPr/>
            </p:nvSpPr>
            <p:spPr bwMode="auto">
              <a:xfrm>
                <a:off x="1396319" y="2322498"/>
                <a:ext cx="912605" cy="877476"/>
              </a:xfrm>
              <a:custGeom>
                <a:avLst/>
                <a:gdLst/>
                <a:ahLst/>
                <a:cxnLst>
                  <a:cxn ang="0">
                    <a:pos x="83" y="17"/>
                  </a:cxn>
                  <a:cxn ang="0">
                    <a:pos x="73" y="45"/>
                  </a:cxn>
                  <a:cxn ang="0">
                    <a:pos x="77" y="76"/>
                  </a:cxn>
                  <a:cxn ang="0">
                    <a:pos x="84" y="107"/>
                  </a:cxn>
                  <a:cxn ang="0">
                    <a:pos x="114" y="134"/>
                  </a:cxn>
                  <a:cxn ang="0">
                    <a:pos x="113" y="165"/>
                  </a:cxn>
                  <a:cxn ang="0">
                    <a:pos x="112" y="186"/>
                  </a:cxn>
                  <a:cxn ang="0">
                    <a:pos x="104" y="212"/>
                  </a:cxn>
                  <a:cxn ang="0">
                    <a:pos x="87" y="238"/>
                  </a:cxn>
                  <a:cxn ang="0">
                    <a:pos x="54" y="234"/>
                  </a:cxn>
                  <a:cxn ang="0">
                    <a:pos x="25" y="251"/>
                  </a:cxn>
                  <a:cxn ang="0">
                    <a:pos x="12" y="286"/>
                  </a:cxn>
                  <a:cxn ang="0">
                    <a:pos x="17" y="299"/>
                  </a:cxn>
                  <a:cxn ang="0">
                    <a:pos x="17" y="335"/>
                  </a:cxn>
                  <a:cxn ang="0">
                    <a:pos x="32" y="351"/>
                  </a:cxn>
                  <a:cxn ang="0">
                    <a:pos x="45" y="329"/>
                  </a:cxn>
                  <a:cxn ang="0">
                    <a:pos x="93" y="318"/>
                  </a:cxn>
                  <a:cxn ang="0">
                    <a:pos x="127" y="316"/>
                  </a:cxn>
                  <a:cxn ang="0">
                    <a:pos x="146" y="326"/>
                  </a:cxn>
                  <a:cxn ang="0">
                    <a:pos x="176" y="306"/>
                  </a:cxn>
                  <a:cxn ang="0">
                    <a:pos x="216" y="272"/>
                  </a:cxn>
                  <a:cxn ang="0">
                    <a:pos x="251" y="268"/>
                  </a:cxn>
                  <a:cxn ang="0">
                    <a:pos x="256" y="245"/>
                  </a:cxn>
                  <a:cxn ang="0">
                    <a:pos x="256" y="207"/>
                  </a:cxn>
                  <a:cxn ang="0">
                    <a:pos x="272" y="168"/>
                  </a:cxn>
                  <a:cxn ang="0">
                    <a:pos x="280" y="151"/>
                  </a:cxn>
                  <a:cxn ang="0">
                    <a:pos x="286" y="132"/>
                  </a:cxn>
                  <a:cxn ang="0">
                    <a:pos x="292" y="107"/>
                  </a:cxn>
                  <a:cxn ang="0">
                    <a:pos x="306" y="101"/>
                  </a:cxn>
                  <a:cxn ang="0">
                    <a:pos x="322" y="85"/>
                  </a:cxn>
                  <a:cxn ang="0">
                    <a:pos x="270" y="70"/>
                  </a:cxn>
                  <a:cxn ang="0">
                    <a:pos x="263" y="52"/>
                  </a:cxn>
                  <a:cxn ang="0">
                    <a:pos x="253" y="45"/>
                  </a:cxn>
                  <a:cxn ang="0">
                    <a:pos x="234" y="46"/>
                  </a:cxn>
                  <a:cxn ang="0">
                    <a:pos x="181" y="28"/>
                  </a:cxn>
                  <a:cxn ang="0">
                    <a:pos x="148" y="17"/>
                  </a:cxn>
                  <a:cxn ang="0">
                    <a:pos x="105" y="5"/>
                  </a:cxn>
                  <a:cxn ang="0">
                    <a:pos x="80" y="4"/>
                  </a:cxn>
                </a:cxnLst>
                <a:rect l="0" t="0" r="r" b="b"/>
                <a:pathLst>
                  <a:path w="323" h="351">
                    <a:moveTo>
                      <a:pt x="80" y="4"/>
                    </a:moveTo>
                    <a:cubicBezTo>
                      <a:pt x="79" y="13"/>
                      <a:pt x="83" y="17"/>
                      <a:pt x="83" y="17"/>
                    </a:cubicBezTo>
                    <a:cubicBezTo>
                      <a:pt x="91" y="16"/>
                      <a:pt x="88" y="32"/>
                      <a:pt x="80" y="30"/>
                    </a:cubicBezTo>
                    <a:cubicBezTo>
                      <a:pt x="76" y="36"/>
                      <a:pt x="73" y="45"/>
                      <a:pt x="73" y="45"/>
                    </a:cubicBezTo>
                    <a:cubicBezTo>
                      <a:pt x="69" y="59"/>
                      <a:pt x="76" y="65"/>
                      <a:pt x="76" y="65"/>
                    </a:cubicBezTo>
                    <a:cubicBezTo>
                      <a:pt x="83" y="71"/>
                      <a:pt x="77" y="76"/>
                      <a:pt x="77" y="76"/>
                    </a:cubicBezTo>
                    <a:cubicBezTo>
                      <a:pt x="78" y="98"/>
                      <a:pt x="73" y="105"/>
                      <a:pt x="73" y="105"/>
                    </a:cubicBezTo>
                    <a:cubicBezTo>
                      <a:pt x="76" y="121"/>
                      <a:pt x="84" y="107"/>
                      <a:pt x="84" y="107"/>
                    </a:cubicBezTo>
                    <a:cubicBezTo>
                      <a:pt x="101" y="101"/>
                      <a:pt x="103" y="117"/>
                      <a:pt x="103" y="117"/>
                    </a:cubicBezTo>
                    <a:cubicBezTo>
                      <a:pt x="107" y="132"/>
                      <a:pt x="114" y="134"/>
                      <a:pt x="114" y="134"/>
                    </a:cubicBezTo>
                    <a:cubicBezTo>
                      <a:pt x="136" y="153"/>
                      <a:pt x="122" y="153"/>
                      <a:pt x="122" y="153"/>
                    </a:cubicBezTo>
                    <a:cubicBezTo>
                      <a:pt x="113" y="156"/>
                      <a:pt x="113" y="165"/>
                      <a:pt x="113" y="165"/>
                    </a:cubicBezTo>
                    <a:cubicBezTo>
                      <a:pt x="131" y="164"/>
                      <a:pt x="127" y="177"/>
                      <a:pt x="127" y="177"/>
                    </a:cubicBezTo>
                    <a:cubicBezTo>
                      <a:pt x="128" y="187"/>
                      <a:pt x="112" y="183"/>
                      <a:pt x="112" y="186"/>
                    </a:cubicBezTo>
                    <a:cubicBezTo>
                      <a:pt x="126" y="196"/>
                      <a:pt x="114" y="201"/>
                      <a:pt x="114" y="201"/>
                    </a:cubicBezTo>
                    <a:cubicBezTo>
                      <a:pt x="115" y="208"/>
                      <a:pt x="104" y="212"/>
                      <a:pt x="104" y="212"/>
                    </a:cubicBezTo>
                    <a:cubicBezTo>
                      <a:pt x="97" y="216"/>
                      <a:pt x="100" y="226"/>
                      <a:pt x="100" y="226"/>
                    </a:cubicBezTo>
                    <a:cubicBezTo>
                      <a:pt x="101" y="249"/>
                      <a:pt x="87" y="238"/>
                      <a:pt x="87" y="238"/>
                    </a:cubicBezTo>
                    <a:cubicBezTo>
                      <a:pt x="79" y="238"/>
                      <a:pt x="80" y="228"/>
                      <a:pt x="72" y="229"/>
                    </a:cubicBezTo>
                    <a:cubicBezTo>
                      <a:pt x="65" y="227"/>
                      <a:pt x="65" y="234"/>
                      <a:pt x="54" y="234"/>
                    </a:cubicBezTo>
                    <a:cubicBezTo>
                      <a:pt x="39" y="230"/>
                      <a:pt x="37" y="238"/>
                      <a:pt x="37" y="238"/>
                    </a:cubicBezTo>
                    <a:cubicBezTo>
                      <a:pt x="32" y="243"/>
                      <a:pt x="36" y="256"/>
                      <a:pt x="25" y="251"/>
                    </a:cubicBezTo>
                    <a:cubicBezTo>
                      <a:pt x="8" y="248"/>
                      <a:pt x="12" y="271"/>
                      <a:pt x="12" y="271"/>
                    </a:cubicBezTo>
                    <a:cubicBezTo>
                      <a:pt x="23" y="282"/>
                      <a:pt x="12" y="286"/>
                      <a:pt x="12" y="286"/>
                    </a:cubicBezTo>
                    <a:cubicBezTo>
                      <a:pt x="10" y="292"/>
                      <a:pt x="3" y="295"/>
                      <a:pt x="3" y="295"/>
                    </a:cubicBezTo>
                    <a:cubicBezTo>
                      <a:pt x="0" y="302"/>
                      <a:pt x="17" y="299"/>
                      <a:pt x="17" y="299"/>
                    </a:cubicBezTo>
                    <a:cubicBezTo>
                      <a:pt x="21" y="304"/>
                      <a:pt x="14" y="311"/>
                      <a:pt x="14" y="311"/>
                    </a:cubicBezTo>
                    <a:cubicBezTo>
                      <a:pt x="11" y="328"/>
                      <a:pt x="17" y="335"/>
                      <a:pt x="17" y="335"/>
                    </a:cubicBezTo>
                    <a:cubicBezTo>
                      <a:pt x="17" y="335"/>
                      <a:pt x="17" y="335"/>
                      <a:pt x="17" y="335"/>
                    </a:cubicBezTo>
                    <a:cubicBezTo>
                      <a:pt x="32" y="351"/>
                      <a:pt x="32" y="351"/>
                      <a:pt x="32" y="351"/>
                    </a:cubicBezTo>
                    <a:cubicBezTo>
                      <a:pt x="32" y="351"/>
                      <a:pt x="32" y="351"/>
                      <a:pt x="32" y="351"/>
                    </a:cubicBezTo>
                    <a:cubicBezTo>
                      <a:pt x="32" y="351"/>
                      <a:pt x="47" y="337"/>
                      <a:pt x="45" y="329"/>
                    </a:cubicBezTo>
                    <a:cubicBezTo>
                      <a:pt x="47" y="313"/>
                      <a:pt x="59" y="332"/>
                      <a:pt x="69" y="326"/>
                    </a:cubicBezTo>
                    <a:cubicBezTo>
                      <a:pt x="69" y="326"/>
                      <a:pt x="86" y="326"/>
                      <a:pt x="93" y="318"/>
                    </a:cubicBezTo>
                    <a:cubicBezTo>
                      <a:pt x="93" y="318"/>
                      <a:pt x="99" y="309"/>
                      <a:pt x="108" y="311"/>
                    </a:cubicBezTo>
                    <a:cubicBezTo>
                      <a:pt x="108" y="311"/>
                      <a:pt x="119" y="308"/>
                      <a:pt x="127" y="316"/>
                    </a:cubicBezTo>
                    <a:cubicBezTo>
                      <a:pt x="137" y="306"/>
                      <a:pt x="131" y="329"/>
                      <a:pt x="137" y="330"/>
                    </a:cubicBezTo>
                    <a:cubicBezTo>
                      <a:pt x="142" y="330"/>
                      <a:pt x="146" y="326"/>
                      <a:pt x="146" y="326"/>
                    </a:cubicBezTo>
                    <a:cubicBezTo>
                      <a:pt x="153" y="309"/>
                      <a:pt x="158" y="318"/>
                      <a:pt x="158" y="318"/>
                    </a:cubicBezTo>
                    <a:cubicBezTo>
                      <a:pt x="166" y="320"/>
                      <a:pt x="176" y="306"/>
                      <a:pt x="176" y="306"/>
                    </a:cubicBezTo>
                    <a:cubicBezTo>
                      <a:pt x="193" y="295"/>
                      <a:pt x="195" y="285"/>
                      <a:pt x="195" y="285"/>
                    </a:cubicBezTo>
                    <a:cubicBezTo>
                      <a:pt x="205" y="270"/>
                      <a:pt x="216" y="272"/>
                      <a:pt x="216" y="272"/>
                    </a:cubicBezTo>
                    <a:cubicBezTo>
                      <a:pt x="226" y="273"/>
                      <a:pt x="230" y="266"/>
                      <a:pt x="230" y="266"/>
                    </a:cubicBezTo>
                    <a:cubicBezTo>
                      <a:pt x="238" y="257"/>
                      <a:pt x="241" y="271"/>
                      <a:pt x="251" y="268"/>
                    </a:cubicBezTo>
                    <a:cubicBezTo>
                      <a:pt x="258" y="267"/>
                      <a:pt x="253" y="260"/>
                      <a:pt x="253" y="260"/>
                    </a:cubicBezTo>
                    <a:cubicBezTo>
                      <a:pt x="245" y="249"/>
                      <a:pt x="256" y="245"/>
                      <a:pt x="256" y="245"/>
                    </a:cubicBezTo>
                    <a:cubicBezTo>
                      <a:pt x="262" y="233"/>
                      <a:pt x="256" y="227"/>
                      <a:pt x="256" y="227"/>
                    </a:cubicBezTo>
                    <a:cubicBezTo>
                      <a:pt x="252" y="219"/>
                      <a:pt x="260" y="218"/>
                      <a:pt x="256" y="207"/>
                    </a:cubicBezTo>
                    <a:cubicBezTo>
                      <a:pt x="258" y="193"/>
                      <a:pt x="249" y="183"/>
                      <a:pt x="259" y="181"/>
                    </a:cubicBezTo>
                    <a:cubicBezTo>
                      <a:pt x="268" y="179"/>
                      <a:pt x="272" y="168"/>
                      <a:pt x="272" y="168"/>
                    </a:cubicBezTo>
                    <a:cubicBezTo>
                      <a:pt x="272" y="168"/>
                      <a:pt x="272" y="168"/>
                      <a:pt x="272" y="168"/>
                    </a:cubicBezTo>
                    <a:cubicBezTo>
                      <a:pt x="280" y="151"/>
                      <a:pt x="280" y="151"/>
                      <a:pt x="280" y="151"/>
                    </a:cubicBezTo>
                    <a:cubicBezTo>
                      <a:pt x="280" y="151"/>
                      <a:pt x="280" y="151"/>
                      <a:pt x="280" y="151"/>
                    </a:cubicBezTo>
                    <a:cubicBezTo>
                      <a:pt x="289" y="151"/>
                      <a:pt x="286" y="132"/>
                      <a:pt x="286" y="132"/>
                    </a:cubicBezTo>
                    <a:cubicBezTo>
                      <a:pt x="298" y="125"/>
                      <a:pt x="290" y="122"/>
                      <a:pt x="290" y="122"/>
                    </a:cubicBezTo>
                    <a:cubicBezTo>
                      <a:pt x="285" y="111"/>
                      <a:pt x="292" y="107"/>
                      <a:pt x="292" y="107"/>
                    </a:cubicBezTo>
                    <a:cubicBezTo>
                      <a:pt x="293" y="114"/>
                      <a:pt x="292" y="116"/>
                      <a:pt x="302" y="119"/>
                    </a:cubicBezTo>
                    <a:cubicBezTo>
                      <a:pt x="299" y="108"/>
                      <a:pt x="306" y="101"/>
                      <a:pt x="306" y="101"/>
                    </a:cubicBezTo>
                    <a:cubicBezTo>
                      <a:pt x="311" y="93"/>
                      <a:pt x="317" y="98"/>
                      <a:pt x="317" y="98"/>
                    </a:cubicBezTo>
                    <a:cubicBezTo>
                      <a:pt x="314" y="91"/>
                      <a:pt x="322" y="85"/>
                      <a:pt x="322" y="85"/>
                    </a:cubicBezTo>
                    <a:cubicBezTo>
                      <a:pt x="323" y="69"/>
                      <a:pt x="292" y="68"/>
                      <a:pt x="292" y="76"/>
                    </a:cubicBezTo>
                    <a:cubicBezTo>
                      <a:pt x="266" y="79"/>
                      <a:pt x="270" y="70"/>
                      <a:pt x="270" y="70"/>
                    </a:cubicBezTo>
                    <a:cubicBezTo>
                      <a:pt x="278" y="63"/>
                      <a:pt x="266" y="63"/>
                      <a:pt x="266" y="63"/>
                    </a:cubicBezTo>
                    <a:cubicBezTo>
                      <a:pt x="259" y="59"/>
                      <a:pt x="263" y="52"/>
                      <a:pt x="263" y="52"/>
                    </a:cubicBezTo>
                    <a:cubicBezTo>
                      <a:pt x="265" y="45"/>
                      <a:pt x="253" y="45"/>
                      <a:pt x="253" y="45"/>
                    </a:cubicBezTo>
                    <a:cubicBezTo>
                      <a:pt x="253" y="45"/>
                      <a:pt x="253" y="45"/>
                      <a:pt x="253" y="45"/>
                    </a:cubicBezTo>
                    <a:cubicBezTo>
                      <a:pt x="234" y="46"/>
                      <a:pt x="234" y="46"/>
                      <a:pt x="234" y="46"/>
                    </a:cubicBezTo>
                    <a:cubicBezTo>
                      <a:pt x="234" y="46"/>
                      <a:pt x="234" y="46"/>
                      <a:pt x="234" y="46"/>
                    </a:cubicBezTo>
                    <a:cubicBezTo>
                      <a:pt x="220" y="44"/>
                      <a:pt x="216" y="31"/>
                      <a:pt x="191" y="32"/>
                    </a:cubicBezTo>
                    <a:cubicBezTo>
                      <a:pt x="179" y="33"/>
                      <a:pt x="181" y="28"/>
                      <a:pt x="181" y="28"/>
                    </a:cubicBezTo>
                    <a:cubicBezTo>
                      <a:pt x="179" y="20"/>
                      <a:pt x="162" y="21"/>
                      <a:pt x="162" y="21"/>
                    </a:cubicBezTo>
                    <a:cubicBezTo>
                      <a:pt x="148" y="24"/>
                      <a:pt x="148" y="17"/>
                      <a:pt x="148" y="17"/>
                    </a:cubicBezTo>
                    <a:cubicBezTo>
                      <a:pt x="145" y="7"/>
                      <a:pt x="128" y="10"/>
                      <a:pt x="128" y="10"/>
                    </a:cubicBezTo>
                    <a:cubicBezTo>
                      <a:pt x="111" y="10"/>
                      <a:pt x="113" y="0"/>
                      <a:pt x="105" y="5"/>
                    </a:cubicBezTo>
                    <a:cubicBezTo>
                      <a:pt x="95" y="6"/>
                      <a:pt x="87" y="4"/>
                      <a:pt x="80" y="4"/>
                    </a:cubicBezTo>
                    <a:cubicBezTo>
                      <a:pt x="80" y="4"/>
                      <a:pt x="80" y="4"/>
                      <a:pt x="80" y="4"/>
                    </a:cubicBezTo>
                    <a:close/>
                  </a:path>
                </a:pathLst>
              </a:custGeom>
              <a:solidFill>
                <a:srgbClr val="EEBB0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24" name="Freeform 53"/>
              <p:cNvSpPr>
                <a:spLocks/>
              </p:cNvSpPr>
              <p:nvPr/>
            </p:nvSpPr>
            <p:spPr bwMode="auto">
              <a:xfrm>
                <a:off x="1716253" y="2964774"/>
                <a:ext cx="597914" cy="976984"/>
              </a:xfrm>
              <a:custGeom>
                <a:avLst/>
                <a:gdLst/>
                <a:ahLst/>
                <a:cxnLst>
                  <a:cxn ang="0">
                    <a:pos x="138" y="12"/>
                  </a:cxn>
                  <a:cxn ang="0">
                    <a:pos x="142" y="32"/>
                  </a:cxn>
                  <a:cxn ang="0">
                    <a:pos x="146" y="45"/>
                  </a:cxn>
                  <a:cxn ang="0">
                    <a:pos x="161" y="63"/>
                  </a:cxn>
                  <a:cxn ang="0">
                    <a:pos x="178" y="68"/>
                  </a:cxn>
                  <a:cxn ang="0">
                    <a:pos x="182" y="91"/>
                  </a:cxn>
                  <a:cxn ang="0">
                    <a:pos x="178" y="111"/>
                  </a:cxn>
                  <a:cxn ang="0">
                    <a:pos x="171" y="128"/>
                  </a:cxn>
                  <a:cxn ang="0">
                    <a:pos x="183" y="149"/>
                  </a:cxn>
                  <a:cxn ang="0">
                    <a:pos x="204" y="155"/>
                  </a:cxn>
                  <a:cxn ang="0">
                    <a:pos x="199" y="166"/>
                  </a:cxn>
                  <a:cxn ang="0">
                    <a:pos x="199" y="179"/>
                  </a:cxn>
                  <a:cxn ang="0">
                    <a:pos x="195" y="191"/>
                  </a:cxn>
                  <a:cxn ang="0">
                    <a:pos x="196" y="217"/>
                  </a:cxn>
                  <a:cxn ang="0">
                    <a:pos x="203" y="251"/>
                  </a:cxn>
                  <a:cxn ang="0">
                    <a:pos x="182" y="268"/>
                  </a:cxn>
                  <a:cxn ang="0">
                    <a:pos x="153" y="274"/>
                  </a:cxn>
                  <a:cxn ang="0">
                    <a:pos x="142" y="302"/>
                  </a:cxn>
                  <a:cxn ang="0">
                    <a:pos x="140" y="358"/>
                  </a:cxn>
                  <a:cxn ang="0">
                    <a:pos x="125" y="360"/>
                  </a:cxn>
                  <a:cxn ang="0">
                    <a:pos x="98" y="368"/>
                  </a:cxn>
                  <a:cxn ang="0">
                    <a:pos x="83" y="367"/>
                  </a:cxn>
                  <a:cxn ang="0">
                    <a:pos x="70" y="361"/>
                  </a:cxn>
                  <a:cxn ang="0">
                    <a:pos x="48" y="366"/>
                  </a:cxn>
                  <a:cxn ang="0">
                    <a:pos x="48" y="381"/>
                  </a:cxn>
                  <a:cxn ang="0">
                    <a:pos x="32" y="369"/>
                  </a:cxn>
                  <a:cxn ang="0">
                    <a:pos x="32" y="369"/>
                  </a:cxn>
                  <a:cxn ang="0">
                    <a:pos x="15" y="369"/>
                  </a:cxn>
                  <a:cxn ang="0">
                    <a:pos x="15" y="369"/>
                  </a:cxn>
                  <a:cxn ang="0">
                    <a:pos x="10" y="352"/>
                  </a:cxn>
                  <a:cxn ang="0">
                    <a:pos x="4" y="315"/>
                  </a:cxn>
                  <a:cxn ang="0">
                    <a:pos x="4" y="272"/>
                  </a:cxn>
                  <a:cxn ang="0">
                    <a:pos x="8" y="237"/>
                  </a:cxn>
                  <a:cxn ang="0">
                    <a:pos x="6" y="202"/>
                  </a:cxn>
                  <a:cxn ang="0">
                    <a:pos x="7" y="183"/>
                  </a:cxn>
                  <a:cxn ang="0">
                    <a:pos x="13" y="160"/>
                  </a:cxn>
                  <a:cxn ang="0">
                    <a:pos x="14" y="149"/>
                  </a:cxn>
                  <a:cxn ang="0">
                    <a:pos x="13" y="138"/>
                  </a:cxn>
                  <a:cxn ang="0">
                    <a:pos x="17" y="104"/>
                  </a:cxn>
                  <a:cxn ang="0">
                    <a:pos x="24" y="73"/>
                  </a:cxn>
                  <a:cxn ang="0">
                    <a:pos x="32" y="69"/>
                  </a:cxn>
                  <a:cxn ang="0">
                    <a:pos x="44" y="61"/>
                  </a:cxn>
                  <a:cxn ang="0">
                    <a:pos x="62" y="49"/>
                  </a:cxn>
                  <a:cxn ang="0">
                    <a:pos x="81" y="28"/>
                  </a:cxn>
                  <a:cxn ang="0">
                    <a:pos x="102" y="15"/>
                  </a:cxn>
                  <a:cxn ang="0">
                    <a:pos x="116" y="9"/>
                  </a:cxn>
                  <a:cxn ang="0">
                    <a:pos x="138" y="12"/>
                  </a:cxn>
                  <a:cxn ang="0">
                    <a:pos x="138" y="12"/>
                  </a:cxn>
                </a:cxnLst>
                <a:rect l="0" t="0" r="r" b="b"/>
                <a:pathLst>
                  <a:path w="211" h="390">
                    <a:moveTo>
                      <a:pt x="138" y="12"/>
                    </a:moveTo>
                    <a:cubicBezTo>
                      <a:pt x="138" y="21"/>
                      <a:pt x="149" y="19"/>
                      <a:pt x="142" y="32"/>
                    </a:cubicBezTo>
                    <a:cubicBezTo>
                      <a:pt x="142" y="32"/>
                      <a:pt x="134" y="38"/>
                      <a:pt x="146" y="45"/>
                    </a:cubicBezTo>
                    <a:cubicBezTo>
                      <a:pt x="156" y="55"/>
                      <a:pt x="156" y="63"/>
                      <a:pt x="161" y="63"/>
                    </a:cubicBezTo>
                    <a:cubicBezTo>
                      <a:pt x="161" y="63"/>
                      <a:pt x="171" y="78"/>
                      <a:pt x="178" y="68"/>
                    </a:cubicBezTo>
                    <a:cubicBezTo>
                      <a:pt x="178" y="68"/>
                      <a:pt x="182" y="72"/>
                      <a:pt x="182" y="91"/>
                    </a:cubicBezTo>
                    <a:cubicBezTo>
                      <a:pt x="175" y="102"/>
                      <a:pt x="190" y="105"/>
                      <a:pt x="178" y="111"/>
                    </a:cubicBezTo>
                    <a:cubicBezTo>
                      <a:pt x="178" y="111"/>
                      <a:pt x="168" y="110"/>
                      <a:pt x="171" y="128"/>
                    </a:cubicBezTo>
                    <a:cubicBezTo>
                      <a:pt x="171" y="128"/>
                      <a:pt x="171" y="138"/>
                      <a:pt x="183" y="149"/>
                    </a:cubicBezTo>
                    <a:cubicBezTo>
                      <a:pt x="183" y="149"/>
                      <a:pt x="199" y="149"/>
                      <a:pt x="204" y="155"/>
                    </a:cubicBezTo>
                    <a:cubicBezTo>
                      <a:pt x="211" y="162"/>
                      <a:pt x="199" y="166"/>
                      <a:pt x="199" y="166"/>
                    </a:cubicBezTo>
                    <a:cubicBezTo>
                      <a:pt x="188" y="169"/>
                      <a:pt x="199" y="179"/>
                      <a:pt x="199" y="179"/>
                    </a:cubicBezTo>
                    <a:cubicBezTo>
                      <a:pt x="201" y="186"/>
                      <a:pt x="195" y="191"/>
                      <a:pt x="195" y="191"/>
                    </a:cubicBezTo>
                    <a:cubicBezTo>
                      <a:pt x="182" y="204"/>
                      <a:pt x="196" y="217"/>
                      <a:pt x="196" y="217"/>
                    </a:cubicBezTo>
                    <a:cubicBezTo>
                      <a:pt x="205" y="230"/>
                      <a:pt x="203" y="251"/>
                      <a:pt x="203" y="251"/>
                    </a:cubicBezTo>
                    <a:cubicBezTo>
                      <a:pt x="210" y="282"/>
                      <a:pt x="182" y="268"/>
                      <a:pt x="182" y="268"/>
                    </a:cubicBezTo>
                    <a:cubicBezTo>
                      <a:pt x="176" y="259"/>
                      <a:pt x="153" y="267"/>
                      <a:pt x="153" y="274"/>
                    </a:cubicBezTo>
                    <a:cubicBezTo>
                      <a:pt x="156" y="279"/>
                      <a:pt x="141" y="285"/>
                      <a:pt x="142" y="302"/>
                    </a:cubicBezTo>
                    <a:cubicBezTo>
                      <a:pt x="149" y="343"/>
                      <a:pt x="140" y="358"/>
                      <a:pt x="140" y="358"/>
                    </a:cubicBezTo>
                    <a:cubicBezTo>
                      <a:pt x="134" y="364"/>
                      <a:pt x="125" y="360"/>
                      <a:pt x="125" y="360"/>
                    </a:cubicBezTo>
                    <a:cubicBezTo>
                      <a:pt x="112" y="370"/>
                      <a:pt x="98" y="368"/>
                      <a:pt x="98" y="368"/>
                    </a:cubicBezTo>
                    <a:cubicBezTo>
                      <a:pt x="93" y="361"/>
                      <a:pt x="83" y="367"/>
                      <a:pt x="83" y="367"/>
                    </a:cubicBezTo>
                    <a:cubicBezTo>
                      <a:pt x="73" y="375"/>
                      <a:pt x="70" y="361"/>
                      <a:pt x="70" y="361"/>
                    </a:cubicBezTo>
                    <a:cubicBezTo>
                      <a:pt x="57" y="361"/>
                      <a:pt x="48" y="366"/>
                      <a:pt x="48" y="366"/>
                    </a:cubicBezTo>
                    <a:cubicBezTo>
                      <a:pt x="56" y="374"/>
                      <a:pt x="48" y="381"/>
                      <a:pt x="48" y="381"/>
                    </a:cubicBezTo>
                    <a:cubicBezTo>
                      <a:pt x="36" y="390"/>
                      <a:pt x="32" y="369"/>
                      <a:pt x="32" y="369"/>
                    </a:cubicBezTo>
                    <a:cubicBezTo>
                      <a:pt x="32" y="369"/>
                      <a:pt x="32" y="369"/>
                      <a:pt x="32" y="369"/>
                    </a:cubicBezTo>
                    <a:cubicBezTo>
                      <a:pt x="15" y="369"/>
                      <a:pt x="15" y="369"/>
                      <a:pt x="15" y="369"/>
                    </a:cubicBezTo>
                    <a:cubicBezTo>
                      <a:pt x="15" y="369"/>
                      <a:pt x="15" y="369"/>
                      <a:pt x="15" y="369"/>
                    </a:cubicBezTo>
                    <a:cubicBezTo>
                      <a:pt x="17" y="358"/>
                      <a:pt x="10" y="352"/>
                      <a:pt x="10" y="352"/>
                    </a:cubicBezTo>
                    <a:cubicBezTo>
                      <a:pt x="1" y="343"/>
                      <a:pt x="4" y="315"/>
                      <a:pt x="4" y="315"/>
                    </a:cubicBezTo>
                    <a:cubicBezTo>
                      <a:pt x="0" y="298"/>
                      <a:pt x="4" y="272"/>
                      <a:pt x="4" y="272"/>
                    </a:cubicBezTo>
                    <a:cubicBezTo>
                      <a:pt x="10" y="265"/>
                      <a:pt x="1" y="250"/>
                      <a:pt x="8" y="237"/>
                    </a:cubicBezTo>
                    <a:cubicBezTo>
                      <a:pt x="14" y="219"/>
                      <a:pt x="6" y="202"/>
                      <a:pt x="6" y="202"/>
                    </a:cubicBezTo>
                    <a:cubicBezTo>
                      <a:pt x="1" y="188"/>
                      <a:pt x="7" y="183"/>
                      <a:pt x="7" y="183"/>
                    </a:cubicBezTo>
                    <a:cubicBezTo>
                      <a:pt x="7" y="183"/>
                      <a:pt x="13" y="177"/>
                      <a:pt x="13" y="160"/>
                    </a:cubicBezTo>
                    <a:cubicBezTo>
                      <a:pt x="10" y="158"/>
                      <a:pt x="14" y="149"/>
                      <a:pt x="14" y="149"/>
                    </a:cubicBezTo>
                    <a:cubicBezTo>
                      <a:pt x="19" y="142"/>
                      <a:pt x="13" y="138"/>
                      <a:pt x="13" y="138"/>
                    </a:cubicBezTo>
                    <a:cubicBezTo>
                      <a:pt x="3" y="114"/>
                      <a:pt x="17" y="104"/>
                      <a:pt x="17" y="104"/>
                    </a:cubicBezTo>
                    <a:cubicBezTo>
                      <a:pt x="17" y="81"/>
                      <a:pt x="25" y="91"/>
                      <a:pt x="24" y="73"/>
                    </a:cubicBezTo>
                    <a:cubicBezTo>
                      <a:pt x="29" y="73"/>
                      <a:pt x="32" y="69"/>
                      <a:pt x="32" y="69"/>
                    </a:cubicBezTo>
                    <a:cubicBezTo>
                      <a:pt x="39" y="52"/>
                      <a:pt x="44" y="61"/>
                      <a:pt x="44" y="61"/>
                    </a:cubicBezTo>
                    <a:cubicBezTo>
                      <a:pt x="52" y="63"/>
                      <a:pt x="62" y="49"/>
                      <a:pt x="62" y="49"/>
                    </a:cubicBezTo>
                    <a:cubicBezTo>
                      <a:pt x="79" y="38"/>
                      <a:pt x="81" y="28"/>
                      <a:pt x="81" y="28"/>
                    </a:cubicBezTo>
                    <a:cubicBezTo>
                      <a:pt x="91" y="13"/>
                      <a:pt x="102" y="15"/>
                      <a:pt x="102" y="15"/>
                    </a:cubicBezTo>
                    <a:cubicBezTo>
                      <a:pt x="112" y="16"/>
                      <a:pt x="116" y="9"/>
                      <a:pt x="116" y="9"/>
                    </a:cubicBezTo>
                    <a:cubicBezTo>
                      <a:pt x="124" y="0"/>
                      <a:pt x="129" y="14"/>
                      <a:pt x="138" y="12"/>
                    </a:cubicBezTo>
                    <a:cubicBezTo>
                      <a:pt x="138" y="12"/>
                      <a:pt x="138" y="12"/>
                      <a:pt x="138" y="12"/>
                    </a:cubicBezTo>
                    <a:close/>
                  </a:path>
                </a:pathLst>
              </a:custGeom>
              <a:solidFill>
                <a:srgbClr val="EEBB0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25" name="Freeform 52"/>
              <p:cNvSpPr>
                <a:spLocks/>
              </p:cNvSpPr>
              <p:nvPr/>
            </p:nvSpPr>
            <p:spPr bwMode="auto">
              <a:xfrm>
                <a:off x="1244216" y="3797019"/>
                <a:ext cx="923095" cy="416123"/>
              </a:xfrm>
              <a:custGeom>
                <a:avLst/>
                <a:gdLst/>
                <a:ahLst/>
                <a:cxnLst>
                  <a:cxn ang="0">
                    <a:pos x="307" y="25"/>
                  </a:cxn>
                  <a:cxn ang="0">
                    <a:pos x="319" y="40"/>
                  </a:cxn>
                  <a:cxn ang="0">
                    <a:pos x="313" y="62"/>
                  </a:cxn>
                  <a:cxn ang="0">
                    <a:pos x="295" y="60"/>
                  </a:cxn>
                  <a:cxn ang="0">
                    <a:pos x="277" y="64"/>
                  </a:cxn>
                  <a:cxn ang="0">
                    <a:pos x="251" y="65"/>
                  </a:cxn>
                  <a:cxn ang="0">
                    <a:pos x="236" y="69"/>
                  </a:cxn>
                  <a:cxn ang="0">
                    <a:pos x="227" y="76"/>
                  </a:cxn>
                  <a:cxn ang="0">
                    <a:pos x="216" y="85"/>
                  </a:cxn>
                  <a:cxn ang="0">
                    <a:pos x="209" y="87"/>
                  </a:cxn>
                  <a:cxn ang="0">
                    <a:pos x="179" y="94"/>
                  </a:cxn>
                  <a:cxn ang="0">
                    <a:pos x="170" y="113"/>
                  </a:cxn>
                  <a:cxn ang="0">
                    <a:pos x="131" y="130"/>
                  </a:cxn>
                  <a:cxn ang="0">
                    <a:pos x="131" y="130"/>
                  </a:cxn>
                  <a:cxn ang="0">
                    <a:pos x="76" y="134"/>
                  </a:cxn>
                  <a:cxn ang="0">
                    <a:pos x="76" y="134"/>
                  </a:cxn>
                  <a:cxn ang="0">
                    <a:pos x="35" y="150"/>
                  </a:cxn>
                  <a:cxn ang="0">
                    <a:pos x="0" y="166"/>
                  </a:cxn>
                  <a:cxn ang="0">
                    <a:pos x="5" y="137"/>
                  </a:cxn>
                  <a:cxn ang="0">
                    <a:pos x="13" y="99"/>
                  </a:cxn>
                  <a:cxn ang="0">
                    <a:pos x="34" y="80"/>
                  </a:cxn>
                  <a:cxn ang="0">
                    <a:pos x="41" y="75"/>
                  </a:cxn>
                  <a:cxn ang="0">
                    <a:pos x="77" y="52"/>
                  </a:cxn>
                  <a:cxn ang="0">
                    <a:pos x="93" y="40"/>
                  </a:cxn>
                  <a:cxn ang="0">
                    <a:pos x="93" y="24"/>
                  </a:cxn>
                  <a:cxn ang="0">
                    <a:pos x="98" y="3"/>
                  </a:cxn>
                  <a:cxn ang="0">
                    <a:pos x="107" y="8"/>
                  </a:cxn>
                  <a:cxn ang="0">
                    <a:pos x="117" y="10"/>
                  </a:cxn>
                  <a:cxn ang="0">
                    <a:pos x="129" y="18"/>
                  </a:cxn>
                  <a:cxn ang="0">
                    <a:pos x="137" y="20"/>
                  </a:cxn>
                  <a:cxn ang="0">
                    <a:pos x="154" y="25"/>
                  </a:cxn>
                  <a:cxn ang="0">
                    <a:pos x="168" y="34"/>
                  </a:cxn>
                  <a:cxn ang="0">
                    <a:pos x="183" y="36"/>
                  </a:cxn>
                  <a:cxn ang="0">
                    <a:pos x="183" y="36"/>
                  </a:cxn>
                  <a:cxn ang="0">
                    <a:pos x="200" y="36"/>
                  </a:cxn>
                  <a:cxn ang="0">
                    <a:pos x="200" y="36"/>
                  </a:cxn>
                  <a:cxn ang="0">
                    <a:pos x="216" y="48"/>
                  </a:cxn>
                  <a:cxn ang="0">
                    <a:pos x="216" y="33"/>
                  </a:cxn>
                  <a:cxn ang="0">
                    <a:pos x="238" y="28"/>
                  </a:cxn>
                  <a:cxn ang="0">
                    <a:pos x="251" y="34"/>
                  </a:cxn>
                  <a:cxn ang="0">
                    <a:pos x="266" y="35"/>
                  </a:cxn>
                  <a:cxn ang="0">
                    <a:pos x="293" y="27"/>
                  </a:cxn>
                  <a:cxn ang="0">
                    <a:pos x="307" y="25"/>
                  </a:cxn>
                  <a:cxn ang="0">
                    <a:pos x="307" y="25"/>
                  </a:cxn>
                </a:cxnLst>
                <a:rect l="0" t="0" r="r" b="b"/>
                <a:pathLst>
                  <a:path w="326" h="166">
                    <a:moveTo>
                      <a:pt x="307" y="25"/>
                    </a:moveTo>
                    <a:cubicBezTo>
                      <a:pt x="307" y="25"/>
                      <a:pt x="321" y="19"/>
                      <a:pt x="319" y="40"/>
                    </a:cubicBezTo>
                    <a:cubicBezTo>
                      <a:pt x="319" y="40"/>
                      <a:pt x="326" y="48"/>
                      <a:pt x="313" y="62"/>
                    </a:cubicBezTo>
                    <a:cubicBezTo>
                      <a:pt x="313" y="62"/>
                      <a:pt x="310" y="51"/>
                      <a:pt x="295" y="60"/>
                    </a:cubicBezTo>
                    <a:cubicBezTo>
                      <a:pt x="295" y="60"/>
                      <a:pt x="289" y="74"/>
                      <a:pt x="277" y="64"/>
                    </a:cubicBezTo>
                    <a:cubicBezTo>
                      <a:pt x="266" y="54"/>
                      <a:pt x="255" y="73"/>
                      <a:pt x="251" y="65"/>
                    </a:cubicBezTo>
                    <a:cubicBezTo>
                      <a:pt x="251" y="65"/>
                      <a:pt x="236" y="56"/>
                      <a:pt x="236" y="69"/>
                    </a:cubicBezTo>
                    <a:cubicBezTo>
                      <a:pt x="236" y="69"/>
                      <a:pt x="233" y="80"/>
                      <a:pt x="227" y="76"/>
                    </a:cubicBezTo>
                    <a:cubicBezTo>
                      <a:pt x="227" y="76"/>
                      <a:pt x="225" y="64"/>
                      <a:pt x="216" y="85"/>
                    </a:cubicBezTo>
                    <a:cubicBezTo>
                      <a:pt x="216" y="85"/>
                      <a:pt x="217" y="81"/>
                      <a:pt x="209" y="87"/>
                    </a:cubicBezTo>
                    <a:cubicBezTo>
                      <a:pt x="209" y="87"/>
                      <a:pt x="194" y="87"/>
                      <a:pt x="179" y="94"/>
                    </a:cubicBezTo>
                    <a:cubicBezTo>
                      <a:pt x="179" y="94"/>
                      <a:pt x="178" y="102"/>
                      <a:pt x="170" y="113"/>
                    </a:cubicBezTo>
                    <a:cubicBezTo>
                      <a:pt x="157" y="133"/>
                      <a:pt x="156" y="128"/>
                      <a:pt x="131" y="130"/>
                    </a:cubicBezTo>
                    <a:cubicBezTo>
                      <a:pt x="131" y="130"/>
                      <a:pt x="131" y="130"/>
                      <a:pt x="131" y="130"/>
                    </a:cubicBezTo>
                    <a:cubicBezTo>
                      <a:pt x="76" y="134"/>
                      <a:pt x="76" y="134"/>
                      <a:pt x="76" y="134"/>
                    </a:cubicBezTo>
                    <a:cubicBezTo>
                      <a:pt x="76" y="134"/>
                      <a:pt x="76" y="134"/>
                      <a:pt x="76" y="134"/>
                    </a:cubicBezTo>
                    <a:cubicBezTo>
                      <a:pt x="76" y="134"/>
                      <a:pt x="46" y="124"/>
                      <a:pt x="35" y="150"/>
                    </a:cubicBezTo>
                    <a:cubicBezTo>
                      <a:pt x="35" y="150"/>
                      <a:pt x="27" y="164"/>
                      <a:pt x="0" y="166"/>
                    </a:cubicBezTo>
                    <a:cubicBezTo>
                      <a:pt x="14" y="146"/>
                      <a:pt x="5" y="137"/>
                      <a:pt x="5" y="137"/>
                    </a:cubicBezTo>
                    <a:cubicBezTo>
                      <a:pt x="0" y="117"/>
                      <a:pt x="13" y="99"/>
                      <a:pt x="13" y="99"/>
                    </a:cubicBezTo>
                    <a:cubicBezTo>
                      <a:pt x="29" y="95"/>
                      <a:pt x="34" y="80"/>
                      <a:pt x="34" y="80"/>
                    </a:cubicBezTo>
                    <a:cubicBezTo>
                      <a:pt x="38" y="82"/>
                      <a:pt x="41" y="75"/>
                      <a:pt x="41" y="75"/>
                    </a:cubicBezTo>
                    <a:cubicBezTo>
                      <a:pt x="60" y="48"/>
                      <a:pt x="77" y="52"/>
                      <a:pt x="77" y="52"/>
                    </a:cubicBezTo>
                    <a:cubicBezTo>
                      <a:pt x="95" y="55"/>
                      <a:pt x="93" y="40"/>
                      <a:pt x="93" y="40"/>
                    </a:cubicBezTo>
                    <a:cubicBezTo>
                      <a:pt x="97" y="29"/>
                      <a:pt x="93" y="24"/>
                      <a:pt x="93" y="24"/>
                    </a:cubicBezTo>
                    <a:cubicBezTo>
                      <a:pt x="86" y="7"/>
                      <a:pt x="98" y="3"/>
                      <a:pt x="98" y="3"/>
                    </a:cubicBezTo>
                    <a:cubicBezTo>
                      <a:pt x="98" y="3"/>
                      <a:pt x="107" y="2"/>
                      <a:pt x="107" y="8"/>
                    </a:cubicBezTo>
                    <a:cubicBezTo>
                      <a:pt x="107" y="8"/>
                      <a:pt x="110" y="18"/>
                      <a:pt x="117" y="10"/>
                    </a:cubicBezTo>
                    <a:cubicBezTo>
                      <a:pt x="117" y="10"/>
                      <a:pt x="125" y="0"/>
                      <a:pt x="129" y="18"/>
                    </a:cubicBezTo>
                    <a:cubicBezTo>
                      <a:pt x="129" y="18"/>
                      <a:pt x="123" y="35"/>
                      <a:pt x="137" y="20"/>
                    </a:cubicBezTo>
                    <a:cubicBezTo>
                      <a:pt x="137" y="20"/>
                      <a:pt x="151" y="7"/>
                      <a:pt x="154" y="25"/>
                    </a:cubicBezTo>
                    <a:cubicBezTo>
                      <a:pt x="154" y="25"/>
                      <a:pt x="158" y="36"/>
                      <a:pt x="168" y="34"/>
                    </a:cubicBezTo>
                    <a:cubicBezTo>
                      <a:pt x="168" y="34"/>
                      <a:pt x="177" y="32"/>
                      <a:pt x="183" y="36"/>
                    </a:cubicBezTo>
                    <a:cubicBezTo>
                      <a:pt x="183" y="36"/>
                      <a:pt x="183" y="36"/>
                      <a:pt x="183" y="36"/>
                    </a:cubicBezTo>
                    <a:cubicBezTo>
                      <a:pt x="200" y="36"/>
                      <a:pt x="200" y="36"/>
                      <a:pt x="200" y="36"/>
                    </a:cubicBezTo>
                    <a:cubicBezTo>
                      <a:pt x="200" y="36"/>
                      <a:pt x="200" y="36"/>
                      <a:pt x="200" y="36"/>
                    </a:cubicBezTo>
                    <a:cubicBezTo>
                      <a:pt x="200" y="36"/>
                      <a:pt x="204" y="57"/>
                      <a:pt x="216" y="48"/>
                    </a:cubicBezTo>
                    <a:cubicBezTo>
                      <a:pt x="216" y="48"/>
                      <a:pt x="224" y="41"/>
                      <a:pt x="216" y="33"/>
                    </a:cubicBezTo>
                    <a:cubicBezTo>
                      <a:pt x="216" y="33"/>
                      <a:pt x="225" y="28"/>
                      <a:pt x="238" y="28"/>
                    </a:cubicBezTo>
                    <a:cubicBezTo>
                      <a:pt x="238" y="28"/>
                      <a:pt x="241" y="42"/>
                      <a:pt x="251" y="34"/>
                    </a:cubicBezTo>
                    <a:cubicBezTo>
                      <a:pt x="251" y="34"/>
                      <a:pt x="261" y="28"/>
                      <a:pt x="266" y="35"/>
                    </a:cubicBezTo>
                    <a:cubicBezTo>
                      <a:pt x="266" y="35"/>
                      <a:pt x="280" y="37"/>
                      <a:pt x="293" y="27"/>
                    </a:cubicBezTo>
                    <a:cubicBezTo>
                      <a:pt x="293" y="27"/>
                      <a:pt x="302" y="32"/>
                      <a:pt x="307" y="25"/>
                    </a:cubicBezTo>
                    <a:cubicBezTo>
                      <a:pt x="307" y="25"/>
                      <a:pt x="307" y="25"/>
                      <a:pt x="307" y="25"/>
                    </a:cubicBezTo>
                    <a:close/>
                  </a:path>
                </a:pathLst>
              </a:custGeom>
              <a:solidFill>
                <a:srgbClr val="EEBB0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26" name="Freeform 112"/>
              <p:cNvSpPr>
                <a:spLocks/>
              </p:cNvSpPr>
              <p:nvPr/>
            </p:nvSpPr>
            <p:spPr bwMode="auto">
              <a:xfrm>
                <a:off x="2114863" y="3304006"/>
                <a:ext cx="907362" cy="854859"/>
              </a:xfrm>
              <a:custGeom>
                <a:avLst/>
                <a:gdLst/>
                <a:ahLst/>
                <a:cxnLst>
                  <a:cxn ang="0">
                    <a:pos x="288" y="311"/>
                  </a:cxn>
                  <a:cxn ang="0">
                    <a:pos x="274" y="322"/>
                  </a:cxn>
                  <a:cxn ang="0">
                    <a:pos x="253" y="330"/>
                  </a:cxn>
                  <a:cxn ang="0">
                    <a:pos x="235" y="329"/>
                  </a:cxn>
                  <a:cxn ang="0">
                    <a:pos x="207" y="323"/>
                  </a:cxn>
                  <a:cxn ang="0">
                    <a:pos x="196" y="325"/>
                  </a:cxn>
                  <a:cxn ang="0">
                    <a:pos x="180" y="342"/>
                  </a:cxn>
                  <a:cxn ang="0">
                    <a:pos x="157" y="315"/>
                  </a:cxn>
                  <a:cxn ang="0">
                    <a:pos x="130" y="318"/>
                  </a:cxn>
                  <a:cxn ang="0">
                    <a:pos x="123" y="322"/>
                  </a:cxn>
                  <a:cxn ang="0">
                    <a:pos x="124" y="312"/>
                  </a:cxn>
                  <a:cxn ang="0">
                    <a:pos x="111" y="315"/>
                  </a:cxn>
                  <a:cxn ang="0">
                    <a:pos x="118" y="304"/>
                  </a:cxn>
                  <a:cxn ang="0">
                    <a:pos x="111" y="296"/>
                  </a:cxn>
                  <a:cxn ang="0">
                    <a:pos x="100" y="297"/>
                  </a:cxn>
                  <a:cxn ang="0">
                    <a:pos x="84" y="294"/>
                  </a:cxn>
                  <a:cxn ang="0">
                    <a:pos x="76" y="280"/>
                  </a:cxn>
                  <a:cxn ang="0">
                    <a:pos x="52" y="261"/>
                  </a:cxn>
                  <a:cxn ang="0">
                    <a:pos x="31" y="256"/>
                  </a:cxn>
                  <a:cxn ang="0">
                    <a:pos x="5" y="260"/>
                  </a:cxn>
                  <a:cxn ang="0">
                    <a:pos x="11" y="238"/>
                  </a:cxn>
                  <a:cxn ang="0">
                    <a:pos x="0" y="223"/>
                  </a:cxn>
                  <a:cxn ang="0">
                    <a:pos x="2" y="167"/>
                  </a:cxn>
                  <a:cxn ang="0">
                    <a:pos x="13" y="139"/>
                  </a:cxn>
                  <a:cxn ang="0">
                    <a:pos x="42" y="133"/>
                  </a:cxn>
                  <a:cxn ang="0">
                    <a:pos x="63" y="116"/>
                  </a:cxn>
                  <a:cxn ang="0">
                    <a:pos x="56" y="82"/>
                  </a:cxn>
                  <a:cxn ang="0">
                    <a:pos x="55" y="56"/>
                  </a:cxn>
                  <a:cxn ang="0">
                    <a:pos x="59" y="44"/>
                  </a:cxn>
                  <a:cxn ang="0">
                    <a:pos x="59" y="31"/>
                  </a:cxn>
                  <a:cxn ang="0">
                    <a:pos x="64" y="20"/>
                  </a:cxn>
                  <a:cxn ang="0">
                    <a:pos x="101" y="21"/>
                  </a:cxn>
                  <a:cxn ang="0">
                    <a:pos x="129" y="20"/>
                  </a:cxn>
                  <a:cxn ang="0">
                    <a:pos x="146" y="18"/>
                  </a:cxn>
                  <a:cxn ang="0">
                    <a:pos x="168" y="17"/>
                  </a:cxn>
                  <a:cxn ang="0">
                    <a:pos x="179" y="7"/>
                  </a:cxn>
                  <a:cxn ang="0">
                    <a:pos x="196" y="22"/>
                  </a:cxn>
                  <a:cxn ang="0">
                    <a:pos x="196" y="39"/>
                  </a:cxn>
                  <a:cxn ang="0">
                    <a:pos x="200" y="58"/>
                  </a:cxn>
                  <a:cxn ang="0">
                    <a:pos x="229" y="56"/>
                  </a:cxn>
                  <a:cxn ang="0">
                    <a:pos x="253" y="46"/>
                  </a:cxn>
                  <a:cxn ang="0">
                    <a:pos x="259" y="66"/>
                  </a:cxn>
                  <a:cxn ang="0">
                    <a:pos x="261" y="95"/>
                  </a:cxn>
                  <a:cxn ang="0">
                    <a:pos x="258" y="109"/>
                  </a:cxn>
                  <a:cxn ang="0">
                    <a:pos x="278" y="127"/>
                  </a:cxn>
                  <a:cxn ang="0">
                    <a:pos x="273" y="153"/>
                  </a:cxn>
                  <a:cxn ang="0">
                    <a:pos x="274" y="164"/>
                  </a:cxn>
                  <a:cxn ang="0">
                    <a:pos x="279" y="181"/>
                  </a:cxn>
                  <a:cxn ang="0">
                    <a:pos x="281" y="193"/>
                  </a:cxn>
                  <a:cxn ang="0">
                    <a:pos x="291" y="205"/>
                  </a:cxn>
                  <a:cxn ang="0">
                    <a:pos x="302" y="226"/>
                  </a:cxn>
                  <a:cxn ang="0">
                    <a:pos x="309" y="241"/>
                  </a:cxn>
                  <a:cxn ang="0">
                    <a:pos x="314" y="258"/>
                  </a:cxn>
                  <a:cxn ang="0">
                    <a:pos x="317" y="270"/>
                  </a:cxn>
                  <a:cxn ang="0">
                    <a:pos x="299" y="273"/>
                  </a:cxn>
                  <a:cxn ang="0">
                    <a:pos x="286" y="283"/>
                  </a:cxn>
                  <a:cxn ang="0">
                    <a:pos x="288" y="311"/>
                  </a:cxn>
                  <a:cxn ang="0">
                    <a:pos x="288" y="311"/>
                  </a:cxn>
                </a:cxnLst>
                <a:rect l="0" t="0" r="r" b="b"/>
                <a:pathLst>
                  <a:path w="320" h="342">
                    <a:moveTo>
                      <a:pt x="288" y="311"/>
                    </a:moveTo>
                    <a:cubicBezTo>
                      <a:pt x="288" y="311"/>
                      <a:pt x="272" y="311"/>
                      <a:pt x="274" y="322"/>
                    </a:cubicBezTo>
                    <a:cubicBezTo>
                      <a:pt x="274" y="322"/>
                      <a:pt x="274" y="333"/>
                      <a:pt x="253" y="330"/>
                    </a:cubicBezTo>
                    <a:cubicBezTo>
                      <a:pt x="253" y="330"/>
                      <a:pt x="246" y="319"/>
                      <a:pt x="235" y="329"/>
                    </a:cubicBezTo>
                    <a:cubicBezTo>
                      <a:pt x="235" y="329"/>
                      <a:pt x="217" y="333"/>
                      <a:pt x="207" y="323"/>
                    </a:cubicBezTo>
                    <a:cubicBezTo>
                      <a:pt x="207" y="323"/>
                      <a:pt x="199" y="306"/>
                      <a:pt x="196" y="325"/>
                    </a:cubicBezTo>
                    <a:cubicBezTo>
                      <a:pt x="196" y="325"/>
                      <a:pt x="192" y="339"/>
                      <a:pt x="180" y="342"/>
                    </a:cubicBezTo>
                    <a:cubicBezTo>
                      <a:pt x="170" y="339"/>
                      <a:pt x="176" y="314"/>
                      <a:pt x="157" y="315"/>
                    </a:cubicBezTo>
                    <a:cubicBezTo>
                      <a:pt x="157" y="315"/>
                      <a:pt x="137" y="306"/>
                      <a:pt x="130" y="318"/>
                    </a:cubicBezTo>
                    <a:cubicBezTo>
                      <a:pt x="130" y="318"/>
                      <a:pt x="133" y="330"/>
                      <a:pt x="123" y="322"/>
                    </a:cubicBezTo>
                    <a:cubicBezTo>
                      <a:pt x="123" y="322"/>
                      <a:pt x="127" y="315"/>
                      <a:pt x="124" y="312"/>
                    </a:cubicBezTo>
                    <a:cubicBezTo>
                      <a:pt x="124" y="312"/>
                      <a:pt x="118" y="310"/>
                      <a:pt x="111" y="315"/>
                    </a:cubicBezTo>
                    <a:cubicBezTo>
                      <a:pt x="111" y="315"/>
                      <a:pt x="117" y="311"/>
                      <a:pt x="118" y="304"/>
                    </a:cubicBezTo>
                    <a:cubicBezTo>
                      <a:pt x="118" y="304"/>
                      <a:pt x="121" y="292"/>
                      <a:pt x="111" y="296"/>
                    </a:cubicBezTo>
                    <a:cubicBezTo>
                      <a:pt x="111" y="296"/>
                      <a:pt x="103" y="293"/>
                      <a:pt x="100" y="297"/>
                    </a:cubicBezTo>
                    <a:cubicBezTo>
                      <a:pt x="100" y="297"/>
                      <a:pt x="94" y="286"/>
                      <a:pt x="84" y="294"/>
                    </a:cubicBezTo>
                    <a:cubicBezTo>
                      <a:pt x="84" y="294"/>
                      <a:pt x="86" y="278"/>
                      <a:pt x="76" y="280"/>
                    </a:cubicBezTo>
                    <a:cubicBezTo>
                      <a:pt x="60" y="280"/>
                      <a:pt x="59" y="262"/>
                      <a:pt x="52" y="261"/>
                    </a:cubicBezTo>
                    <a:cubicBezTo>
                      <a:pt x="52" y="261"/>
                      <a:pt x="48" y="250"/>
                      <a:pt x="31" y="256"/>
                    </a:cubicBezTo>
                    <a:cubicBezTo>
                      <a:pt x="24" y="249"/>
                      <a:pt x="30" y="263"/>
                      <a:pt x="5" y="260"/>
                    </a:cubicBezTo>
                    <a:cubicBezTo>
                      <a:pt x="18" y="246"/>
                      <a:pt x="11" y="238"/>
                      <a:pt x="11" y="238"/>
                    </a:cubicBezTo>
                    <a:cubicBezTo>
                      <a:pt x="13" y="217"/>
                      <a:pt x="0" y="223"/>
                      <a:pt x="0" y="223"/>
                    </a:cubicBezTo>
                    <a:cubicBezTo>
                      <a:pt x="0" y="223"/>
                      <a:pt x="9" y="208"/>
                      <a:pt x="2" y="167"/>
                    </a:cubicBezTo>
                    <a:cubicBezTo>
                      <a:pt x="1" y="150"/>
                      <a:pt x="16" y="144"/>
                      <a:pt x="13" y="139"/>
                    </a:cubicBezTo>
                    <a:cubicBezTo>
                      <a:pt x="13" y="132"/>
                      <a:pt x="36" y="124"/>
                      <a:pt x="42" y="133"/>
                    </a:cubicBezTo>
                    <a:cubicBezTo>
                      <a:pt x="42" y="133"/>
                      <a:pt x="70" y="147"/>
                      <a:pt x="63" y="116"/>
                    </a:cubicBezTo>
                    <a:cubicBezTo>
                      <a:pt x="63" y="116"/>
                      <a:pt x="65" y="95"/>
                      <a:pt x="56" y="82"/>
                    </a:cubicBezTo>
                    <a:cubicBezTo>
                      <a:pt x="56" y="82"/>
                      <a:pt x="42" y="69"/>
                      <a:pt x="55" y="56"/>
                    </a:cubicBezTo>
                    <a:cubicBezTo>
                      <a:pt x="55" y="56"/>
                      <a:pt x="61" y="51"/>
                      <a:pt x="59" y="44"/>
                    </a:cubicBezTo>
                    <a:cubicBezTo>
                      <a:pt x="59" y="44"/>
                      <a:pt x="48" y="34"/>
                      <a:pt x="59" y="31"/>
                    </a:cubicBezTo>
                    <a:cubicBezTo>
                      <a:pt x="59" y="31"/>
                      <a:pt x="71" y="27"/>
                      <a:pt x="64" y="20"/>
                    </a:cubicBezTo>
                    <a:cubicBezTo>
                      <a:pt x="82" y="15"/>
                      <a:pt x="90" y="27"/>
                      <a:pt x="101" y="21"/>
                    </a:cubicBezTo>
                    <a:cubicBezTo>
                      <a:pt x="122" y="14"/>
                      <a:pt x="126" y="27"/>
                      <a:pt x="129" y="20"/>
                    </a:cubicBezTo>
                    <a:cubicBezTo>
                      <a:pt x="134" y="11"/>
                      <a:pt x="146" y="18"/>
                      <a:pt x="146" y="18"/>
                    </a:cubicBezTo>
                    <a:cubicBezTo>
                      <a:pt x="146" y="18"/>
                      <a:pt x="157" y="22"/>
                      <a:pt x="168" y="17"/>
                    </a:cubicBezTo>
                    <a:cubicBezTo>
                      <a:pt x="167" y="6"/>
                      <a:pt x="172" y="7"/>
                      <a:pt x="179" y="7"/>
                    </a:cubicBezTo>
                    <a:cubicBezTo>
                      <a:pt x="199" y="0"/>
                      <a:pt x="188" y="21"/>
                      <a:pt x="196" y="22"/>
                    </a:cubicBezTo>
                    <a:cubicBezTo>
                      <a:pt x="196" y="22"/>
                      <a:pt x="202" y="34"/>
                      <a:pt x="196" y="39"/>
                    </a:cubicBezTo>
                    <a:cubicBezTo>
                      <a:pt x="196" y="39"/>
                      <a:pt x="189" y="51"/>
                      <a:pt x="200" y="58"/>
                    </a:cubicBezTo>
                    <a:cubicBezTo>
                      <a:pt x="200" y="58"/>
                      <a:pt x="225" y="62"/>
                      <a:pt x="229" y="56"/>
                    </a:cubicBezTo>
                    <a:cubicBezTo>
                      <a:pt x="234" y="46"/>
                      <a:pt x="244" y="54"/>
                      <a:pt x="253" y="46"/>
                    </a:cubicBezTo>
                    <a:cubicBezTo>
                      <a:pt x="263" y="46"/>
                      <a:pt x="254" y="62"/>
                      <a:pt x="259" y="66"/>
                    </a:cubicBezTo>
                    <a:cubicBezTo>
                      <a:pt x="259" y="66"/>
                      <a:pt x="268" y="80"/>
                      <a:pt x="261" y="95"/>
                    </a:cubicBezTo>
                    <a:cubicBezTo>
                      <a:pt x="261" y="95"/>
                      <a:pt x="252" y="98"/>
                      <a:pt x="258" y="109"/>
                    </a:cubicBezTo>
                    <a:cubicBezTo>
                      <a:pt x="258" y="109"/>
                      <a:pt x="269" y="109"/>
                      <a:pt x="278" y="127"/>
                    </a:cubicBezTo>
                    <a:cubicBezTo>
                      <a:pt x="278" y="127"/>
                      <a:pt x="284" y="139"/>
                      <a:pt x="273" y="153"/>
                    </a:cubicBezTo>
                    <a:cubicBezTo>
                      <a:pt x="269" y="151"/>
                      <a:pt x="258" y="164"/>
                      <a:pt x="274" y="164"/>
                    </a:cubicBezTo>
                    <a:cubicBezTo>
                      <a:pt x="274" y="164"/>
                      <a:pt x="268" y="179"/>
                      <a:pt x="279" y="181"/>
                    </a:cubicBezTo>
                    <a:cubicBezTo>
                      <a:pt x="279" y="181"/>
                      <a:pt x="275" y="192"/>
                      <a:pt x="281" y="193"/>
                    </a:cubicBezTo>
                    <a:cubicBezTo>
                      <a:pt x="289" y="190"/>
                      <a:pt x="279" y="203"/>
                      <a:pt x="291" y="205"/>
                    </a:cubicBezTo>
                    <a:cubicBezTo>
                      <a:pt x="303" y="214"/>
                      <a:pt x="293" y="223"/>
                      <a:pt x="302" y="226"/>
                    </a:cubicBezTo>
                    <a:cubicBezTo>
                      <a:pt x="316" y="225"/>
                      <a:pt x="304" y="240"/>
                      <a:pt x="309" y="241"/>
                    </a:cubicBezTo>
                    <a:cubicBezTo>
                      <a:pt x="309" y="241"/>
                      <a:pt x="320" y="243"/>
                      <a:pt x="314" y="258"/>
                    </a:cubicBezTo>
                    <a:cubicBezTo>
                      <a:pt x="314" y="258"/>
                      <a:pt x="301" y="265"/>
                      <a:pt x="317" y="270"/>
                    </a:cubicBezTo>
                    <a:cubicBezTo>
                      <a:pt x="317" y="270"/>
                      <a:pt x="307" y="286"/>
                      <a:pt x="299" y="273"/>
                    </a:cubicBezTo>
                    <a:cubicBezTo>
                      <a:pt x="299" y="273"/>
                      <a:pt x="292" y="267"/>
                      <a:pt x="286" y="283"/>
                    </a:cubicBezTo>
                    <a:cubicBezTo>
                      <a:pt x="286" y="283"/>
                      <a:pt x="276" y="298"/>
                      <a:pt x="288" y="311"/>
                    </a:cubicBezTo>
                    <a:cubicBezTo>
                      <a:pt x="288" y="311"/>
                      <a:pt x="288" y="311"/>
                      <a:pt x="288" y="311"/>
                    </a:cubicBezTo>
                    <a:close/>
                  </a:path>
                </a:pathLst>
              </a:custGeom>
              <a:solidFill>
                <a:srgbClr val="EEBB0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27" name="Freeform 50"/>
              <p:cNvSpPr>
                <a:spLocks/>
              </p:cNvSpPr>
              <p:nvPr/>
            </p:nvSpPr>
            <p:spPr bwMode="auto">
              <a:xfrm>
                <a:off x="2088640" y="2489853"/>
                <a:ext cx="844420" cy="967938"/>
              </a:xfrm>
              <a:custGeom>
                <a:avLst/>
                <a:gdLst/>
                <a:ahLst/>
                <a:cxnLst>
                  <a:cxn ang="0">
                    <a:pos x="85" y="18"/>
                  </a:cxn>
                  <a:cxn ang="0">
                    <a:pos x="125" y="13"/>
                  </a:cxn>
                  <a:cxn ang="0">
                    <a:pos x="143" y="19"/>
                  </a:cxn>
                  <a:cxn ang="0">
                    <a:pos x="169" y="21"/>
                  </a:cxn>
                  <a:cxn ang="0">
                    <a:pos x="191" y="50"/>
                  </a:cxn>
                  <a:cxn ang="0">
                    <a:pos x="236" y="14"/>
                  </a:cxn>
                  <a:cxn ang="0">
                    <a:pos x="257" y="59"/>
                  </a:cxn>
                  <a:cxn ang="0">
                    <a:pos x="246" y="86"/>
                  </a:cxn>
                  <a:cxn ang="0">
                    <a:pos x="247" y="106"/>
                  </a:cxn>
                  <a:cxn ang="0">
                    <a:pos x="260" y="139"/>
                  </a:cxn>
                  <a:cxn ang="0">
                    <a:pos x="272" y="193"/>
                  </a:cxn>
                  <a:cxn ang="0">
                    <a:pos x="271" y="237"/>
                  </a:cxn>
                  <a:cxn ang="0">
                    <a:pos x="290" y="278"/>
                  </a:cxn>
                  <a:cxn ang="0">
                    <a:pos x="293" y="318"/>
                  </a:cxn>
                  <a:cxn ang="0">
                    <a:pos x="260" y="346"/>
                  </a:cxn>
                  <a:cxn ang="0">
                    <a:pos x="263" y="372"/>
                  </a:cxn>
                  <a:cxn ang="0">
                    <a:pos x="209" y="385"/>
                  </a:cxn>
                  <a:cxn ang="0">
                    <a:pos x="205" y="348"/>
                  </a:cxn>
                  <a:cxn ang="0">
                    <a:pos x="177" y="343"/>
                  </a:cxn>
                  <a:cxn ang="0">
                    <a:pos x="138" y="346"/>
                  </a:cxn>
                  <a:cxn ang="0">
                    <a:pos x="73" y="346"/>
                  </a:cxn>
                  <a:cxn ang="0">
                    <a:pos x="40" y="319"/>
                  </a:cxn>
                  <a:cxn ang="0">
                    <a:pos x="51" y="282"/>
                  </a:cxn>
                  <a:cxn ang="0">
                    <a:pos x="30" y="254"/>
                  </a:cxn>
                  <a:cxn ang="0">
                    <a:pos x="11" y="223"/>
                  </a:cxn>
                  <a:cxn ang="0">
                    <a:pos x="8" y="194"/>
                  </a:cxn>
                  <a:cxn ang="0">
                    <a:pos x="11" y="161"/>
                  </a:cxn>
                  <a:cxn ang="0">
                    <a:pos x="14" y="115"/>
                  </a:cxn>
                  <a:cxn ang="0">
                    <a:pos x="27" y="102"/>
                  </a:cxn>
                  <a:cxn ang="0">
                    <a:pos x="35" y="85"/>
                  </a:cxn>
                  <a:cxn ang="0">
                    <a:pos x="45" y="56"/>
                  </a:cxn>
                  <a:cxn ang="0">
                    <a:pos x="57" y="53"/>
                  </a:cxn>
                  <a:cxn ang="0">
                    <a:pos x="72" y="32"/>
                  </a:cxn>
                </a:cxnLst>
                <a:rect l="0" t="0" r="r" b="b"/>
                <a:pathLst>
                  <a:path w="298" h="388">
                    <a:moveTo>
                      <a:pt x="72" y="32"/>
                    </a:moveTo>
                    <a:cubicBezTo>
                      <a:pt x="72" y="32"/>
                      <a:pt x="85" y="40"/>
                      <a:pt x="85" y="18"/>
                    </a:cubicBezTo>
                    <a:cubicBezTo>
                      <a:pt x="85" y="18"/>
                      <a:pt x="88" y="0"/>
                      <a:pt x="99" y="14"/>
                    </a:cubicBezTo>
                    <a:cubicBezTo>
                      <a:pt x="99" y="14"/>
                      <a:pt x="110" y="27"/>
                      <a:pt x="125" y="13"/>
                    </a:cubicBezTo>
                    <a:cubicBezTo>
                      <a:pt x="125" y="13"/>
                      <a:pt x="124" y="7"/>
                      <a:pt x="137" y="1"/>
                    </a:cubicBezTo>
                    <a:cubicBezTo>
                      <a:pt x="142" y="5"/>
                      <a:pt x="135" y="16"/>
                      <a:pt x="143" y="19"/>
                    </a:cubicBezTo>
                    <a:cubicBezTo>
                      <a:pt x="143" y="19"/>
                      <a:pt x="143" y="29"/>
                      <a:pt x="153" y="23"/>
                    </a:cubicBezTo>
                    <a:cubicBezTo>
                      <a:pt x="153" y="23"/>
                      <a:pt x="157" y="14"/>
                      <a:pt x="169" y="21"/>
                    </a:cubicBezTo>
                    <a:cubicBezTo>
                      <a:pt x="169" y="21"/>
                      <a:pt x="178" y="20"/>
                      <a:pt x="177" y="31"/>
                    </a:cubicBezTo>
                    <a:cubicBezTo>
                      <a:pt x="177" y="31"/>
                      <a:pt x="173" y="43"/>
                      <a:pt x="191" y="50"/>
                    </a:cubicBezTo>
                    <a:cubicBezTo>
                      <a:pt x="191" y="50"/>
                      <a:pt x="191" y="21"/>
                      <a:pt x="216" y="21"/>
                    </a:cubicBezTo>
                    <a:cubicBezTo>
                      <a:pt x="216" y="21"/>
                      <a:pt x="229" y="4"/>
                      <a:pt x="236" y="14"/>
                    </a:cubicBezTo>
                    <a:cubicBezTo>
                      <a:pt x="236" y="14"/>
                      <a:pt x="246" y="24"/>
                      <a:pt x="246" y="36"/>
                    </a:cubicBezTo>
                    <a:cubicBezTo>
                      <a:pt x="246" y="36"/>
                      <a:pt x="247" y="56"/>
                      <a:pt x="257" y="59"/>
                    </a:cubicBezTo>
                    <a:cubicBezTo>
                      <a:pt x="257" y="59"/>
                      <a:pt x="270" y="80"/>
                      <a:pt x="246" y="86"/>
                    </a:cubicBezTo>
                    <a:cubicBezTo>
                      <a:pt x="246" y="86"/>
                      <a:pt x="246" y="86"/>
                      <a:pt x="246" y="86"/>
                    </a:cubicBezTo>
                    <a:cubicBezTo>
                      <a:pt x="247" y="106"/>
                      <a:pt x="247" y="106"/>
                      <a:pt x="247" y="106"/>
                    </a:cubicBezTo>
                    <a:cubicBezTo>
                      <a:pt x="247" y="106"/>
                      <a:pt x="247" y="106"/>
                      <a:pt x="247" y="106"/>
                    </a:cubicBezTo>
                    <a:cubicBezTo>
                      <a:pt x="247" y="106"/>
                      <a:pt x="260" y="100"/>
                      <a:pt x="268" y="119"/>
                    </a:cubicBezTo>
                    <a:cubicBezTo>
                      <a:pt x="267" y="134"/>
                      <a:pt x="257" y="135"/>
                      <a:pt x="260" y="139"/>
                    </a:cubicBezTo>
                    <a:cubicBezTo>
                      <a:pt x="260" y="139"/>
                      <a:pt x="273" y="147"/>
                      <a:pt x="271" y="170"/>
                    </a:cubicBezTo>
                    <a:cubicBezTo>
                      <a:pt x="271" y="170"/>
                      <a:pt x="284" y="175"/>
                      <a:pt x="272" y="193"/>
                    </a:cubicBezTo>
                    <a:cubicBezTo>
                      <a:pt x="272" y="193"/>
                      <a:pt x="265" y="197"/>
                      <a:pt x="268" y="218"/>
                    </a:cubicBezTo>
                    <a:cubicBezTo>
                      <a:pt x="267" y="230"/>
                      <a:pt x="256" y="231"/>
                      <a:pt x="271" y="237"/>
                    </a:cubicBezTo>
                    <a:cubicBezTo>
                      <a:pt x="271" y="237"/>
                      <a:pt x="280" y="237"/>
                      <a:pt x="280" y="254"/>
                    </a:cubicBezTo>
                    <a:cubicBezTo>
                      <a:pt x="280" y="254"/>
                      <a:pt x="292" y="257"/>
                      <a:pt x="290" y="278"/>
                    </a:cubicBezTo>
                    <a:cubicBezTo>
                      <a:pt x="290" y="278"/>
                      <a:pt x="298" y="287"/>
                      <a:pt x="288" y="294"/>
                    </a:cubicBezTo>
                    <a:cubicBezTo>
                      <a:pt x="288" y="294"/>
                      <a:pt x="283" y="311"/>
                      <a:pt x="293" y="318"/>
                    </a:cubicBezTo>
                    <a:cubicBezTo>
                      <a:pt x="293" y="318"/>
                      <a:pt x="298" y="324"/>
                      <a:pt x="278" y="337"/>
                    </a:cubicBezTo>
                    <a:cubicBezTo>
                      <a:pt x="278" y="337"/>
                      <a:pt x="271" y="345"/>
                      <a:pt x="260" y="346"/>
                    </a:cubicBezTo>
                    <a:cubicBezTo>
                      <a:pt x="260" y="346"/>
                      <a:pt x="257" y="352"/>
                      <a:pt x="260" y="360"/>
                    </a:cubicBezTo>
                    <a:cubicBezTo>
                      <a:pt x="260" y="360"/>
                      <a:pt x="266" y="365"/>
                      <a:pt x="263" y="372"/>
                    </a:cubicBezTo>
                    <a:cubicBezTo>
                      <a:pt x="255" y="380"/>
                      <a:pt x="243" y="372"/>
                      <a:pt x="238" y="382"/>
                    </a:cubicBezTo>
                    <a:cubicBezTo>
                      <a:pt x="234" y="388"/>
                      <a:pt x="209" y="385"/>
                      <a:pt x="209" y="385"/>
                    </a:cubicBezTo>
                    <a:cubicBezTo>
                      <a:pt x="198" y="377"/>
                      <a:pt x="205" y="365"/>
                      <a:pt x="205" y="365"/>
                    </a:cubicBezTo>
                    <a:cubicBezTo>
                      <a:pt x="211" y="360"/>
                      <a:pt x="205" y="348"/>
                      <a:pt x="205" y="348"/>
                    </a:cubicBezTo>
                    <a:cubicBezTo>
                      <a:pt x="197" y="347"/>
                      <a:pt x="208" y="326"/>
                      <a:pt x="188" y="333"/>
                    </a:cubicBezTo>
                    <a:cubicBezTo>
                      <a:pt x="181" y="333"/>
                      <a:pt x="176" y="332"/>
                      <a:pt x="177" y="343"/>
                    </a:cubicBezTo>
                    <a:cubicBezTo>
                      <a:pt x="166" y="348"/>
                      <a:pt x="155" y="344"/>
                      <a:pt x="155" y="344"/>
                    </a:cubicBezTo>
                    <a:cubicBezTo>
                      <a:pt x="155" y="344"/>
                      <a:pt x="143" y="337"/>
                      <a:pt x="138" y="346"/>
                    </a:cubicBezTo>
                    <a:cubicBezTo>
                      <a:pt x="135" y="353"/>
                      <a:pt x="131" y="340"/>
                      <a:pt x="110" y="347"/>
                    </a:cubicBezTo>
                    <a:cubicBezTo>
                      <a:pt x="99" y="353"/>
                      <a:pt x="91" y="341"/>
                      <a:pt x="73" y="346"/>
                    </a:cubicBezTo>
                    <a:cubicBezTo>
                      <a:pt x="68" y="340"/>
                      <a:pt x="52" y="340"/>
                      <a:pt x="52" y="340"/>
                    </a:cubicBezTo>
                    <a:cubicBezTo>
                      <a:pt x="40" y="329"/>
                      <a:pt x="40" y="319"/>
                      <a:pt x="40" y="319"/>
                    </a:cubicBezTo>
                    <a:cubicBezTo>
                      <a:pt x="37" y="301"/>
                      <a:pt x="47" y="302"/>
                      <a:pt x="47" y="302"/>
                    </a:cubicBezTo>
                    <a:cubicBezTo>
                      <a:pt x="59" y="296"/>
                      <a:pt x="44" y="293"/>
                      <a:pt x="51" y="282"/>
                    </a:cubicBezTo>
                    <a:cubicBezTo>
                      <a:pt x="51" y="263"/>
                      <a:pt x="47" y="259"/>
                      <a:pt x="47" y="259"/>
                    </a:cubicBezTo>
                    <a:cubicBezTo>
                      <a:pt x="40" y="269"/>
                      <a:pt x="30" y="254"/>
                      <a:pt x="30" y="254"/>
                    </a:cubicBezTo>
                    <a:cubicBezTo>
                      <a:pt x="25" y="254"/>
                      <a:pt x="25" y="246"/>
                      <a:pt x="15" y="236"/>
                    </a:cubicBezTo>
                    <a:cubicBezTo>
                      <a:pt x="3" y="229"/>
                      <a:pt x="11" y="223"/>
                      <a:pt x="11" y="223"/>
                    </a:cubicBezTo>
                    <a:cubicBezTo>
                      <a:pt x="18" y="210"/>
                      <a:pt x="7" y="212"/>
                      <a:pt x="7" y="202"/>
                    </a:cubicBezTo>
                    <a:cubicBezTo>
                      <a:pt x="14" y="202"/>
                      <a:pt x="8" y="194"/>
                      <a:pt x="8" y="194"/>
                    </a:cubicBezTo>
                    <a:cubicBezTo>
                      <a:pt x="0" y="183"/>
                      <a:pt x="11" y="179"/>
                      <a:pt x="11" y="179"/>
                    </a:cubicBezTo>
                    <a:cubicBezTo>
                      <a:pt x="17" y="167"/>
                      <a:pt x="11" y="161"/>
                      <a:pt x="11" y="161"/>
                    </a:cubicBezTo>
                    <a:cubicBezTo>
                      <a:pt x="7" y="153"/>
                      <a:pt x="15" y="152"/>
                      <a:pt x="11" y="141"/>
                    </a:cubicBezTo>
                    <a:cubicBezTo>
                      <a:pt x="13" y="127"/>
                      <a:pt x="4" y="117"/>
                      <a:pt x="14" y="115"/>
                    </a:cubicBezTo>
                    <a:cubicBezTo>
                      <a:pt x="23" y="113"/>
                      <a:pt x="27" y="102"/>
                      <a:pt x="27" y="102"/>
                    </a:cubicBezTo>
                    <a:cubicBezTo>
                      <a:pt x="27" y="102"/>
                      <a:pt x="27" y="102"/>
                      <a:pt x="27" y="102"/>
                    </a:cubicBezTo>
                    <a:cubicBezTo>
                      <a:pt x="35" y="85"/>
                      <a:pt x="35" y="85"/>
                      <a:pt x="35" y="85"/>
                    </a:cubicBezTo>
                    <a:cubicBezTo>
                      <a:pt x="35" y="85"/>
                      <a:pt x="35" y="85"/>
                      <a:pt x="35" y="85"/>
                    </a:cubicBezTo>
                    <a:cubicBezTo>
                      <a:pt x="44" y="85"/>
                      <a:pt x="41" y="66"/>
                      <a:pt x="41" y="66"/>
                    </a:cubicBezTo>
                    <a:cubicBezTo>
                      <a:pt x="53" y="59"/>
                      <a:pt x="45" y="56"/>
                      <a:pt x="45" y="56"/>
                    </a:cubicBezTo>
                    <a:cubicBezTo>
                      <a:pt x="40" y="45"/>
                      <a:pt x="47" y="41"/>
                      <a:pt x="47" y="41"/>
                    </a:cubicBezTo>
                    <a:cubicBezTo>
                      <a:pt x="48" y="48"/>
                      <a:pt x="47" y="50"/>
                      <a:pt x="57" y="53"/>
                    </a:cubicBezTo>
                    <a:cubicBezTo>
                      <a:pt x="54" y="42"/>
                      <a:pt x="61" y="35"/>
                      <a:pt x="61" y="35"/>
                    </a:cubicBezTo>
                    <a:cubicBezTo>
                      <a:pt x="66" y="27"/>
                      <a:pt x="72" y="32"/>
                      <a:pt x="72" y="32"/>
                    </a:cubicBezTo>
                    <a:cubicBezTo>
                      <a:pt x="72" y="32"/>
                      <a:pt x="72" y="32"/>
                      <a:pt x="72" y="32"/>
                    </a:cubicBezTo>
                    <a:close/>
                  </a:path>
                </a:pathLst>
              </a:custGeom>
              <a:solidFill>
                <a:srgbClr val="EEBB0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28" name="Freeform 49"/>
              <p:cNvSpPr>
                <a:spLocks/>
              </p:cNvSpPr>
              <p:nvPr/>
            </p:nvSpPr>
            <p:spPr bwMode="auto">
              <a:xfrm>
                <a:off x="2786204" y="2557697"/>
                <a:ext cx="923095" cy="1085538"/>
              </a:xfrm>
              <a:custGeom>
                <a:avLst/>
                <a:gdLst/>
                <a:ahLst/>
                <a:cxnLst>
                  <a:cxn ang="0">
                    <a:pos x="14" y="333"/>
                  </a:cxn>
                  <a:cxn ang="0">
                    <a:pos x="32" y="310"/>
                  </a:cxn>
                  <a:cxn ang="0">
                    <a:pos x="42" y="267"/>
                  </a:cxn>
                  <a:cxn ang="0">
                    <a:pos x="34" y="227"/>
                  </a:cxn>
                  <a:cxn ang="0">
                    <a:pos x="22" y="191"/>
                  </a:cxn>
                  <a:cxn ang="0">
                    <a:pos x="25" y="143"/>
                  </a:cxn>
                  <a:cxn ang="0">
                    <a:pos x="22" y="92"/>
                  </a:cxn>
                  <a:cxn ang="0">
                    <a:pos x="1" y="79"/>
                  </a:cxn>
                  <a:cxn ang="0">
                    <a:pos x="0" y="59"/>
                  </a:cxn>
                  <a:cxn ang="0">
                    <a:pos x="39" y="18"/>
                  </a:cxn>
                  <a:cxn ang="0">
                    <a:pos x="72" y="18"/>
                  </a:cxn>
                  <a:cxn ang="0">
                    <a:pos x="115" y="21"/>
                  </a:cxn>
                  <a:cxn ang="0">
                    <a:pos x="146" y="53"/>
                  </a:cxn>
                  <a:cxn ang="0">
                    <a:pos x="145" y="83"/>
                  </a:cxn>
                  <a:cxn ang="0">
                    <a:pos x="144" y="104"/>
                  </a:cxn>
                  <a:cxn ang="0">
                    <a:pos x="164" y="127"/>
                  </a:cxn>
                  <a:cxn ang="0">
                    <a:pos x="190" y="148"/>
                  </a:cxn>
                  <a:cxn ang="0">
                    <a:pos x="217" y="171"/>
                  </a:cxn>
                  <a:cxn ang="0">
                    <a:pos x="270" y="189"/>
                  </a:cxn>
                  <a:cxn ang="0">
                    <a:pos x="300" y="180"/>
                  </a:cxn>
                  <a:cxn ang="0">
                    <a:pos x="314" y="210"/>
                  </a:cxn>
                  <a:cxn ang="0">
                    <a:pos x="322" y="240"/>
                  </a:cxn>
                  <a:cxn ang="0">
                    <a:pos x="294" y="269"/>
                  </a:cxn>
                  <a:cxn ang="0">
                    <a:pos x="272" y="311"/>
                  </a:cxn>
                  <a:cxn ang="0">
                    <a:pos x="230" y="309"/>
                  </a:cxn>
                  <a:cxn ang="0">
                    <a:pos x="209" y="357"/>
                  </a:cxn>
                  <a:cxn ang="0">
                    <a:pos x="190" y="392"/>
                  </a:cxn>
                  <a:cxn ang="0">
                    <a:pos x="135" y="406"/>
                  </a:cxn>
                  <a:cxn ang="0">
                    <a:pos x="120" y="422"/>
                  </a:cxn>
                  <a:cxn ang="0">
                    <a:pos x="89" y="416"/>
                  </a:cxn>
                  <a:cxn ang="0">
                    <a:pos x="52" y="432"/>
                  </a:cxn>
                  <a:cxn ang="0">
                    <a:pos x="21" y="408"/>
                  </a:cxn>
                  <a:cxn ang="0">
                    <a:pos x="22" y="365"/>
                  </a:cxn>
                  <a:cxn ang="0">
                    <a:pos x="17" y="346"/>
                  </a:cxn>
                </a:cxnLst>
                <a:rect l="0" t="0" r="r" b="b"/>
                <a:pathLst>
                  <a:path w="327" h="434">
                    <a:moveTo>
                      <a:pt x="17" y="346"/>
                    </a:moveTo>
                    <a:cubicBezTo>
                      <a:pt x="20" y="339"/>
                      <a:pt x="14" y="333"/>
                      <a:pt x="14" y="333"/>
                    </a:cubicBezTo>
                    <a:cubicBezTo>
                      <a:pt x="11" y="325"/>
                      <a:pt x="14" y="319"/>
                      <a:pt x="14" y="319"/>
                    </a:cubicBezTo>
                    <a:cubicBezTo>
                      <a:pt x="25" y="318"/>
                      <a:pt x="32" y="310"/>
                      <a:pt x="32" y="310"/>
                    </a:cubicBezTo>
                    <a:cubicBezTo>
                      <a:pt x="52" y="297"/>
                      <a:pt x="47" y="291"/>
                      <a:pt x="47" y="291"/>
                    </a:cubicBezTo>
                    <a:cubicBezTo>
                      <a:pt x="37" y="284"/>
                      <a:pt x="42" y="267"/>
                      <a:pt x="42" y="267"/>
                    </a:cubicBezTo>
                    <a:cubicBezTo>
                      <a:pt x="52" y="260"/>
                      <a:pt x="44" y="251"/>
                      <a:pt x="44" y="251"/>
                    </a:cubicBezTo>
                    <a:cubicBezTo>
                      <a:pt x="46" y="230"/>
                      <a:pt x="34" y="227"/>
                      <a:pt x="34" y="227"/>
                    </a:cubicBezTo>
                    <a:cubicBezTo>
                      <a:pt x="34" y="210"/>
                      <a:pt x="25" y="210"/>
                      <a:pt x="25" y="210"/>
                    </a:cubicBezTo>
                    <a:cubicBezTo>
                      <a:pt x="10" y="204"/>
                      <a:pt x="21" y="203"/>
                      <a:pt x="22" y="191"/>
                    </a:cubicBezTo>
                    <a:cubicBezTo>
                      <a:pt x="19" y="170"/>
                      <a:pt x="26" y="166"/>
                      <a:pt x="26" y="166"/>
                    </a:cubicBezTo>
                    <a:cubicBezTo>
                      <a:pt x="38" y="148"/>
                      <a:pt x="25" y="143"/>
                      <a:pt x="25" y="143"/>
                    </a:cubicBezTo>
                    <a:cubicBezTo>
                      <a:pt x="27" y="120"/>
                      <a:pt x="14" y="112"/>
                      <a:pt x="14" y="112"/>
                    </a:cubicBezTo>
                    <a:cubicBezTo>
                      <a:pt x="11" y="108"/>
                      <a:pt x="21" y="107"/>
                      <a:pt x="22" y="92"/>
                    </a:cubicBezTo>
                    <a:cubicBezTo>
                      <a:pt x="14" y="73"/>
                      <a:pt x="1" y="79"/>
                      <a:pt x="1" y="79"/>
                    </a:cubicBezTo>
                    <a:cubicBezTo>
                      <a:pt x="1" y="79"/>
                      <a:pt x="1" y="79"/>
                      <a:pt x="1" y="79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24" y="53"/>
                      <a:pt x="11" y="32"/>
                      <a:pt x="11" y="32"/>
                    </a:cubicBezTo>
                    <a:cubicBezTo>
                      <a:pt x="26" y="28"/>
                      <a:pt x="31" y="17"/>
                      <a:pt x="39" y="18"/>
                    </a:cubicBezTo>
                    <a:cubicBezTo>
                      <a:pt x="39" y="18"/>
                      <a:pt x="45" y="0"/>
                      <a:pt x="56" y="16"/>
                    </a:cubicBezTo>
                    <a:cubicBezTo>
                      <a:pt x="56" y="16"/>
                      <a:pt x="60" y="27"/>
                      <a:pt x="72" y="18"/>
                    </a:cubicBezTo>
                    <a:cubicBezTo>
                      <a:pt x="72" y="18"/>
                      <a:pt x="80" y="11"/>
                      <a:pt x="93" y="13"/>
                    </a:cubicBezTo>
                    <a:cubicBezTo>
                      <a:pt x="93" y="13"/>
                      <a:pt x="109" y="11"/>
                      <a:pt x="115" y="21"/>
                    </a:cubicBezTo>
                    <a:cubicBezTo>
                      <a:pt x="115" y="21"/>
                      <a:pt x="127" y="30"/>
                      <a:pt x="124" y="38"/>
                    </a:cubicBezTo>
                    <a:cubicBezTo>
                      <a:pt x="124" y="38"/>
                      <a:pt x="127" y="49"/>
                      <a:pt x="146" y="53"/>
                    </a:cubicBezTo>
                    <a:cubicBezTo>
                      <a:pt x="146" y="53"/>
                      <a:pt x="146" y="53"/>
                      <a:pt x="146" y="53"/>
                    </a:cubicBezTo>
                    <a:cubicBezTo>
                      <a:pt x="145" y="83"/>
                      <a:pt x="145" y="83"/>
                      <a:pt x="145" y="83"/>
                    </a:cubicBezTo>
                    <a:cubicBezTo>
                      <a:pt x="144" y="104"/>
                      <a:pt x="144" y="104"/>
                      <a:pt x="144" y="104"/>
                    </a:cubicBezTo>
                    <a:cubicBezTo>
                      <a:pt x="144" y="104"/>
                      <a:pt x="144" y="104"/>
                      <a:pt x="144" y="104"/>
                    </a:cubicBezTo>
                    <a:cubicBezTo>
                      <a:pt x="144" y="104"/>
                      <a:pt x="158" y="102"/>
                      <a:pt x="156" y="114"/>
                    </a:cubicBezTo>
                    <a:cubicBezTo>
                      <a:pt x="156" y="114"/>
                      <a:pt x="153" y="127"/>
                      <a:pt x="164" y="127"/>
                    </a:cubicBezTo>
                    <a:cubicBezTo>
                      <a:pt x="164" y="127"/>
                      <a:pt x="175" y="131"/>
                      <a:pt x="168" y="141"/>
                    </a:cubicBezTo>
                    <a:cubicBezTo>
                      <a:pt x="168" y="141"/>
                      <a:pt x="162" y="152"/>
                      <a:pt x="190" y="148"/>
                    </a:cubicBezTo>
                    <a:cubicBezTo>
                      <a:pt x="190" y="148"/>
                      <a:pt x="204" y="143"/>
                      <a:pt x="212" y="158"/>
                    </a:cubicBezTo>
                    <a:cubicBezTo>
                      <a:pt x="212" y="158"/>
                      <a:pt x="217" y="165"/>
                      <a:pt x="217" y="171"/>
                    </a:cubicBezTo>
                    <a:cubicBezTo>
                      <a:pt x="217" y="171"/>
                      <a:pt x="215" y="184"/>
                      <a:pt x="225" y="188"/>
                    </a:cubicBezTo>
                    <a:cubicBezTo>
                      <a:pt x="225" y="188"/>
                      <a:pt x="239" y="200"/>
                      <a:pt x="270" y="189"/>
                    </a:cubicBezTo>
                    <a:cubicBezTo>
                      <a:pt x="275" y="181"/>
                      <a:pt x="285" y="186"/>
                      <a:pt x="285" y="181"/>
                    </a:cubicBezTo>
                    <a:cubicBezTo>
                      <a:pt x="285" y="181"/>
                      <a:pt x="288" y="163"/>
                      <a:pt x="300" y="180"/>
                    </a:cubicBezTo>
                    <a:cubicBezTo>
                      <a:pt x="300" y="180"/>
                      <a:pt x="303" y="189"/>
                      <a:pt x="315" y="187"/>
                    </a:cubicBezTo>
                    <a:cubicBezTo>
                      <a:pt x="315" y="187"/>
                      <a:pt x="298" y="196"/>
                      <a:pt x="314" y="210"/>
                    </a:cubicBezTo>
                    <a:cubicBezTo>
                      <a:pt x="325" y="206"/>
                      <a:pt x="317" y="218"/>
                      <a:pt x="325" y="220"/>
                    </a:cubicBezTo>
                    <a:cubicBezTo>
                      <a:pt x="327" y="233"/>
                      <a:pt x="322" y="240"/>
                      <a:pt x="322" y="240"/>
                    </a:cubicBezTo>
                    <a:cubicBezTo>
                      <a:pt x="322" y="240"/>
                      <a:pt x="303" y="244"/>
                      <a:pt x="305" y="256"/>
                    </a:cubicBezTo>
                    <a:cubicBezTo>
                      <a:pt x="308" y="261"/>
                      <a:pt x="295" y="261"/>
                      <a:pt x="294" y="269"/>
                    </a:cubicBezTo>
                    <a:cubicBezTo>
                      <a:pt x="294" y="269"/>
                      <a:pt x="300" y="282"/>
                      <a:pt x="289" y="285"/>
                    </a:cubicBezTo>
                    <a:cubicBezTo>
                      <a:pt x="289" y="285"/>
                      <a:pt x="287" y="313"/>
                      <a:pt x="272" y="311"/>
                    </a:cubicBezTo>
                    <a:cubicBezTo>
                      <a:pt x="272" y="311"/>
                      <a:pt x="255" y="315"/>
                      <a:pt x="248" y="308"/>
                    </a:cubicBezTo>
                    <a:cubicBezTo>
                      <a:pt x="248" y="308"/>
                      <a:pt x="238" y="297"/>
                      <a:pt x="230" y="309"/>
                    </a:cubicBezTo>
                    <a:cubicBezTo>
                      <a:pt x="230" y="309"/>
                      <a:pt x="215" y="302"/>
                      <a:pt x="215" y="329"/>
                    </a:cubicBezTo>
                    <a:cubicBezTo>
                      <a:pt x="215" y="329"/>
                      <a:pt x="216" y="345"/>
                      <a:pt x="209" y="357"/>
                    </a:cubicBezTo>
                    <a:cubicBezTo>
                      <a:pt x="209" y="357"/>
                      <a:pt x="208" y="365"/>
                      <a:pt x="208" y="374"/>
                    </a:cubicBezTo>
                    <a:cubicBezTo>
                      <a:pt x="208" y="374"/>
                      <a:pt x="191" y="383"/>
                      <a:pt x="190" y="392"/>
                    </a:cubicBezTo>
                    <a:cubicBezTo>
                      <a:pt x="190" y="392"/>
                      <a:pt x="188" y="405"/>
                      <a:pt x="165" y="406"/>
                    </a:cubicBezTo>
                    <a:cubicBezTo>
                      <a:pt x="165" y="406"/>
                      <a:pt x="158" y="397"/>
                      <a:pt x="135" y="406"/>
                    </a:cubicBezTo>
                    <a:cubicBezTo>
                      <a:pt x="135" y="406"/>
                      <a:pt x="125" y="394"/>
                      <a:pt x="125" y="412"/>
                    </a:cubicBezTo>
                    <a:cubicBezTo>
                      <a:pt x="125" y="412"/>
                      <a:pt x="127" y="427"/>
                      <a:pt x="120" y="422"/>
                    </a:cubicBezTo>
                    <a:cubicBezTo>
                      <a:pt x="120" y="422"/>
                      <a:pt x="114" y="416"/>
                      <a:pt x="103" y="416"/>
                    </a:cubicBezTo>
                    <a:cubicBezTo>
                      <a:pt x="103" y="416"/>
                      <a:pt x="94" y="401"/>
                      <a:pt x="89" y="416"/>
                    </a:cubicBezTo>
                    <a:cubicBezTo>
                      <a:pt x="89" y="416"/>
                      <a:pt x="72" y="415"/>
                      <a:pt x="68" y="424"/>
                    </a:cubicBezTo>
                    <a:cubicBezTo>
                      <a:pt x="68" y="424"/>
                      <a:pt x="61" y="434"/>
                      <a:pt x="52" y="432"/>
                    </a:cubicBezTo>
                    <a:cubicBezTo>
                      <a:pt x="45" y="434"/>
                      <a:pt x="51" y="420"/>
                      <a:pt x="40" y="425"/>
                    </a:cubicBezTo>
                    <a:cubicBezTo>
                      <a:pt x="31" y="407"/>
                      <a:pt x="21" y="408"/>
                      <a:pt x="21" y="408"/>
                    </a:cubicBezTo>
                    <a:cubicBezTo>
                      <a:pt x="15" y="397"/>
                      <a:pt x="24" y="394"/>
                      <a:pt x="24" y="394"/>
                    </a:cubicBezTo>
                    <a:cubicBezTo>
                      <a:pt x="31" y="379"/>
                      <a:pt x="22" y="365"/>
                      <a:pt x="22" y="365"/>
                    </a:cubicBezTo>
                    <a:cubicBezTo>
                      <a:pt x="17" y="361"/>
                      <a:pt x="27" y="346"/>
                      <a:pt x="17" y="346"/>
                    </a:cubicBezTo>
                    <a:cubicBezTo>
                      <a:pt x="17" y="346"/>
                      <a:pt x="17" y="346"/>
                      <a:pt x="17" y="346"/>
                    </a:cubicBezTo>
                    <a:close/>
                  </a:path>
                </a:pathLst>
              </a:custGeom>
              <a:solidFill>
                <a:srgbClr val="EEBB0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29" name="Freeform 48"/>
              <p:cNvSpPr>
                <a:spLocks/>
              </p:cNvSpPr>
              <p:nvPr/>
            </p:nvSpPr>
            <p:spPr bwMode="auto">
              <a:xfrm>
                <a:off x="3179570" y="2168713"/>
                <a:ext cx="938828" cy="954370"/>
              </a:xfrm>
              <a:custGeom>
                <a:avLst/>
                <a:gdLst/>
                <a:ahLst/>
                <a:cxnLst>
                  <a:cxn ang="0">
                    <a:pos x="185" y="376"/>
                  </a:cxn>
                  <a:cxn ang="0">
                    <a:pos x="175" y="364"/>
                  </a:cxn>
                  <a:cxn ang="0">
                    <a:pos x="176" y="341"/>
                  </a:cxn>
                  <a:cxn ang="0">
                    <a:pos x="161" y="334"/>
                  </a:cxn>
                  <a:cxn ang="0">
                    <a:pos x="146" y="335"/>
                  </a:cxn>
                  <a:cxn ang="0">
                    <a:pos x="131" y="343"/>
                  </a:cxn>
                  <a:cxn ang="0">
                    <a:pos x="86" y="342"/>
                  </a:cxn>
                  <a:cxn ang="0">
                    <a:pos x="78" y="324"/>
                  </a:cxn>
                  <a:cxn ang="0">
                    <a:pos x="73" y="312"/>
                  </a:cxn>
                  <a:cxn ang="0">
                    <a:pos x="51" y="302"/>
                  </a:cxn>
                  <a:cxn ang="0">
                    <a:pos x="29" y="295"/>
                  </a:cxn>
                  <a:cxn ang="0">
                    <a:pos x="25" y="281"/>
                  </a:cxn>
                  <a:cxn ang="0">
                    <a:pos x="17" y="268"/>
                  </a:cxn>
                  <a:cxn ang="0">
                    <a:pos x="5" y="258"/>
                  </a:cxn>
                  <a:cxn ang="0">
                    <a:pos x="5" y="258"/>
                  </a:cxn>
                  <a:cxn ang="0">
                    <a:pos x="6" y="237"/>
                  </a:cxn>
                  <a:cxn ang="0">
                    <a:pos x="7" y="207"/>
                  </a:cxn>
                  <a:cxn ang="0">
                    <a:pos x="7" y="207"/>
                  </a:cxn>
                  <a:cxn ang="0">
                    <a:pos x="14" y="200"/>
                  </a:cxn>
                  <a:cxn ang="0">
                    <a:pos x="11" y="163"/>
                  </a:cxn>
                  <a:cxn ang="0">
                    <a:pos x="14" y="130"/>
                  </a:cxn>
                  <a:cxn ang="0">
                    <a:pos x="29" y="97"/>
                  </a:cxn>
                  <a:cxn ang="0">
                    <a:pos x="43" y="82"/>
                  </a:cxn>
                  <a:cxn ang="0">
                    <a:pos x="52" y="66"/>
                  </a:cxn>
                  <a:cxn ang="0">
                    <a:pos x="78" y="60"/>
                  </a:cxn>
                  <a:cxn ang="0">
                    <a:pos x="91" y="59"/>
                  </a:cxn>
                  <a:cxn ang="0">
                    <a:pos x="131" y="56"/>
                  </a:cxn>
                  <a:cxn ang="0">
                    <a:pos x="161" y="61"/>
                  </a:cxn>
                  <a:cxn ang="0">
                    <a:pos x="176" y="65"/>
                  </a:cxn>
                  <a:cxn ang="0">
                    <a:pos x="203" y="52"/>
                  </a:cxn>
                  <a:cxn ang="0">
                    <a:pos x="210" y="24"/>
                  </a:cxn>
                  <a:cxn ang="0">
                    <a:pos x="231" y="16"/>
                  </a:cxn>
                  <a:cxn ang="0">
                    <a:pos x="257" y="24"/>
                  </a:cxn>
                  <a:cxn ang="0">
                    <a:pos x="295" y="8"/>
                  </a:cxn>
                  <a:cxn ang="0">
                    <a:pos x="327" y="4"/>
                  </a:cxn>
                  <a:cxn ang="0">
                    <a:pos x="319" y="24"/>
                  </a:cxn>
                  <a:cxn ang="0">
                    <a:pos x="318" y="49"/>
                  </a:cxn>
                  <a:cxn ang="0">
                    <a:pos x="330" y="61"/>
                  </a:cxn>
                  <a:cxn ang="0">
                    <a:pos x="321" y="71"/>
                  </a:cxn>
                  <a:cxn ang="0">
                    <a:pos x="319" y="79"/>
                  </a:cxn>
                  <a:cxn ang="0">
                    <a:pos x="307" y="87"/>
                  </a:cxn>
                  <a:cxn ang="0">
                    <a:pos x="292" y="103"/>
                  </a:cxn>
                  <a:cxn ang="0">
                    <a:pos x="295" y="132"/>
                  </a:cxn>
                  <a:cxn ang="0">
                    <a:pos x="297" y="151"/>
                  </a:cxn>
                  <a:cxn ang="0">
                    <a:pos x="293" y="175"/>
                  </a:cxn>
                  <a:cxn ang="0">
                    <a:pos x="285" y="189"/>
                  </a:cxn>
                  <a:cxn ang="0">
                    <a:pos x="289" y="216"/>
                  </a:cxn>
                  <a:cxn ang="0">
                    <a:pos x="278" y="230"/>
                  </a:cxn>
                  <a:cxn ang="0">
                    <a:pos x="285" y="243"/>
                  </a:cxn>
                  <a:cxn ang="0">
                    <a:pos x="294" y="251"/>
                  </a:cxn>
                  <a:cxn ang="0">
                    <a:pos x="306" y="245"/>
                  </a:cxn>
                  <a:cxn ang="0">
                    <a:pos x="306" y="264"/>
                  </a:cxn>
                  <a:cxn ang="0">
                    <a:pos x="297" y="284"/>
                  </a:cxn>
                  <a:cxn ang="0">
                    <a:pos x="300" y="309"/>
                  </a:cxn>
                  <a:cxn ang="0">
                    <a:pos x="292" y="339"/>
                  </a:cxn>
                  <a:cxn ang="0">
                    <a:pos x="279" y="357"/>
                  </a:cxn>
                  <a:cxn ang="0">
                    <a:pos x="259" y="368"/>
                  </a:cxn>
                  <a:cxn ang="0">
                    <a:pos x="227" y="368"/>
                  </a:cxn>
                  <a:cxn ang="0">
                    <a:pos x="205" y="368"/>
                  </a:cxn>
                  <a:cxn ang="0">
                    <a:pos x="185" y="376"/>
                  </a:cxn>
                  <a:cxn ang="0">
                    <a:pos x="185" y="376"/>
                  </a:cxn>
                </a:cxnLst>
                <a:rect l="0" t="0" r="r" b="b"/>
                <a:pathLst>
                  <a:path w="331" h="381">
                    <a:moveTo>
                      <a:pt x="185" y="376"/>
                    </a:moveTo>
                    <a:cubicBezTo>
                      <a:pt x="177" y="374"/>
                      <a:pt x="186" y="360"/>
                      <a:pt x="175" y="364"/>
                    </a:cubicBezTo>
                    <a:cubicBezTo>
                      <a:pt x="159" y="350"/>
                      <a:pt x="176" y="341"/>
                      <a:pt x="176" y="341"/>
                    </a:cubicBezTo>
                    <a:cubicBezTo>
                      <a:pt x="164" y="343"/>
                      <a:pt x="161" y="334"/>
                      <a:pt x="161" y="334"/>
                    </a:cubicBezTo>
                    <a:cubicBezTo>
                      <a:pt x="149" y="317"/>
                      <a:pt x="146" y="335"/>
                      <a:pt x="146" y="335"/>
                    </a:cubicBezTo>
                    <a:cubicBezTo>
                      <a:pt x="146" y="340"/>
                      <a:pt x="136" y="335"/>
                      <a:pt x="131" y="343"/>
                    </a:cubicBezTo>
                    <a:cubicBezTo>
                      <a:pt x="100" y="354"/>
                      <a:pt x="86" y="342"/>
                      <a:pt x="86" y="342"/>
                    </a:cubicBezTo>
                    <a:cubicBezTo>
                      <a:pt x="76" y="338"/>
                      <a:pt x="78" y="324"/>
                      <a:pt x="78" y="324"/>
                    </a:cubicBezTo>
                    <a:cubicBezTo>
                      <a:pt x="78" y="318"/>
                      <a:pt x="73" y="312"/>
                      <a:pt x="73" y="312"/>
                    </a:cubicBezTo>
                    <a:cubicBezTo>
                      <a:pt x="65" y="297"/>
                      <a:pt x="51" y="302"/>
                      <a:pt x="51" y="302"/>
                    </a:cubicBezTo>
                    <a:cubicBezTo>
                      <a:pt x="23" y="306"/>
                      <a:pt x="29" y="295"/>
                      <a:pt x="29" y="295"/>
                    </a:cubicBezTo>
                    <a:cubicBezTo>
                      <a:pt x="36" y="285"/>
                      <a:pt x="25" y="281"/>
                      <a:pt x="25" y="281"/>
                    </a:cubicBezTo>
                    <a:cubicBezTo>
                      <a:pt x="14" y="281"/>
                      <a:pt x="17" y="268"/>
                      <a:pt x="17" y="268"/>
                    </a:cubicBezTo>
                    <a:cubicBezTo>
                      <a:pt x="19" y="256"/>
                      <a:pt x="5" y="258"/>
                      <a:pt x="5" y="258"/>
                    </a:cubicBezTo>
                    <a:cubicBezTo>
                      <a:pt x="5" y="258"/>
                      <a:pt x="5" y="258"/>
                      <a:pt x="5" y="258"/>
                    </a:cubicBezTo>
                    <a:cubicBezTo>
                      <a:pt x="6" y="237"/>
                      <a:pt x="6" y="237"/>
                      <a:pt x="6" y="237"/>
                    </a:cubicBezTo>
                    <a:cubicBezTo>
                      <a:pt x="7" y="207"/>
                      <a:pt x="7" y="207"/>
                      <a:pt x="7" y="207"/>
                    </a:cubicBezTo>
                    <a:cubicBezTo>
                      <a:pt x="7" y="207"/>
                      <a:pt x="7" y="207"/>
                      <a:pt x="7" y="207"/>
                    </a:cubicBezTo>
                    <a:cubicBezTo>
                      <a:pt x="7" y="207"/>
                      <a:pt x="6" y="197"/>
                      <a:pt x="14" y="200"/>
                    </a:cubicBezTo>
                    <a:cubicBezTo>
                      <a:pt x="23" y="182"/>
                      <a:pt x="7" y="182"/>
                      <a:pt x="11" y="163"/>
                    </a:cubicBezTo>
                    <a:cubicBezTo>
                      <a:pt x="11" y="163"/>
                      <a:pt x="0" y="155"/>
                      <a:pt x="14" y="130"/>
                    </a:cubicBezTo>
                    <a:cubicBezTo>
                      <a:pt x="22" y="124"/>
                      <a:pt x="18" y="108"/>
                      <a:pt x="29" y="97"/>
                    </a:cubicBezTo>
                    <a:cubicBezTo>
                      <a:pt x="39" y="92"/>
                      <a:pt x="36" y="83"/>
                      <a:pt x="43" y="82"/>
                    </a:cubicBezTo>
                    <a:cubicBezTo>
                      <a:pt x="43" y="82"/>
                      <a:pt x="53" y="75"/>
                      <a:pt x="52" y="66"/>
                    </a:cubicBezTo>
                    <a:cubicBezTo>
                      <a:pt x="52" y="66"/>
                      <a:pt x="47" y="53"/>
                      <a:pt x="78" y="60"/>
                    </a:cubicBezTo>
                    <a:cubicBezTo>
                      <a:pt x="78" y="60"/>
                      <a:pt x="89" y="75"/>
                      <a:pt x="91" y="59"/>
                    </a:cubicBezTo>
                    <a:cubicBezTo>
                      <a:pt x="91" y="59"/>
                      <a:pt x="97" y="45"/>
                      <a:pt x="131" y="56"/>
                    </a:cubicBezTo>
                    <a:cubicBezTo>
                      <a:pt x="131" y="56"/>
                      <a:pt x="159" y="52"/>
                      <a:pt x="161" y="61"/>
                    </a:cubicBezTo>
                    <a:cubicBezTo>
                      <a:pt x="161" y="61"/>
                      <a:pt x="155" y="71"/>
                      <a:pt x="176" y="65"/>
                    </a:cubicBezTo>
                    <a:cubicBezTo>
                      <a:pt x="176" y="65"/>
                      <a:pt x="183" y="69"/>
                      <a:pt x="203" y="52"/>
                    </a:cubicBezTo>
                    <a:cubicBezTo>
                      <a:pt x="203" y="38"/>
                      <a:pt x="209" y="38"/>
                      <a:pt x="210" y="24"/>
                    </a:cubicBezTo>
                    <a:cubicBezTo>
                      <a:pt x="210" y="24"/>
                      <a:pt x="200" y="7"/>
                      <a:pt x="231" y="16"/>
                    </a:cubicBezTo>
                    <a:cubicBezTo>
                      <a:pt x="231" y="16"/>
                      <a:pt x="249" y="28"/>
                      <a:pt x="257" y="24"/>
                    </a:cubicBezTo>
                    <a:cubicBezTo>
                      <a:pt x="273" y="24"/>
                      <a:pt x="270" y="27"/>
                      <a:pt x="295" y="8"/>
                    </a:cubicBezTo>
                    <a:cubicBezTo>
                      <a:pt x="295" y="8"/>
                      <a:pt x="296" y="0"/>
                      <a:pt x="327" y="4"/>
                    </a:cubicBezTo>
                    <a:cubicBezTo>
                      <a:pt x="322" y="11"/>
                      <a:pt x="319" y="24"/>
                      <a:pt x="319" y="24"/>
                    </a:cubicBezTo>
                    <a:cubicBezTo>
                      <a:pt x="309" y="46"/>
                      <a:pt x="318" y="49"/>
                      <a:pt x="318" y="49"/>
                    </a:cubicBezTo>
                    <a:cubicBezTo>
                      <a:pt x="330" y="53"/>
                      <a:pt x="330" y="61"/>
                      <a:pt x="330" y="61"/>
                    </a:cubicBezTo>
                    <a:cubicBezTo>
                      <a:pt x="331" y="65"/>
                      <a:pt x="318" y="59"/>
                      <a:pt x="321" y="71"/>
                    </a:cubicBezTo>
                    <a:cubicBezTo>
                      <a:pt x="317" y="75"/>
                      <a:pt x="319" y="79"/>
                      <a:pt x="319" y="79"/>
                    </a:cubicBezTo>
                    <a:cubicBezTo>
                      <a:pt x="322" y="90"/>
                      <a:pt x="307" y="87"/>
                      <a:pt x="307" y="87"/>
                    </a:cubicBezTo>
                    <a:cubicBezTo>
                      <a:pt x="296" y="90"/>
                      <a:pt x="292" y="103"/>
                      <a:pt x="292" y="103"/>
                    </a:cubicBezTo>
                    <a:cubicBezTo>
                      <a:pt x="278" y="114"/>
                      <a:pt x="295" y="132"/>
                      <a:pt x="295" y="132"/>
                    </a:cubicBezTo>
                    <a:cubicBezTo>
                      <a:pt x="300" y="132"/>
                      <a:pt x="297" y="151"/>
                      <a:pt x="297" y="151"/>
                    </a:cubicBezTo>
                    <a:cubicBezTo>
                      <a:pt x="305" y="162"/>
                      <a:pt x="292" y="158"/>
                      <a:pt x="293" y="175"/>
                    </a:cubicBezTo>
                    <a:cubicBezTo>
                      <a:pt x="297" y="191"/>
                      <a:pt x="285" y="189"/>
                      <a:pt x="285" y="189"/>
                    </a:cubicBezTo>
                    <a:cubicBezTo>
                      <a:pt x="291" y="206"/>
                      <a:pt x="289" y="216"/>
                      <a:pt x="289" y="216"/>
                    </a:cubicBezTo>
                    <a:cubicBezTo>
                      <a:pt x="287" y="222"/>
                      <a:pt x="275" y="217"/>
                      <a:pt x="278" y="230"/>
                    </a:cubicBezTo>
                    <a:cubicBezTo>
                      <a:pt x="274" y="240"/>
                      <a:pt x="285" y="243"/>
                      <a:pt x="285" y="243"/>
                    </a:cubicBezTo>
                    <a:cubicBezTo>
                      <a:pt x="291" y="240"/>
                      <a:pt x="287" y="252"/>
                      <a:pt x="294" y="251"/>
                    </a:cubicBezTo>
                    <a:cubicBezTo>
                      <a:pt x="300" y="251"/>
                      <a:pt x="297" y="244"/>
                      <a:pt x="306" y="245"/>
                    </a:cubicBezTo>
                    <a:cubicBezTo>
                      <a:pt x="296" y="258"/>
                      <a:pt x="306" y="264"/>
                      <a:pt x="306" y="264"/>
                    </a:cubicBezTo>
                    <a:cubicBezTo>
                      <a:pt x="305" y="274"/>
                      <a:pt x="296" y="276"/>
                      <a:pt x="297" y="284"/>
                    </a:cubicBezTo>
                    <a:cubicBezTo>
                      <a:pt x="296" y="291"/>
                      <a:pt x="306" y="299"/>
                      <a:pt x="300" y="309"/>
                    </a:cubicBezTo>
                    <a:cubicBezTo>
                      <a:pt x="300" y="327"/>
                      <a:pt x="292" y="339"/>
                      <a:pt x="292" y="339"/>
                    </a:cubicBezTo>
                    <a:cubicBezTo>
                      <a:pt x="292" y="347"/>
                      <a:pt x="279" y="357"/>
                      <a:pt x="279" y="357"/>
                    </a:cubicBezTo>
                    <a:cubicBezTo>
                      <a:pt x="270" y="371"/>
                      <a:pt x="259" y="368"/>
                      <a:pt x="259" y="368"/>
                    </a:cubicBezTo>
                    <a:cubicBezTo>
                      <a:pt x="237" y="377"/>
                      <a:pt x="227" y="368"/>
                      <a:pt x="227" y="368"/>
                    </a:cubicBezTo>
                    <a:cubicBezTo>
                      <a:pt x="217" y="358"/>
                      <a:pt x="205" y="368"/>
                      <a:pt x="205" y="368"/>
                    </a:cubicBezTo>
                    <a:cubicBezTo>
                      <a:pt x="197" y="381"/>
                      <a:pt x="185" y="376"/>
                      <a:pt x="185" y="376"/>
                    </a:cubicBezTo>
                    <a:cubicBezTo>
                      <a:pt x="185" y="376"/>
                      <a:pt x="185" y="376"/>
                      <a:pt x="185" y="376"/>
                    </a:cubicBezTo>
                    <a:close/>
                  </a:path>
                </a:pathLst>
              </a:custGeom>
              <a:solidFill>
                <a:srgbClr val="EEBB0D">
                  <a:alpha val="87059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30" name="Freeform 47"/>
              <p:cNvSpPr>
                <a:spLocks/>
              </p:cNvSpPr>
              <p:nvPr/>
            </p:nvSpPr>
            <p:spPr bwMode="auto">
              <a:xfrm>
                <a:off x="3955809" y="2150621"/>
                <a:ext cx="912605" cy="1044831"/>
              </a:xfrm>
              <a:custGeom>
                <a:avLst/>
                <a:gdLst/>
                <a:ahLst/>
                <a:cxnLst>
                  <a:cxn ang="0">
                    <a:pos x="45" y="33"/>
                  </a:cxn>
                  <a:cxn ang="0">
                    <a:pos x="56" y="70"/>
                  </a:cxn>
                  <a:cxn ang="0">
                    <a:pos x="45" y="88"/>
                  </a:cxn>
                  <a:cxn ang="0">
                    <a:pos x="18" y="112"/>
                  </a:cxn>
                  <a:cxn ang="0">
                    <a:pos x="23" y="160"/>
                  </a:cxn>
                  <a:cxn ang="0">
                    <a:pos x="11" y="198"/>
                  </a:cxn>
                  <a:cxn ang="0">
                    <a:pos x="4" y="239"/>
                  </a:cxn>
                  <a:cxn ang="0">
                    <a:pos x="20" y="260"/>
                  </a:cxn>
                  <a:cxn ang="0">
                    <a:pos x="32" y="273"/>
                  </a:cxn>
                  <a:cxn ang="0">
                    <a:pos x="26" y="318"/>
                  </a:cxn>
                  <a:cxn ang="0">
                    <a:pos x="35" y="348"/>
                  </a:cxn>
                  <a:cxn ang="0">
                    <a:pos x="90" y="355"/>
                  </a:cxn>
                  <a:cxn ang="0">
                    <a:pos x="123" y="352"/>
                  </a:cxn>
                  <a:cxn ang="0">
                    <a:pos x="155" y="342"/>
                  </a:cxn>
                  <a:cxn ang="0">
                    <a:pos x="173" y="391"/>
                  </a:cxn>
                  <a:cxn ang="0">
                    <a:pos x="183" y="407"/>
                  </a:cxn>
                  <a:cxn ang="0">
                    <a:pos x="212" y="410"/>
                  </a:cxn>
                  <a:cxn ang="0">
                    <a:pos x="253" y="400"/>
                  </a:cxn>
                  <a:cxn ang="0">
                    <a:pos x="300" y="376"/>
                  </a:cxn>
                  <a:cxn ang="0">
                    <a:pos x="313" y="361"/>
                  </a:cxn>
                  <a:cxn ang="0">
                    <a:pos x="293" y="322"/>
                  </a:cxn>
                  <a:cxn ang="0">
                    <a:pos x="288" y="283"/>
                  </a:cxn>
                  <a:cxn ang="0">
                    <a:pos x="276" y="248"/>
                  </a:cxn>
                  <a:cxn ang="0">
                    <a:pos x="254" y="229"/>
                  </a:cxn>
                  <a:cxn ang="0">
                    <a:pos x="198" y="218"/>
                  </a:cxn>
                  <a:cxn ang="0">
                    <a:pos x="164" y="211"/>
                  </a:cxn>
                  <a:cxn ang="0">
                    <a:pos x="150" y="189"/>
                  </a:cxn>
                  <a:cxn ang="0">
                    <a:pos x="138" y="145"/>
                  </a:cxn>
                  <a:cxn ang="0">
                    <a:pos x="168" y="116"/>
                  </a:cxn>
                  <a:cxn ang="0">
                    <a:pos x="127" y="69"/>
                  </a:cxn>
                  <a:cxn ang="0">
                    <a:pos x="102" y="20"/>
                  </a:cxn>
                  <a:cxn ang="0">
                    <a:pos x="66" y="26"/>
                  </a:cxn>
                  <a:cxn ang="0">
                    <a:pos x="53" y="13"/>
                  </a:cxn>
                </a:cxnLst>
                <a:rect l="0" t="0" r="r" b="b"/>
                <a:pathLst>
                  <a:path w="323" h="419">
                    <a:moveTo>
                      <a:pt x="53" y="13"/>
                    </a:moveTo>
                    <a:cubicBezTo>
                      <a:pt x="48" y="20"/>
                      <a:pt x="45" y="33"/>
                      <a:pt x="45" y="33"/>
                    </a:cubicBezTo>
                    <a:cubicBezTo>
                      <a:pt x="35" y="55"/>
                      <a:pt x="44" y="58"/>
                      <a:pt x="44" y="58"/>
                    </a:cubicBezTo>
                    <a:cubicBezTo>
                      <a:pt x="56" y="62"/>
                      <a:pt x="56" y="70"/>
                      <a:pt x="56" y="70"/>
                    </a:cubicBezTo>
                    <a:cubicBezTo>
                      <a:pt x="57" y="74"/>
                      <a:pt x="44" y="68"/>
                      <a:pt x="47" y="80"/>
                    </a:cubicBezTo>
                    <a:cubicBezTo>
                      <a:pt x="43" y="84"/>
                      <a:pt x="45" y="88"/>
                      <a:pt x="45" y="88"/>
                    </a:cubicBezTo>
                    <a:cubicBezTo>
                      <a:pt x="48" y="99"/>
                      <a:pt x="33" y="96"/>
                      <a:pt x="33" y="96"/>
                    </a:cubicBezTo>
                    <a:cubicBezTo>
                      <a:pt x="22" y="99"/>
                      <a:pt x="18" y="112"/>
                      <a:pt x="18" y="112"/>
                    </a:cubicBezTo>
                    <a:cubicBezTo>
                      <a:pt x="4" y="123"/>
                      <a:pt x="21" y="141"/>
                      <a:pt x="21" y="141"/>
                    </a:cubicBezTo>
                    <a:cubicBezTo>
                      <a:pt x="26" y="141"/>
                      <a:pt x="23" y="160"/>
                      <a:pt x="23" y="160"/>
                    </a:cubicBezTo>
                    <a:cubicBezTo>
                      <a:pt x="31" y="171"/>
                      <a:pt x="18" y="167"/>
                      <a:pt x="19" y="184"/>
                    </a:cubicBezTo>
                    <a:cubicBezTo>
                      <a:pt x="23" y="200"/>
                      <a:pt x="11" y="198"/>
                      <a:pt x="11" y="198"/>
                    </a:cubicBezTo>
                    <a:cubicBezTo>
                      <a:pt x="17" y="215"/>
                      <a:pt x="15" y="225"/>
                      <a:pt x="15" y="225"/>
                    </a:cubicBezTo>
                    <a:cubicBezTo>
                      <a:pt x="13" y="231"/>
                      <a:pt x="1" y="226"/>
                      <a:pt x="4" y="239"/>
                    </a:cubicBezTo>
                    <a:cubicBezTo>
                      <a:pt x="0" y="249"/>
                      <a:pt x="11" y="252"/>
                      <a:pt x="11" y="252"/>
                    </a:cubicBezTo>
                    <a:cubicBezTo>
                      <a:pt x="17" y="249"/>
                      <a:pt x="13" y="261"/>
                      <a:pt x="20" y="260"/>
                    </a:cubicBezTo>
                    <a:cubicBezTo>
                      <a:pt x="26" y="260"/>
                      <a:pt x="23" y="253"/>
                      <a:pt x="32" y="254"/>
                    </a:cubicBezTo>
                    <a:cubicBezTo>
                      <a:pt x="22" y="267"/>
                      <a:pt x="32" y="273"/>
                      <a:pt x="32" y="273"/>
                    </a:cubicBezTo>
                    <a:cubicBezTo>
                      <a:pt x="31" y="283"/>
                      <a:pt x="22" y="285"/>
                      <a:pt x="23" y="293"/>
                    </a:cubicBezTo>
                    <a:cubicBezTo>
                      <a:pt x="22" y="300"/>
                      <a:pt x="32" y="308"/>
                      <a:pt x="26" y="318"/>
                    </a:cubicBezTo>
                    <a:cubicBezTo>
                      <a:pt x="26" y="336"/>
                      <a:pt x="18" y="348"/>
                      <a:pt x="18" y="348"/>
                    </a:cubicBezTo>
                    <a:cubicBezTo>
                      <a:pt x="32" y="355"/>
                      <a:pt x="35" y="348"/>
                      <a:pt x="35" y="348"/>
                    </a:cubicBezTo>
                    <a:cubicBezTo>
                      <a:pt x="41" y="341"/>
                      <a:pt x="55" y="352"/>
                      <a:pt x="55" y="352"/>
                    </a:cubicBezTo>
                    <a:cubicBezTo>
                      <a:pt x="59" y="355"/>
                      <a:pt x="84" y="351"/>
                      <a:pt x="90" y="355"/>
                    </a:cubicBezTo>
                    <a:cubicBezTo>
                      <a:pt x="107" y="359"/>
                      <a:pt x="107" y="352"/>
                      <a:pt x="107" y="352"/>
                    </a:cubicBezTo>
                    <a:cubicBezTo>
                      <a:pt x="115" y="339"/>
                      <a:pt x="123" y="352"/>
                      <a:pt x="123" y="352"/>
                    </a:cubicBezTo>
                    <a:cubicBezTo>
                      <a:pt x="133" y="361"/>
                      <a:pt x="138" y="352"/>
                      <a:pt x="138" y="352"/>
                    </a:cubicBezTo>
                    <a:cubicBezTo>
                      <a:pt x="139" y="341"/>
                      <a:pt x="155" y="342"/>
                      <a:pt x="155" y="342"/>
                    </a:cubicBezTo>
                    <a:cubicBezTo>
                      <a:pt x="154" y="366"/>
                      <a:pt x="165" y="369"/>
                      <a:pt x="165" y="369"/>
                    </a:cubicBezTo>
                    <a:cubicBezTo>
                      <a:pt x="172" y="377"/>
                      <a:pt x="173" y="391"/>
                      <a:pt x="173" y="391"/>
                    </a:cubicBezTo>
                    <a:cubicBezTo>
                      <a:pt x="180" y="388"/>
                      <a:pt x="180" y="398"/>
                      <a:pt x="180" y="398"/>
                    </a:cubicBezTo>
                    <a:cubicBezTo>
                      <a:pt x="193" y="403"/>
                      <a:pt x="183" y="407"/>
                      <a:pt x="183" y="407"/>
                    </a:cubicBezTo>
                    <a:cubicBezTo>
                      <a:pt x="178" y="418"/>
                      <a:pt x="191" y="417"/>
                      <a:pt x="191" y="417"/>
                    </a:cubicBezTo>
                    <a:cubicBezTo>
                      <a:pt x="205" y="419"/>
                      <a:pt x="212" y="410"/>
                      <a:pt x="212" y="410"/>
                    </a:cubicBezTo>
                    <a:cubicBezTo>
                      <a:pt x="224" y="403"/>
                      <a:pt x="235" y="409"/>
                      <a:pt x="235" y="409"/>
                    </a:cubicBezTo>
                    <a:cubicBezTo>
                      <a:pt x="242" y="399"/>
                      <a:pt x="253" y="400"/>
                      <a:pt x="253" y="400"/>
                    </a:cubicBezTo>
                    <a:cubicBezTo>
                      <a:pt x="258" y="388"/>
                      <a:pt x="272" y="392"/>
                      <a:pt x="272" y="392"/>
                    </a:cubicBezTo>
                    <a:cubicBezTo>
                      <a:pt x="275" y="377"/>
                      <a:pt x="296" y="370"/>
                      <a:pt x="300" y="376"/>
                    </a:cubicBezTo>
                    <a:cubicBezTo>
                      <a:pt x="304" y="370"/>
                      <a:pt x="323" y="378"/>
                      <a:pt x="323" y="364"/>
                    </a:cubicBezTo>
                    <a:cubicBezTo>
                      <a:pt x="318" y="364"/>
                      <a:pt x="313" y="361"/>
                      <a:pt x="313" y="361"/>
                    </a:cubicBezTo>
                    <a:cubicBezTo>
                      <a:pt x="312" y="341"/>
                      <a:pt x="303" y="344"/>
                      <a:pt x="303" y="344"/>
                    </a:cubicBezTo>
                    <a:cubicBezTo>
                      <a:pt x="290" y="341"/>
                      <a:pt x="293" y="322"/>
                      <a:pt x="293" y="322"/>
                    </a:cubicBezTo>
                    <a:cubicBezTo>
                      <a:pt x="281" y="311"/>
                      <a:pt x="297" y="315"/>
                      <a:pt x="296" y="300"/>
                    </a:cubicBezTo>
                    <a:cubicBezTo>
                      <a:pt x="296" y="289"/>
                      <a:pt x="287" y="287"/>
                      <a:pt x="288" y="283"/>
                    </a:cubicBezTo>
                    <a:cubicBezTo>
                      <a:pt x="279" y="276"/>
                      <a:pt x="279" y="263"/>
                      <a:pt x="279" y="263"/>
                    </a:cubicBezTo>
                    <a:cubicBezTo>
                      <a:pt x="269" y="255"/>
                      <a:pt x="276" y="248"/>
                      <a:pt x="276" y="248"/>
                    </a:cubicBezTo>
                    <a:cubicBezTo>
                      <a:pt x="285" y="240"/>
                      <a:pt x="268" y="242"/>
                      <a:pt x="268" y="242"/>
                    </a:cubicBezTo>
                    <a:cubicBezTo>
                      <a:pt x="257" y="248"/>
                      <a:pt x="254" y="229"/>
                      <a:pt x="254" y="229"/>
                    </a:cubicBezTo>
                    <a:cubicBezTo>
                      <a:pt x="254" y="205"/>
                      <a:pt x="231" y="215"/>
                      <a:pt x="231" y="215"/>
                    </a:cubicBezTo>
                    <a:cubicBezTo>
                      <a:pt x="215" y="227"/>
                      <a:pt x="198" y="218"/>
                      <a:pt x="198" y="218"/>
                    </a:cubicBezTo>
                    <a:cubicBezTo>
                      <a:pt x="192" y="207"/>
                      <a:pt x="180" y="211"/>
                      <a:pt x="180" y="211"/>
                    </a:cubicBezTo>
                    <a:cubicBezTo>
                      <a:pt x="172" y="202"/>
                      <a:pt x="164" y="211"/>
                      <a:pt x="164" y="211"/>
                    </a:cubicBezTo>
                    <a:cubicBezTo>
                      <a:pt x="139" y="217"/>
                      <a:pt x="154" y="205"/>
                      <a:pt x="154" y="205"/>
                    </a:cubicBezTo>
                    <a:cubicBezTo>
                      <a:pt x="164" y="187"/>
                      <a:pt x="150" y="189"/>
                      <a:pt x="150" y="189"/>
                    </a:cubicBezTo>
                    <a:cubicBezTo>
                      <a:pt x="144" y="190"/>
                      <a:pt x="149" y="168"/>
                      <a:pt x="149" y="168"/>
                    </a:cubicBezTo>
                    <a:cubicBezTo>
                      <a:pt x="149" y="155"/>
                      <a:pt x="138" y="145"/>
                      <a:pt x="138" y="145"/>
                    </a:cubicBezTo>
                    <a:cubicBezTo>
                      <a:pt x="124" y="134"/>
                      <a:pt x="150" y="128"/>
                      <a:pt x="150" y="128"/>
                    </a:cubicBezTo>
                    <a:cubicBezTo>
                      <a:pt x="169" y="128"/>
                      <a:pt x="168" y="116"/>
                      <a:pt x="168" y="116"/>
                    </a:cubicBezTo>
                    <a:cubicBezTo>
                      <a:pt x="169" y="106"/>
                      <a:pt x="149" y="95"/>
                      <a:pt x="149" y="95"/>
                    </a:cubicBezTo>
                    <a:cubicBezTo>
                      <a:pt x="129" y="84"/>
                      <a:pt x="127" y="69"/>
                      <a:pt x="127" y="69"/>
                    </a:cubicBezTo>
                    <a:cubicBezTo>
                      <a:pt x="118" y="55"/>
                      <a:pt x="139" y="51"/>
                      <a:pt x="119" y="40"/>
                    </a:cubicBezTo>
                    <a:cubicBezTo>
                      <a:pt x="109" y="40"/>
                      <a:pt x="102" y="20"/>
                      <a:pt x="102" y="20"/>
                    </a:cubicBezTo>
                    <a:cubicBezTo>
                      <a:pt x="92" y="0"/>
                      <a:pt x="84" y="13"/>
                      <a:pt x="84" y="13"/>
                    </a:cubicBezTo>
                    <a:cubicBezTo>
                      <a:pt x="73" y="13"/>
                      <a:pt x="66" y="26"/>
                      <a:pt x="66" y="26"/>
                    </a:cubicBezTo>
                    <a:cubicBezTo>
                      <a:pt x="58" y="29"/>
                      <a:pt x="68" y="10"/>
                      <a:pt x="53" y="13"/>
                    </a:cubicBezTo>
                    <a:cubicBezTo>
                      <a:pt x="53" y="13"/>
                      <a:pt x="53" y="13"/>
                      <a:pt x="53" y="13"/>
                    </a:cubicBezTo>
                    <a:close/>
                  </a:path>
                </a:pathLst>
              </a:custGeom>
              <a:solidFill>
                <a:srgbClr val="EEBB0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31" name="Freeform 46"/>
              <p:cNvSpPr>
                <a:spLocks/>
              </p:cNvSpPr>
              <p:nvPr/>
            </p:nvSpPr>
            <p:spPr bwMode="auto">
              <a:xfrm>
                <a:off x="3698809" y="2996437"/>
                <a:ext cx="1132889" cy="827721"/>
              </a:xfrm>
              <a:custGeom>
                <a:avLst/>
                <a:gdLst/>
                <a:ahLst/>
                <a:cxnLst>
                  <a:cxn ang="0">
                    <a:pos x="326" y="70"/>
                  </a:cxn>
                  <a:cxn ang="0">
                    <a:pos x="324" y="92"/>
                  </a:cxn>
                  <a:cxn ang="0">
                    <a:pos x="327" y="112"/>
                  </a:cxn>
                  <a:cxn ang="0">
                    <a:pos x="349" y="123"/>
                  </a:cxn>
                  <a:cxn ang="0">
                    <a:pos x="363" y="137"/>
                  </a:cxn>
                  <a:cxn ang="0">
                    <a:pos x="383" y="152"/>
                  </a:cxn>
                  <a:cxn ang="0">
                    <a:pos x="393" y="160"/>
                  </a:cxn>
                  <a:cxn ang="0">
                    <a:pos x="390" y="185"/>
                  </a:cxn>
                  <a:cxn ang="0">
                    <a:pos x="383" y="198"/>
                  </a:cxn>
                  <a:cxn ang="0">
                    <a:pos x="380" y="216"/>
                  </a:cxn>
                  <a:cxn ang="0">
                    <a:pos x="359" y="221"/>
                  </a:cxn>
                  <a:cxn ang="0">
                    <a:pos x="343" y="246"/>
                  </a:cxn>
                  <a:cxn ang="0">
                    <a:pos x="315" y="250"/>
                  </a:cxn>
                  <a:cxn ang="0">
                    <a:pos x="285" y="265"/>
                  </a:cxn>
                  <a:cxn ang="0">
                    <a:pos x="270" y="284"/>
                  </a:cxn>
                  <a:cxn ang="0">
                    <a:pos x="266" y="301"/>
                  </a:cxn>
                  <a:cxn ang="0">
                    <a:pos x="263" y="321"/>
                  </a:cxn>
                  <a:cxn ang="0">
                    <a:pos x="242" y="318"/>
                  </a:cxn>
                  <a:cxn ang="0">
                    <a:pos x="219" y="307"/>
                  </a:cxn>
                  <a:cxn ang="0">
                    <a:pos x="185" y="299"/>
                  </a:cxn>
                  <a:cxn ang="0">
                    <a:pos x="168" y="298"/>
                  </a:cxn>
                  <a:cxn ang="0">
                    <a:pos x="150" y="284"/>
                  </a:cxn>
                  <a:cxn ang="0">
                    <a:pos x="136" y="273"/>
                  </a:cxn>
                  <a:cxn ang="0">
                    <a:pos x="126" y="260"/>
                  </a:cxn>
                  <a:cxn ang="0">
                    <a:pos x="96" y="249"/>
                  </a:cxn>
                  <a:cxn ang="0">
                    <a:pos x="84" y="240"/>
                  </a:cxn>
                  <a:cxn ang="0">
                    <a:pos x="75" y="210"/>
                  </a:cxn>
                  <a:cxn ang="0">
                    <a:pos x="74" y="188"/>
                  </a:cxn>
                  <a:cxn ang="0">
                    <a:pos x="73" y="174"/>
                  </a:cxn>
                  <a:cxn ang="0">
                    <a:pos x="58" y="161"/>
                  </a:cxn>
                  <a:cxn ang="0">
                    <a:pos x="43" y="143"/>
                  </a:cxn>
                  <a:cxn ang="0">
                    <a:pos x="36" y="128"/>
                  </a:cxn>
                  <a:cxn ang="0">
                    <a:pos x="34" y="110"/>
                  </a:cxn>
                  <a:cxn ang="0">
                    <a:pos x="24" y="99"/>
                  </a:cxn>
                  <a:cxn ang="0">
                    <a:pos x="15" y="79"/>
                  </a:cxn>
                  <a:cxn ang="0">
                    <a:pos x="0" y="63"/>
                  </a:cxn>
                  <a:cxn ang="0">
                    <a:pos x="3" y="46"/>
                  </a:cxn>
                  <a:cxn ang="0">
                    <a:pos x="22" y="38"/>
                  </a:cxn>
                  <a:cxn ang="0">
                    <a:pos x="44" y="38"/>
                  </a:cxn>
                  <a:cxn ang="0">
                    <a:pos x="76" y="38"/>
                  </a:cxn>
                  <a:cxn ang="0">
                    <a:pos x="96" y="27"/>
                  </a:cxn>
                  <a:cxn ang="0">
                    <a:pos x="109" y="9"/>
                  </a:cxn>
                  <a:cxn ang="0">
                    <a:pos x="126" y="9"/>
                  </a:cxn>
                  <a:cxn ang="0">
                    <a:pos x="146" y="13"/>
                  </a:cxn>
                  <a:cxn ang="0">
                    <a:pos x="181" y="16"/>
                  </a:cxn>
                  <a:cxn ang="0">
                    <a:pos x="198" y="13"/>
                  </a:cxn>
                  <a:cxn ang="0">
                    <a:pos x="214" y="13"/>
                  </a:cxn>
                  <a:cxn ang="0">
                    <a:pos x="229" y="13"/>
                  </a:cxn>
                  <a:cxn ang="0">
                    <a:pos x="246" y="3"/>
                  </a:cxn>
                  <a:cxn ang="0">
                    <a:pos x="256" y="30"/>
                  </a:cxn>
                  <a:cxn ang="0">
                    <a:pos x="264" y="52"/>
                  </a:cxn>
                  <a:cxn ang="0">
                    <a:pos x="271" y="59"/>
                  </a:cxn>
                  <a:cxn ang="0">
                    <a:pos x="274" y="68"/>
                  </a:cxn>
                  <a:cxn ang="0">
                    <a:pos x="282" y="78"/>
                  </a:cxn>
                  <a:cxn ang="0">
                    <a:pos x="303" y="71"/>
                  </a:cxn>
                  <a:cxn ang="0">
                    <a:pos x="326" y="70"/>
                  </a:cxn>
                  <a:cxn ang="0">
                    <a:pos x="326" y="70"/>
                  </a:cxn>
                </a:cxnLst>
                <a:rect l="0" t="0" r="r" b="b"/>
                <a:pathLst>
                  <a:path w="400" h="331">
                    <a:moveTo>
                      <a:pt x="326" y="70"/>
                    </a:moveTo>
                    <a:cubicBezTo>
                      <a:pt x="329" y="84"/>
                      <a:pt x="324" y="92"/>
                      <a:pt x="324" y="92"/>
                    </a:cubicBezTo>
                    <a:cubicBezTo>
                      <a:pt x="312" y="108"/>
                      <a:pt x="327" y="112"/>
                      <a:pt x="327" y="112"/>
                    </a:cubicBezTo>
                    <a:cubicBezTo>
                      <a:pt x="331" y="119"/>
                      <a:pt x="340" y="110"/>
                      <a:pt x="349" y="123"/>
                    </a:cubicBezTo>
                    <a:cubicBezTo>
                      <a:pt x="369" y="122"/>
                      <a:pt x="363" y="137"/>
                      <a:pt x="363" y="137"/>
                    </a:cubicBezTo>
                    <a:cubicBezTo>
                      <a:pt x="368" y="158"/>
                      <a:pt x="383" y="152"/>
                      <a:pt x="383" y="152"/>
                    </a:cubicBezTo>
                    <a:cubicBezTo>
                      <a:pt x="393" y="146"/>
                      <a:pt x="393" y="160"/>
                      <a:pt x="393" y="160"/>
                    </a:cubicBezTo>
                    <a:cubicBezTo>
                      <a:pt x="400" y="187"/>
                      <a:pt x="390" y="185"/>
                      <a:pt x="390" y="185"/>
                    </a:cubicBezTo>
                    <a:cubicBezTo>
                      <a:pt x="375" y="183"/>
                      <a:pt x="383" y="198"/>
                      <a:pt x="383" y="198"/>
                    </a:cubicBezTo>
                    <a:cubicBezTo>
                      <a:pt x="392" y="203"/>
                      <a:pt x="380" y="216"/>
                      <a:pt x="380" y="216"/>
                    </a:cubicBezTo>
                    <a:cubicBezTo>
                      <a:pt x="373" y="224"/>
                      <a:pt x="359" y="221"/>
                      <a:pt x="359" y="221"/>
                    </a:cubicBezTo>
                    <a:cubicBezTo>
                      <a:pt x="329" y="211"/>
                      <a:pt x="343" y="246"/>
                      <a:pt x="343" y="246"/>
                    </a:cubicBezTo>
                    <a:cubicBezTo>
                      <a:pt x="333" y="251"/>
                      <a:pt x="322" y="243"/>
                      <a:pt x="315" y="250"/>
                    </a:cubicBezTo>
                    <a:cubicBezTo>
                      <a:pt x="311" y="254"/>
                      <a:pt x="298" y="251"/>
                      <a:pt x="285" y="265"/>
                    </a:cubicBezTo>
                    <a:cubicBezTo>
                      <a:pt x="272" y="264"/>
                      <a:pt x="270" y="284"/>
                      <a:pt x="270" y="284"/>
                    </a:cubicBezTo>
                    <a:cubicBezTo>
                      <a:pt x="256" y="298"/>
                      <a:pt x="266" y="301"/>
                      <a:pt x="266" y="301"/>
                    </a:cubicBezTo>
                    <a:cubicBezTo>
                      <a:pt x="270" y="314"/>
                      <a:pt x="263" y="321"/>
                      <a:pt x="263" y="321"/>
                    </a:cubicBezTo>
                    <a:cubicBezTo>
                      <a:pt x="263" y="321"/>
                      <a:pt x="260" y="331"/>
                      <a:pt x="242" y="318"/>
                    </a:cubicBezTo>
                    <a:cubicBezTo>
                      <a:pt x="242" y="318"/>
                      <a:pt x="227" y="311"/>
                      <a:pt x="219" y="307"/>
                    </a:cubicBezTo>
                    <a:cubicBezTo>
                      <a:pt x="219" y="307"/>
                      <a:pt x="215" y="294"/>
                      <a:pt x="185" y="299"/>
                    </a:cubicBezTo>
                    <a:cubicBezTo>
                      <a:pt x="185" y="299"/>
                      <a:pt x="175" y="302"/>
                      <a:pt x="168" y="298"/>
                    </a:cubicBezTo>
                    <a:cubicBezTo>
                      <a:pt x="162" y="292"/>
                      <a:pt x="154" y="304"/>
                      <a:pt x="150" y="284"/>
                    </a:cubicBezTo>
                    <a:cubicBezTo>
                      <a:pt x="150" y="284"/>
                      <a:pt x="152" y="273"/>
                      <a:pt x="136" y="273"/>
                    </a:cubicBezTo>
                    <a:cubicBezTo>
                      <a:pt x="136" y="273"/>
                      <a:pt x="132" y="266"/>
                      <a:pt x="126" y="260"/>
                    </a:cubicBezTo>
                    <a:cubicBezTo>
                      <a:pt x="126" y="260"/>
                      <a:pt x="120" y="250"/>
                      <a:pt x="96" y="249"/>
                    </a:cubicBezTo>
                    <a:cubicBezTo>
                      <a:pt x="96" y="249"/>
                      <a:pt x="92" y="242"/>
                      <a:pt x="84" y="240"/>
                    </a:cubicBezTo>
                    <a:cubicBezTo>
                      <a:pt x="84" y="240"/>
                      <a:pt x="85" y="222"/>
                      <a:pt x="75" y="210"/>
                    </a:cubicBezTo>
                    <a:cubicBezTo>
                      <a:pt x="75" y="210"/>
                      <a:pt x="65" y="199"/>
                      <a:pt x="74" y="188"/>
                    </a:cubicBezTo>
                    <a:cubicBezTo>
                      <a:pt x="74" y="188"/>
                      <a:pt x="87" y="187"/>
                      <a:pt x="73" y="174"/>
                    </a:cubicBezTo>
                    <a:cubicBezTo>
                      <a:pt x="73" y="174"/>
                      <a:pt x="75" y="164"/>
                      <a:pt x="58" y="161"/>
                    </a:cubicBezTo>
                    <a:cubicBezTo>
                      <a:pt x="58" y="161"/>
                      <a:pt x="58" y="149"/>
                      <a:pt x="43" y="143"/>
                    </a:cubicBezTo>
                    <a:cubicBezTo>
                      <a:pt x="43" y="143"/>
                      <a:pt x="23" y="130"/>
                      <a:pt x="36" y="128"/>
                    </a:cubicBezTo>
                    <a:cubicBezTo>
                      <a:pt x="36" y="128"/>
                      <a:pt x="40" y="115"/>
                      <a:pt x="34" y="110"/>
                    </a:cubicBezTo>
                    <a:cubicBezTo>
                      <a:pt x="34" y="110"/>
                      <a:pt x="32" y="99"/>
                      <a:pt x="24" y="99"/>
                    </a:cubicBezTo>
                    <a:cubicBezTo>
                      <a:pt x="24" y="99"/>
                      <a:pt x="15" y="101"/>
                      <a:pt x="15" y="79"/>
                    </a:cubicBezTo>
                    <a:cubicBezTo>
                      <a:pt x="15" y="79"/>
                      <a:pt x="0" y="78"/>
                      <a:pt x="0" y="63"/>
                    </a:cubicBezTo>
                    <a:cubicBezTo>
                      <a:pt x="0" y="63"/>
                      <a:pt x="5" y="58"/>
                      <a:pt x="3" y="46"/>
                    </a:cubicBezTo>
                    <a:cubicBezTo>
                      <a:pt x="3" y="46"/>
                      <a:pt x="14" y="51"/>
                      <a:pt x="22" y="38"/>
                    </a:cubicBezTo>
                    <a:cubicBezTo>
                      <a:pt x="22" y="38"/>
                      <a:pt x="34" y="28"/>
                      <a:pt x="44" y="38"/>
                    </a:cubicBezTo>
                    <a:cubicBezTo>
                      <a:pt x="44" y="38"/>
                      <a:pt x="54" y="47"/>
                      <a:pt x="76" y="38"/>
                    </a:cubicBezTo>
                    <a:cubicBezTo>
                      <a:pt x="76" y="38"/>
                      <a:pt x="87" y="41"/>
                      <a:pt x="96" y="27"/>
                    </a:cubicBezTo>
                    <a:cubicBezTo>
                      <a:pt x="96" y="27"/>
                      <a:pt x="109" y="17"/>
                      <a:pt x="109" y="9"/>
                    </a:cubicBezTo>
                    <a:cubicBezTo>
                      <a:pt x="123" y="16"/>
                      <a:pt x="126" y="9"/>
                      <a:pt x="126" y="9"/>
                    </a:cubicBezTo>
                    <a:cubicBezTo>
                      <a:pt x="132" y="2"/>
                      <a:pt x="146" y="13"/>
                      <a:pt x="146" y="13"/>
                    </a:cubicBezTo>
                    <a:cubicBezTo>
                      <a:pt x="150" y="16"/>
                      <a:pt x="175" y="12"/>
                      <a:pt x="181" y="16"/>
                    </a:cubicBezTo>
                    <a:cubicBezTo>
                      <a:pt x="198" y="20"/>
                      <a:pt x="198" y="13"/>
                      <a:pt x="198" y="13"/>
                    </a:cubicBezTo>
                    <a:cubicBezTo>
                      <a:pt x="206" y="0"/>
                      <a:pt x="214" y="13"/>
                      <a:pt x="214" y="13"/>
                    </a:cubicBezTo>
                    <a:cubicBezTo>
                      <a:pt x="224" y="22"/>
                      <a:pt x="229" y="13"/>
                      <a:pt x="229" y="13"/>
                    </a:cubicBezTo>
                    <a:cubicBezTo>
                      <a:pt x="230" y="2"/>
                      <a:pt x="246" y="3"/>
                      <a:pt x="246" y="3"/>
                    </a:cubicBezTo>
                    <a:cubicBezTo>
                      <a:pt x="245" y="27"/>
                      <a:pt x="256" y="30"/>
                      <a:pt x="256" y="30"/>
                    </a:cubicBezTo>
                    <a:cubicBezTo>
                      <a:pt x="263" y="38"/>
                      <a:pt x="264" y="52"/>
                      <a:pt x="264" y="52"/>
                    </a:cubicBezTo>
                    <a:cubicBezTo>
                      <a:pt x="271" y="49"/>
                      <a:pt x="271" y="59"/>
                      <a:pt x="271" y="59"/>
                    </a:cubicBezTo>
                    <a:cubicBezTo>
                      <a:pt x="284" y="64"/>
                      <a:pt x="274" y="68"/>
                      <a:pt x="274" y="68"/>
                    </a:cubicBezTo>
                    <a:cubicBezTo>
                      <a:pt x="269" y="79"/>
                      <a:pt x="282" y="78"/>
                      <a:pt x="282" y="78"/>
                    </a:cubicBezTo>
                    <a:cubicBezTo>
                      <a:pt x="296" y="80"/>
                      <a:pt x="303" y="71"/>
                      <a:pt x="303" y="71"/>
                    </a:cubicBezTo>
                    <a:cubicBezTo>
                      <a:pt x="315" y="64"/>
                      <a:pt x="326" y="70"/>
                      <a:pt x="326" y="70"/>
                    </a:cubicBezTo>
                    <a:cubicBezTo>
                      <a:pt x="326" y="70"/>
                      <a:pt x="326" y="70"/>
                      <a:pt x="326" y="70"/>
                    </a:cubicBezTo>
                    <a:close/>
                  </a:path>
                </a:pathLst>
              </a:custGeom>
              <a:solidFill>
                <a:srgbClr val="EEBB0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32" name="Freeform 45"/>
              <p:cNvSpPr>
                <a:spLocks/>
              </p:cNvSpPr>
              <p:nvPr/>
            </p:nvSpPr>
            <p:spPr bwMode="auto">
              <a:xfrm>
                <a:off x="4579945" y="2978345"/>
                <a:ext cx="1090930" cy="918182"/>
              </a:xfrm>
              <a:custGeom>
                <a:avLst/>
                <a:gdLst/>
                <a:ahLst/>
                <a:cxnLst>
                  <a:cxn ang="0">
                    <a:pos x="102" y="33"/>
                  </a:cxn>
                  <a:cxn ang="0">
                    <a:pos x="79" y="45"/>
                  </a:cxn>
                  <a:cxn ang="0">
                    <a:pos x="51" y="61"/>
                  </a:cxn>
                  <a:cxn ang="0">
                    <a:pos x="32" y="69"/>
                  </a:cxn>
                  <a:cxn ang="0">
                    <a:pos x="14" y="77"/>
                  </a:cxn>
                  <a:cxn ang="0">
                    <a:pos x="12" y="100"/>
                  </a:cxn>
                  <a:cxn ang="0">
                    <a:pos x="15" y="120"/>
                  </a:cxn>
                  <a:cxn ang="0">
                    <a:pos x="37" y="131"/>
                  </a:cxn>
                  <a:cxn ang="0">
                    <a:pos x="51" y="145"/>
                  </a:cxn>
                  <a:cxn ang="0">
                    <a:pos x="71" y="160"/>
                  </a:cxn>
                  <a:cxn ang="0">
                    <a:pos x="81" y="168"/>
                  </a:cxn>
                  <a:cxn ang="0">
                    <a:pos x="78" y="193"/>
                  </a:cxn>
                  <a:cxn ang="0">
                    <a:pos x="71" y="206"/>
                  </a:cxn>
                  <a:cxn ang="0">
                    <a:pos x="68" y="224"/>
                  </a:cxn>
                  <a:cxn ang="0">
                    <a:pos x="47" y="229"/>
                  </a:cxn>
                  <a:cxn ang="0">
                    <a:pos x="31" y="254"/>
                  </a:cxn>
                  <a:cxn ang="0">
                    <a:pos x="64" y="265"/>
                  </a:cxn>
                  <a:cxn ang="0">
                    <a:pos x="102" y="287"/>
                  </a:cxn>
                  <a:cxn ang="0">
                    <a:pos x="132" y="287"/>
                  </a:cxn>
                  <a:cxn ang="0">
                    <a:pos x="157" y="303"/>
                  </a:cxn>
                  <a:cxn ang="0">
                    <a:pos x="175" y="321"/>
                  </a:cxn>
                  <a:cxn ang="0">
                    <a:pos x="185" y="333"/>
                  </a:cxn>
                  <a:cxn ang="0">
                    <a:pos x="195" y="349"/>
                  </a:cxn>
                  <a:cxn ang="0">
                    <a:pos x="208" y="349"/>
                  </a:cxn>
                  <a:cxn ang="0">
                    <a:pos x="228" y="339"/>
                  </a:cxn>
                  <a:cxn ang="0">
                    <a:pos x="245" y="338"/>
                  </a:cxn>
                  <a:cxn ang="0">
                    <a:pos x="241" y="316"/>
                  </a:cxn>
                  <a:cxn ang="0">
                    <a:pos x="254" y="310"/>
                  </a:cxn>
                  <a:cxn ang="0">
                    <a:pos x="263" y="303"/>
                  </a:cxn>
                  <a:cxn ang="0">
                    <a:pos x="278" y="309"/>
                  </a:cxn>
                  <a:cxn ang="0">
                    <a:pos x="284" y="298"/>
                  </a:cxn>
                  <a:cxn ang="0">
                    <a:pos x="296" y="299"/>
                  </a:cxn>
                  <a:cxn ang="0">
                    <a:pos x="304" y="282"/>
                  </a:cxn>
                  <a:cxn ang="0">
                    <a:pos x="310" y="267"/>
                  </a:cxn>
                  <a:cxn ang="0">
                    <a:pos x="328" y="245"/>
                  </a:cxn>
                  <a:cxn ang="0">
                    <a:pos x="343" y="231"/>
                  </a:cxn>
                  <a:cxn ang="0">
                    <a:pos x="332" y="226"/>
                  </a:cxn>
                  <a:cxn ang="0">
                    <a:pos x="348" y="221"/>
                  </a:cxn>
                  <a:cxn ang="0">
                    <a:pos x="371" y="218"/>
                  </a:cxn>
                  <a:cxn ang="0">
                    <a:pos x="373" y="200"/>
                  </a:cxn>
                  <a:cxn ang="0">
                    <a:pos x="373" y="169"/>
                  </a:cxn>
                  <a:cxn ang="0">
                    <a:pos x="376" y="153"/>
                  </a:cxn>
                  <a:cxn ang="0">
                    <a:pos x="380" y="134"/>
                  </a:cxn>
                  <a:cxn ang="0">
                    <a:pos x="377" y="120"/>
                  </a:cxn>
                  <a:cxn ang="0">
                    <a:pos x="384" y="103"/>
                  </a:cxn>
                  <a:cxn ang="0">
                    <a:pos x="381" y="87"/>
                  </a:cxn>
                  <a:cxn ang="0">
                    <a:pos x="374" y="80"/>
                  </a:cxn>
                  <a:cxn ang="0">
                    <a:pos x="346" y="65"/>
                  </a:cxn>
                  <a:cxn ang="0">
                    <a:pos x="328" y="41"/>
                  </a:cxn>
                  <a:cxn ang="0">
                    <a:pos x="318" y="21"/>
                  </a:cxn>
                  <a:cxn ang="0">
                    <a:pos x="308" y="8"/>
                  </a:cxn>
                  <a:cxn ang="0">
                    <a:pos x="292" y="3"/>
                  </a:cxn>
                  <a:cxn ang="0">
                    <a:pos x="259" y="22"/>
                  </a:cxn>
                  <a:cxn ang="0">
                    <a:pos x="230" y="35"/>
                  </a:cxn>
                  <a:cxn ang="0">
                    <a:pos x="219" y="45"/>
                  </a:cxn>
                  <a:cxn ang="0">
                    <a:pos x="203" y="45"/>
                  </a:cxn>
                  <a:cxn ang="0">
                    <a:pos x="184" y="39"/>
                  </a:cxn>
                  <a:cxn ang="0">
                    <a:pos x="166" y="30"/>
                  </a:cxn>
                  <a:cxn ang="0">
                    <a:pos x="141" y="14"/>
                  </a:cxn>
                  <a:cxn ang="0">
                    <a:pos x="112" y="25"/>
                  </a:cxn>
                  <a:cxn ang="0">
                    <a:pos x="102" y="33"/>
                  </a:cxn>
                  <a:cxn ang="0">
                    <a:pos x="102" y="33"/>
                  </a:cxn>
                </a:cxnLst>
                <a:rect l="0" t="0" r="r" b="b"/>
                <a:pathLst>
                  <a:path w="385" h="369">
                    <a:moveTo>
                      <a:pt x="102" y="33"/>
                    </a:moveTo>
                    <a:cubicBezTo>
                      <a:pt x="102" y="47"/>
                      <a:pt x="83" y="39"/>
                      <a:pt x="79" y="45"/>
                    </a:cubicBezTo>
                    <a:cubicBezTo>
                      <a:pt x="75" y="39"/>
                      <a:pt x="54" y="46"/>
                      <a:pt x="51" y="61"/>
                    </a:cubicBezTo>
                    <a:cubicBezTo>
                      <a:pt x="51" y="61"/>
                      <a:pt x="37" y="57"/>
                      <a:pt x="32" y="69"/>
                    </a:cubicBezTo>
                    <a:cubicBezTo>
                      <a:pt x="32" y="69"/>
                      <a:pt x="21" y="68"/>
                      <a:pt x="14" y="77"/>
                    </a:cubicBezTo>
                    <a:cubicBezTo>
                      <a:pt x="17" y="91"/>
                      <a:pt x="12" y="100"/>
                      <a:pt x="12" y="100"/>
                    </a:cubicBezTo>
                    <a:cubicBezTo>
                      <a:pt x="0" y="116"/>
                      <a:pt x="15" y="120"/>
                      <a:pt x="15" y="120"/>
                    </a:cubicBezTo>
                    <a:cubicBezTo>
                      <a:pt x="19" y="127"/>
                      <a:pt x="28" y="118"/>
                      <a:pt x="37" y="131"/>
                    </a:cubicBezTo>
                    <a:cubicBezTo>
                      <a:pt x="57" y="130"/>
                      <a:pt x="51" y="145"/>
                      <a:pt x="51" y="145"/>
                    </a:cubicBezTo>
                    <a:cubicBezTo>
                      <a:pt x="56" y="166"/>
                      <a:pt x="71" y="160"/>
                      <a:pt x="71" y="160"/>
                    </a:cubicBezTo>
                    <a:cubicBezTo>
                      <a:pt x="81" y="154"/>
                      <a:pt x="81" y="168"/>
                      <a:pt x="81" y="168"/>
                    </a:cubicBezTo>
                    <a:cubicBezTo>
                      <a:pt x="88" y="195"/>
                      <a:pt x="78" y="193"/>
                      <a:pt x="78" y="193"/>
                    </a:cubicBezTo>
                    <a:cubicBezTo>
                      <a:pt x="63" y="191"/>
                      <a:pt x="71" y="206"/>
                      <a:pt x="71" y="206"/>
                    </a:cubicBezTo>
                    <a:cubicBezTo>
                      <a:pt x="80" y="211"/>
                      <a:pt x="68" y="224"/>
                      <a:pt x="68" y="224"/>
                    </a:cubicBezTo>
                    <a:cubicBezTo>
                      <a:pt x="61" y="232"/>
                      <a:pt x="47" y="229"/>
                      <a:pt x="47" y="229"/>
                    </a:cubicBezTo>
                    <a:cubicBezTo>
                      <a:pt x="17" y="219"/>
                      <a:pt x="31" y="254"/>
                      <a:pt x="31" y="254"/>
                    </a:cubicBezTo>
                    <a:cubicBezTo>
                      <a:pt x="33" y="259"/>
                      <a:pt x="54" y="250"/>
                      <a:pt x="64" y="265"/>
                    </a:cubicBezTo>
                    <a:cubicBezTo>
                      <a:pt x="82" y="281"/>
                      <a:pt x="90" y="290"/>
                      <a:pt x="102" y="287"/>
                    </a:cubicBezTo>
                    <a:cubicBezTo>
                      <a:pt x="116" y="289"/>
                      <a:pt x="132" y="287"/>
                      <a:pt x="132" y="287"/>
                    </a:cubicBezTo>
                    <a:cubicBezTo>
                      <a:pt x="159" y="271"/>
                      <a:pt x="157" y="303"/>
                      <a:pt x="157" y="303"/>
                    </a:cubicBezTo>
                    <a:cubicBezTo>
                      <a:pt x="180" y="313"/>
                      <a:pt x="175" y="321"/>
                      <a:pt x="175" y="321"/>
                    </a:cubicBezTo>
                    <a:cubicBezTo>
                      <a:pt x="178" y="332"/>
                      <a:pt x="185" y="333"/>
                      <a:pt x="185" y="333"/>
                    </a:cubicBezTo>
                    <a:cubicBezTo>
                      <a:pt x="197" y="338"/>
                      <a:pt x="195" y="349"/>
                      <a:pt x="195" y="349"/>
                    </a:cubicBezTo>
                    <a:cubicBezTo>
                      <a:pt x="197" y="369"/>
                      <a:pt x="208" y="349"/>
                      <a:pt x="208" y="349"/>
                    </a:cubicBezTo>
                    <a:cubicBezTo>
                      <a:pt x="215" y="330"/>
                      <a:pt x="228" y="339"/>
                      <a:pt x="228" y="339"/>
                    </a:cubicBezTo>
                    <a:cubicBezTo>
                      <a:pt x="230" y="348"/>
                      <a:pt x="245" y="338"/>
                      <a:pt x="245" y="338"/>
                    </a:cubicBezTo>
                    <a:cubicBezTo>
                      <a:pt x="248" y="321"/>
                      <a:pt x="240" y="325"/>
                      <a:pt x="241" y="316"/>
                    </a:cubicBezTo>
                    <a:cubicBezTo>
                      <a:pt x="241" y="316"/>
                      <a:pt x="239" y="303"/>
                      <a:pt x="254" y="310"/>
                    </a:cubicBezTo>
                    <a:cubicBezTo>
                      <a:pt x="259" y="313"/>
                      <a:pt x="260" y="304"/>
                      <a:pt x="263" y="303"/>
                    </a:cubicBezTo>
                    <a:cubicBezTo>
                      <a:pt x="263" y="303"/>
                      <a:pt x="270" y="309"/>
                      <a:pt x="278" y="309"/>
                    </a:cubicBezTo>
                    <a:cubicBezTo>
                      <a:pt x="278" y="309"/>
                      <a:pt x="273" y="303"/>
                      <a:pt x="284" y="298"/>
                    </a:cubicBezTo>
                    <a:cubicBezTo>
                      <a:pt x="284" y="298"/>
                      <a:pt x="290" y="292"/>
                      <a:pt x="296" y="299"/>
                    </a:cubicBezTo>
                    <a:cubicBezTo>
                      <a:pt x="296" y="299"/>
                      <a:pt x="291" y="288"/>
                      <a:pt x="304" y="282"/>
                    </a:cubicBezTo>
                    <a:cubicBezTo>
                      <a:pt x="304" y="282"/>
                      <a:pt x="316" y="278"/>
                      <a:pt x="310" y="267"/>
                    </a:cubicBezTo>
                    <a:cubicBezTo>
                      <a:pt x="310" y="267"/>
                      <a:pt x="310" y="259"/>
                      <a:pt x="328" y="245"/>
                    </a:cubicBezTo>
                    <a:cubicBezTo>
                      <a:pt x="328" y="245"/>
                      <a:pt x="343" y="240"/>
                      <a:pt x="343" y="231"/>
                    </a:cubicBezTo>
                    <a:cubicBezTo>
                      <a:pt x="343" y="224"/>
                      <a:pt x="329" y="232"/>
                      <a:pt x="332" y="226"/>
                    </a:cubicBezTo>
                    <a:cubicBezTo>
                      <a:pt x="332" y="226"/>
                      <a:pt x="337" y="212"/>
                      <a:pt x="348" y="221"/>
                    </a:cubicBezTo>
                    <a:cubicBezTo>
                      <a:pt x="348" y="221"/>
                      <a:pt x="364" y="223"/>
                      <a:pt x="371" y="218"/>
                    </a:cubicBezTo>
                    <a:cubicBezTo>
                      <a:pt x="371" y="218"/>
                      <a:pt x="383" y="203"/>
                      <a:pt x="373" y="200"/>
                    </a:cubicBezTo>
                    <a:cubicBezTo>
                      <a:pt x="373" y="200"/>
                      <a:pt x="368" y="193"/>
                      <a:pt x="373" y="169"/>
                    </a:cubicBezTo>
                    <a:cubicBezTo>
                      <a:pt x="373" y="169"/>
                      <a:pt x="382" y="163"/>
                      <a:pt x="376" y="153"/>
                    </a:cubicBezTo>
                    <a:cubicBezTo>
                      <a:pt x="369" y="142"/>
                      <a:pt x="385" y="141"/>
                      <a:pt x="380" y="134"/>
                    </a:cubicBezTo>
                    <a:cubicBezTo>
                      <a:pt x="380" y="134"/>
                      <a:pt x="373" y="128"/>
                      <a:pt x="377" y="120"/>
                    </a:cubicBezTo>
                    <a:cubicBezTo>
                      <a:pt x="381" y="118"/>
                      <a:pt x="376" y="110"/>
                      <a:pt x="384" y="103"/>
                    </a:cubicBezTo>
                    <a:cubicBezTo>
                      <a:pt x="384" y="103"/>
                      <a:pt x="376" y="96"/>
                      <a:pt x="381" y="87"/>
                    </a:cubicBezTo>
                    <a:cubicBezTo>
                      <a:pt x="376" y="87"/>
                      <a:pt x="374" y="80"/>
                      <a:pt x="374" y="80"/>
                    </a:cubicBezTo>
                    <a:cubicBezTo>
                      <a:pt x="363" y="63"/>
                      <a:pt x="346" y="65"/>
                      <a:pt x="346" y="65"/>
                    </a:cubicBezTo>
                    <a:cubicBezTo>
                      <a:pt x="336" y="46"/>
                      <a:pt x="328" y="41"/>
                      <a:pt x="328" y="41"/>
                    </a:cubicBezTo>
                    <a:cubicBezTo>
                      <a:pt x="330" y="17"/>
                      <a:pt x="318" y="21"/>
                      <a:pt x="318" y="21"/>
                    </a:cubicBezTo>
                    <a:cubicBezTo>
                      <a:pt x="307" y="17"/>
                      <a:pt x="308" y="8"/>
                      <a:pt x="308" y="8"/>
                    </a:cubicBezTo>
                    <a:cubicBezTo>
                      <a:pt x="307" y="0"/>
                      <a:pt x="292" y="3"/>
                      <a:pt x="292" y="3"/>
                    </a:cubicBezTo>
                    <a:cubicBezTo>
                      <a:pt x="270" y="28"/>
                      <a:pt x="259" y="22"/>
                      <a:pt x="259" y="22"/>
                    </a:cubicBezTo>
                    <a:cubicBezTo>
                      <a:pt x="241" y="19"/>
                      <a:pt x="230" y="35"/>
                      <a:pt x="230" y="35"/>
                    </a:cubicBezTo>
                    <a:cubicBezTo>
                      <a:pt x="216" y="39"/>
                      <a:pt x="219" y="45"/>
                      <a:pt x="219" y="45"/>
                    </a:cubicBezTo>
                    <a:cubicBezTo>
                      <a:pt x="208" y="57"/>
                      <a:pt x="203" y="45"/>
                      <a:pt x="203" y="45"/>
                    </a:cubicBezTo>
                    <a:cubicBezTo>
                      <a:pt x="192" y="24"/>
                      <a:pt x="184" y="39"/>
                      <a:pt x="184" y="39"/>
                    </a:cubicBezTo>
                    <a:cubicBezTo>
                      <a:pt x="173" y="46"/>
                      <a:pt x="166" y="30"/>
                      <a:pt x="166" y="30"/>
                    </a:cubicBezTo>
                    <a:cubicBezTo>
                      <a:pt x="157" y="10"/>
                      <a:pt x="141" y="14"/>
                      <a:pt x="141" y="14"/>
                    </a:cubicBezTo>
                    <a:cubicBezTo>
                      <a:pt x="118" y="12"/>
                      <a:pt x="112" y="25"/>
                      <a:pt x="112" y="25"/>
                    </a:cubicBezTo>
                    <a:cubicBezTo>
                      <a:pt x="109" y="32"/>
                      <a:pt x="105" y="33"/>
                      <a:pt x="102" y="33"/>
                    </a:cubicBezTo>
                    <a:cubicBezTo>
                      <a:pt x="102" y="33"/>
                      <a:pt x="102" y="33"/>
                      <a:pt x="102" y="33"/>
                    </a:cubicBezTo>
                    <a:close/>
                  </a:path>
                </a:pathLst>
              </a:custGeom>
              <a:solidFill>
                <a:srgbClr val="EEBB0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33" name="Freeform 44"/>
              <p:cNvSpPr>
                <a:spLocks/>
              </p:cNvSpPr>
              <p:nvPr/>
            </p:nvSpPr>
            <p:spPr bwMode="auto">
              <a:xfrm>
                <a:off x="5623673" y="3118559"/>
                <a:ext cx="818198" cy="976984"/>
              </a:xfrm>
              <a:custGeom>
                <a:avLst/>
                <a:gdLst/>
                <a:ahLst/>
                <a:cxnLst>
                  <a:cxn ang="0">
                    <a:pos x="4" y="161"/>
                  </a:cxn>
                  <a:cxn ang="0">
                    <a:pos x="5" y="143"/>
                  </a:cxn>
                  <a:cxn ang="0">
                    <a:pos x="5" y="112"/>
                  </a:cxn>
                  <a:cxn ang="0">
                    <a:pos x="8" y="96"/>
                  </a:cxn>
                  <a:cxn ang="0">
                    <a:pos x="12" y="77"/>
                  </a:cxn>
                  <a:cxn ang="0">
                    <a:pos x="9" y="63"/>
                  </a:cxn>
                  <a:cxn ang="0">
                    <a:pos x="16" y="46"/>
                  </a:cxn>
                  <a:cxn ang="0">
                    <a:pos x="13" y="30"/>
                  </a:cxn>
                  <a:cxn ang="0">
                    <a:pos x="20" y="29"/>
                  </a:cxn>
                  <a:cxn ang="0">
                    <a:pos x="30" y="15"/>
                  </a:cxn>
                  <a:cxn ang="0">
                    <a:pos x="38" y="2"/>
                  </a:cxn>
                  <a:cxn ang="0">
                    <a:pos x="56" y="15"/>
                  </a:cxn>
                  <a:cxn ang="0">
                    <a:pos x="73" y="17"/>
                  </a:cxn>
                  <a:cxn ang="0">
                    <a:pos x="96" y="26"/>
                  </a:cxn>
                  <a:cxn ang="0">
                    <a:pos x="115" y="33"/>
                  </a:cxn>
                  <a:cxn ang="0">
                    <a:pos x="137" y="33"/>
                  </a:cxn>
                  <a:cxn ang="0">
                    <a:pos x="155" y="36"/>
                  </a:cxn>
                  <a:cxn ang="0">
                    <a:pos x="176" y="45"/>
                  </a:cxn>
                  <a:cxn ang="0">
                    <a:pos x="192" y="46"/>
                  </a:cxn>
                  <a:cxn ang="0">
                    <a:pos x="201" y="56"/>
                  </a:cxn>
                  <a:cxn ang="0">
                    <a:pos x="221" y="67"/>
                  </a:cxn>
                  <a:cxn ang="0">
                    <a:pos x="242" y="68"/>
                  </a:cxn>
                  <a:cxn ang="0">
                    <a:pos x="260" y="58"/>
                  </a:cxn>
                  <a:cxn ang="0">
                    <a:pos x="261" y="72"/>
                  </a:cxn>
                  <a:cxn ang="0">
                    <a:pos x="265" y="98"/>
                  </a:cxn>
                  <a:cxn ang="0">
                    <a:pos x="258" y="146"/>
                  </a:cxn>
                  <a:cxn ang="0">
                    <a:pos x="235" y="165"/>
                  </a:cxn>
                  <a:cxn ang="0">
                    <a:pos x="232" y="183"/>
                  </a:cxn>
                  <a:cxn ang="0">
                    <a:pos x="251" y="191"/>
                  </a:cxn>
                  <a:cxn ang="0">
                    <a:pos x="262" y="195"/>
                  </a:cxn>
                  <a:cxn ang="0">
                    <a:pos x="269" y="202"/>
                  </a:cxn>
                  <a:cxn ang="0">
                    <a:pos x="254" y="205"/>
                  </a:cxn>
                  <a:cxn ang="0">
                    <a:pos x="236" y="213"/>
                  </a:cxn>
                  <a:cxn ang="0">
                    <a:pos x="232" y="238"/>
                  </a:cxn>
                  <a:cxn ang="0">
                    <a:pos x="243" y="249"/>
                  </a:cxn>
                  <a:cxn ang="0">
                    <a:pos x="259" y="268"/>
                  </a:cxn>
                  <a:cxn ang="0">
                    <a:pos x="265" y="290"/>
                  </a:cxn>
                  <a:cxn ang="0">
                    <a:pos x="269" y="297"/>
                  </a:cxn>
                  <a:cxn ang="0">
                    <a:pos x="269" y="319"/>
                  </a:cxn>
                  <a:cxn ang="0">
                    <a:pos x="262" y="364"/>
                  </a:cxn>
                  <a:cxn ang="0">
                    <a:pos x="247" y="386"/>
                  </a:cxn>
                  <a:cxn ang="0">
                    <a:pos x="194" y="389"/>
                  </a:cxn>
                  <a:cxn ang="0">
                    <a:pos x="170" y="390"/>
                  </a:cxn>
                  <a:cxn ang="0">
                    <a:pos x="170" y="390"/>
                  </a:cxn>
                  <a:cxn ang="0">
                    <a:pos x="170" y="378"/>
                  </a:cxn>
                  <a:cxn ang="0">
                    <a:pos x="170" y="378"/>
                  </a:cxn>
                  <a:cxn ang="0">
                    <a:pos x="154" y="362"/>
                  </a:cxn>
                  <a:cxn ang="0">
                    <a:pos x="137" y="356"/>
                  </a:cxn>
                  <a:cxn ang="0">
                    <a:pos x="111" y="343"/>
                  </a:cxn>
                  <a:cxn ang="0">
                    <a:pos x="89" y="304"/>
                  </a:cxn>
                  <a:cxn ang="0">
                    <a:pos x="73" y="295"/>
                  </a:cxn>
                  <a:cxn ang="0">
                    <a:pos x="64" y="272"/>
                  </a:cxn>
                  <a:cxn ang="0">
                    <a:pos x="62" y="251"/>
                  </a:cxn>
                  <a:cxn ang="0">
                    <a:pos x="60" y="238"/>
                  </a:cxn>
                  <a:cxn ang="0">
                    <a:pos x="53" y="222"/>
                  </a:cxn>
                  <a:cxn ang="0">
                    <a:pos x="39" y="209"/>
                  </a:cxn>
                  <a:cxn ang="0">
                    <a:pos x="30" y="201"/>
                  </a:cxn>
                  <a:cxn ang="0">
                    <a:pos x="30" y="185"/>
                  </a:cxn>
                  <a:cxn ang="0">
                    <a:pos x="19" y="173"/>
                  </a:cxn>
                  <a:cxn ang="0">
                    <a:pos x="10" y="169"/>
                  </a:cxn>
                  <a:cxn ang="0">
                    <a:pos x="4" y="161"/>
                  </a:cxn>
                  <a:cxn ang="0">
                    <a:pos x="4" y="161"/>
                  </a:cxn>
                </a:cxnLst>
                <a:rect l="0" t="0" r="r" b="b"/>
                <a:pathLst>
                  <a:path w="289" h="390">
                    <a:moveTo>
                      <a:pt x="4" y="161"/>
                    </a:moveTo>
                    <a:cubicBezTo>
                      <a:pt x="4" y="161"/>
                      <a:pt x="15" y="146"/>
                      <a:pt x="5" y="143"/>
                    </a:cubicBezTo>
                    <a:cubicBezTo>
                      <a:pt x="5" y="143"/>
                      <a:pt x="0" y="136"/>
                      <a:pt x="5" y="112"/>
                    </a:cubicBezTo>
                    <a:cubicBezTo>
                      <a:pt x="5" y="112"/>
                      <a:pt x="14" y="106"/>
                      <a:pt x="8" y="96"/>
                    </a:cubicBezTo>
                    <a:cubicBezTo>
                      <a:pt x="1" y="85"/>
                      <a:pt x="17" y="84"/>
                      <a:pt x="12" y="77"/>
                    </a:cubicBezTo>
                    <a:cubicBezTo>
                      <a:pt x="12" y="77"/>
                      <a:pt x="5" y="71"/>
                      <a:pt x="9" y="63"/>
                    </a:cubicBezTo>
                    <a:cubicBezTo>
                      <a:pt x="13" y="61"/>
                      <a:pt x="8" y="53"/>
                      <a:pt x="16" y="46"/>
                    </a:cubicBezTo>
                    <a:cubicBezTo>
                      <a:pt x="16" y="46"/>
                      <a:pt x="8" y="39"/>
                      <a:pt x="13" y="30"/>
                    </a:cubicBezTo>
                    <a:cubicBezTo>
                      <a:pt x="16" y="31"/>
                      <a:pt x="18" y="30"/>
                      <a:pt x="20" y="29"/>
                    </a:cubicBezTo>
                    <a:cubicBezTo>
                      <a:pt x="20" y="29"/>
                      <a:pt x="31" y="32"/>
                      <a:pt x="30" y="15"/>
                    </a:cubicBezTo>
                    <a:cubicBezTo>
                      <a:pt x="30" y="15"/>
                      <a:pt x="25" y="1"/>
                      <a:pt x="38" y="2"/>
                    </a:cubicBezTo>
                    <a:cubicBezTo>
                      <a:pt x="49" y="0"/>
                      <a:pt x="44" y="11"/>
                      <a:pt x="56" y="15"/>
                    </a:cubicBezTo>
                    <a:cubicBezTo>
                      <a:pt x="56" y="15"/>
                      <a:pt x="67" y="21"/>
                      <a:pt x="73" y="17"/>
                    </a:cubicBezTo>
                    <a:cubicBezTo>
                      <a:pt x="73" y="17"/>
                      <a:pt x="87" y="11"/>
                      <a:pt x="96" y="26"/>
                    </a:cubicBezTo>
                    <a:cubicBezTo>
                      <a:pt x="96" y="26"/>
                      <a:pt x="115" y="28"/>
                      <a:pt x="115" y="33"/>
                    </a:cubicBezTo>
                    <a:cubicBezTo>
                      <a:pt x="115" y="33"/>
                      <a:pt x="126" y="47"/>
                      <a:pt x="137" y="33"/>
                    </a:cubicBezTo>
                    <a:cubicBezTo>
                      <a:pt x="137" y="33"/>
                      <a:pt x="145" y="8"/>
                      <a:pt x="155" y="36"/>
                    </a:cubicBezTo>
                    <a:cubicBezTo>
                      <a:pt x="155" y="36"/>
                      <a:pt x="160" y="52"/>
                      <a:pt x="176" y="45"/>
                    </a:cubicBezTo>
                    <a:cubicBezTo>
                      <a:pt x="176" y="45"/>
                      <a:pt x="181" y="39"/>
                      <a:pt x="192" y="46"/>
                    </a:cubicBezTo>
                    <a:cubicBezTo>
                      <a:pt x="192" y="46"/>
                      <a:pt x="203" y="43"/>
                      <a:pt x="201" y="56"/>
                    </a:cubicBezTo>
                    <a:cubicBezTo>
                      <a:pt x="201" y="56"/>
                      <a:pt x="204" y="70"/>
                      <a:pt x="221" y="67"/>
                    </a:cubicBezTo>
                    <a:cubicBezTo>
                      <a:pt x="221" y="67"/>
                      <a:pt x="226" y="81"/>
                      <a:pt x="242" y="68"/>
                    </a:cubicBezTo>
                    <a:cubicBezTo>
                      <a:pt x="242" y="68"/>
                      <a:pt x="245" y="57"/>
                      <a:pt x="260" y="58"/>
                    </a:cubicBezTo>
                    <a:cubicBezTo>
                      <a:pt x="260" y="58"/>
                      <a:pt x="276" y="61"/>
                      <a:pt x="261" y="72"/>
                    </a:cubicBezTo>
                    <a:cubicBezTo>
                      <a:pt x="261" y="72"/>
                      <a:pt x="245" y="77"/>
                      <a:pt x="265" y="98"/>
                    </a:cubicBezTo>
                    <a:cubicBezTo>
                      <a:pt x="265" y="98"/>
                      <a:pt x="288" y="117"/>
                      <a:pt x="258" y="146"/>
                    </a:cubicBezTo>
                    <a:cubicBezTo>
                      <a:pt x="255" y="170"/>
                      <a:pt x="240" y="158"/>
                      <a:pt x="235" y="165"/>
                    </a:cubicBezTo>
                    <a:cubicBezTo>
                      <a:pt x="235" y="165"/>
                      <a:pt x="219" y="168"/>
                      <a:pt x="232" y="183"/>
                    </a:cubicBezTo>
                    <a:cubicBezTo>
                      <a:pt x="232" y="183"/>
                      <a:pt x="231" y="194"/>
                      <a:pt x="251" y="191"/>
                    </a:cubicBezTo>
                    <a:cubicBezTo>
                      <a:pt x="251" y="191"/>
                      <a:pt x="257" y="191"/>
                      <a:pt x="262" y="195"/>
                    </a:cubicBezTo>
                    <a:cubicBezTo>
                      <a:pt x="273" y="181"/>
                      <a:pt x="280" y="194"/>
                      <a:pt x="269" y="202"/>
                    </a:cubicBezTo>
                    <a:cubicBezTo>
                      <a:pt x="269" y="202"/>
                      <a:pt x="272" y="209"/>
                      <a:pt x="254" y="205"/>
                    </a:cubicBezTo>
                    <a:cubicBezTo>
                      <a:pt x="254" y="205"/>
                      <a:pt x="245" y="197"/>
                      <a:pt x="236" y="213"/>
                    </a:cubicBezTo>
                    <a:cubicBezTo>
                      <a:pt x="236" y="213"/>
                      <a:pt x="232" y="224"/>
                      <a:pt x="232" y="238"/>
                    </a:cubicBezTo>
                    <a:cubicBezTo>
                      <a:pt x="232" y="238"/>
                      <a:pt x="226" y="252"/>
                      <a:pt x="243" y="249"/>
                    </a:cubicBezTo>
                    <a:cubicBezTo>
                      <a:pt x="243" y="249"/>
                      <a:pt x="259" y="244"/>
                      <a:pt x="259" y="268"/>
                    </a:cubicBezTo>
                    <a:cubicBezTo>
                      <a:pt x="259" y="268"/>
                      <a:pt x="271" y="285"/>
                      <a:pt x="265" y="290"/>
                    </a:cubicBezTo>
                    <a:cubicBezTo>
                      <a:pt x="265" y="290"/>
                      <a:pt x="252" y="294"/>
                      <a:pt x="269" y="297"/>
                    </a:cubicBezTo>
                    <a:cubicBezTo>
                      <a:pt x="269" y="297"/>
                      <a:pt x="289" y="289"/>
                      <a:pt x="269" y="319"/>
                    </a:cubicBezTo>
                    <a:cubicBezTo>
                      <a:pt x="269" y="319"/>
                      <a:pt x="262" y="334"/>
                      <a:pt x="262" y="364"/>
                    </a:cubicBezTo>
                    <a:cubicBezTo>
                      <a:pt x="263" y="387"/>
                      <a:pt x="265" y="385"/>
                      <a:pt x="247" y="386"/>
                    </a:cubicBezTo>
                    <a:cubicBezTo>
                      <a:pt x="247" y="386"/>
                      <a:pt x="223" y="383"/>
                      <a:pt x="194" y="389"/>
                    </a:cubicBezTo>
                    <a:cubicBezTo>
                      <a:pt x="194" y="389"/>
                      <a:pt x="185" y="390"/>
                      <a:pt x="170" y="390"/>
                    </a:cubicBezTo>
                    <a:cubicBezTo>
                      <a:pt x="170" y="390"/>
                      <a:pt x="170" y="390"/>
                      <a:pt x="170" y="390"/>
                    </a:cubicBezTo>
                    <a:cubicBezTo>
                      <a:pt x="170" y="378"/>
                      <a:pt x="170" y="378"/>
                      <a:pt x="170" y="378"/>
                    </a:cubicBezTo>
                    <a:cubicBezTo>
                      <a:pt x="170" y="378"/>
                      <a:pt x="170" y="378"/>
                      <a:pt x="170" y="378"/>
                    </a:cubicBezTo>
                    <a:cubicBezTo>
                      <a:pt x="170" y="378"/>
                      <a:pt x="174" y="363"/>
                      <a:pt x="154" y="362"/>
                    </a:cubicBezTo>
                    <a:cubicBezTo>
                      <a:pt x="154" y="362"/>
                      <a:pt x="141" y="367"/>
                      <a:pt x="137" y="356"/>
                    </a:cubicBezTo>
                    <a:cubicBezTo>
                      <a:pt x="137" y="356"/>
                      <a:pt x="147" y="348"/>
                      <a:pt x="111" y="343"/>
                    </a:cubicBezTo>
                    <a:cubicBezTo>
                      <a:pt x="111" y="343"/>
                      <a:pt x="115" y="327"/>
                      <a:pt x="89" y="304"/>
                    </a:cubicBezTo>
                    <a:cubicBezTo>
                      <a:pt x="89" y="304"/>
                      <a:pt x="91" y="296"/>
                      <a:pt x="73" y="295"/>
                    </a:cubicBezTo>
                    <a:cubicBezTo>
                      <a:pt x="74" y="279"/>
                      <a:pt x="63" y="285"/>
                      <a:pt x="64" y="272"/>
                    </a:cubicBezTo>
                    <a:cubicBezTo>
                      <a:pt x="64" y="272"/>
                      <a:pt x="56" y="268"/>
                      <a:pt x="62" y="251"/>
                    </a:cubicBezTo>
                    <a:cubicBezTo>
                      <a:pt x="69" y="247"/>
                      <a:pt x="56" y="243"/>
                      <a:pt x="60" y="238"/>
                    </a:cubicBezTo>
                    <a:cubicBezTo>
                      <a:pt x="60" y="238"/>
                      <a:pt x="72" y="236"/>
                      <a:pt x="53" y="222"/>
                    </a:cubicBezTo>
                    <a:cubicBezTo>
                      <a:pt x="53" y="222"/>
                      <a:pt x="56" y="209"/>
                      <a:pt x="39" y="209"/>
                    </a:cubicBezTo>
                    <a:cubicBezTo>
                      <a:pt x="39" y="209"/>
                      <a:pt x="17" y="210"/>
                      <a:pt x="30" y="201"/>
                    </a:cubicBezTo>
                    <a:cubicBezTo>
                      <a:pt x="40" y="198"/>
                      <a:pt x="28" y="194"/>
                      <a:pt x="30" y="185"/>
                    </a:cubicBezTo>
                    <a:cubicBezTo>
                      <a:pt x="30" y="185"/>
                      <a:pt x="33" y="166"/>
                      <a:pt x="19" y="173"/>
                    </a:cubicBezTo>
                    <a:cubicBezTo>
                      <a:pt x="19" y="173"/>
                      <a:pt x="9" y="175"/>
                      <a:pt x="10" y="169"/>
                    </a:cubicBezTo>
                    <a:cubicBezTo>
                      <a:pt x="10" y="169"/>
                      <a:pt x="14" y="162"/>
                      <a:pt x="4" y="161"/>
                    </a:cubicBezTo>
                    <a:cubicBezTo>
                      <a:pt x="4" y="161"/>
                      <a:pt x="4" y="161"/>
                      <a:pt x="4" y="161"/>
                    </a:cubicBezTo>
                    <a:close/>
                  </a:path>
                </a:pathLst>
              </a:custGeom>
              <a:solidFill>
                <a:srgbClr val="EEBB0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34" name="Freeform 42"/>
              <p:cNvSpPr>
                <a:spLocks/>
              </p:cNvSpPr>
              <p:nvPr/>
            </p:nvSpPr>
            <p:spPr bwMode="auto">
              <a:xfrm>
                <a:off x="4008257" y="3598004"/>
                <a:ext cx="1368906" cy="800585"/>
              </a:xfrm>
              <a:custGeom>
                <a:avLst/>
                <a:gdLst/>
                <a:ahLst/>
                <a:cxnLst>
                  <a:cxn ang="0">
                    <a:pos x="429" y="234"/>
                  </a:cxn>
                  <a:cxn ang="0">
                    <a:pos x="404" y="236"/>
                  </a:cxn>
                  <a:cxn ang="0">
                    <a:pos x="382" y="229"/>
                  </a:cxn>
                  <a:cxn ang="0">
                    <a:pos x="374" y="196"/>
                  </a:cxn>
                  <a:cxn ang="0">
                    <a:pos x="354" y="196"/>
                  </a:cxn>
                  <a:cxn ang="0">
                    <a:pos x="317" y="192"/>
                  </a:cxn>
                  <a:cxn ang="0">
                    <a:pos x="272" y="192"/>
                  </a:cxn>
                  <a:cxn ang="0">
                    <a:pos x="262" y="192"/>
                  </a:cxn>
                  <a:cxn ang="0">
                    <a:pos x="229" y="206"/>
                  </a:cxn>
                  <a:cxn ang="0">
                    <a:pos x="238" y="224"/>
                  </a:cxn>
                  <a:cxn ang="0">
                    <a:pos x="239" y="247"/>
                  </a:cxn>
                  <a:cxn ang="0">
                    <a:pos x="242" y="287"/>
                  </a:cxn>
                  <a:cxn ang="0">
                    <a:pos x="220" y="298"/>
                  </a:cxn>
                  <a:cxn ang="0">
                    <a:pos x="175" y="309"/>
                  </a:cxn>
                  <a:cxn ang="0">
                    <a:pos x="136" y="314"/>
                  </a:cxn>
                  <a:cxn ang="0">
                    <a:pos x="110" y="313"/>
                  </a:cxn>
                  <a:cxn ang="0">
                    <a:pos x="66" y="308"/>
                  </a:cxn>
                  <a:cxn ang="0">
                    <a:pos x="46" y="309"/>
                  </a:cxn>
                  <a:cxn ang="0">
                    <a:pos x="20" y="302"/>
                  </a:cxn>
                  <a:cxn ang="0">
                    <a:pos x="14" y="275"/>
                  </a:cxn>
                  <a:cxn ang="0">
                    <a:pos x="12" y="239"/>
                  </a:cxn>
                  <a:cxn ang="0">
                    <a:pos x="35" y="207"/>
                  </a:cxn>
                  <a:cxn ang="0">
                    <a:pos x="66" y="162"/>
                  </a:cxn>
                  <a:cxn ang="0">
                    <a:pos x="69" y="121"/>
                  </a:cxn>
                  <a:cxn ang="0">
                    <a:pos x="86" y="115"/>
                  </a:cxn>
                  <a:cxn ang="0">
                    <a:pos x="99" y="100"/>
                  </a:cxn>
                  <a:cxn ang="0">
                    <a:pos x="80" y="79"/>
                  </a:cxn>
                  <a:cxn ang="0">
                    <a:pos x="100" y="82"/>
                  </a:cxn>
                  <a:cxn ang="0">
                    <a:pos x="110" y="65"/>
                  </a:cxn>
                  <a:cxn ang="0">
                    <a:pos x="154" y="79"/>
                  </a:cxn>
                  <a:cxn ang="0">
                    <a:pos x="161" y="42"/>
                  </a:cxn>
                  <a:cxn ang="0">
                    <a:pos x="206" y="8"/>
                  </a:cxn>
                  <a:cxn ang="0">
                    <a:pos x="267" y="15"/>
                  </a:cxn>
                  <a:cxn ang="0">
                    <a:pos x="335" y="37"/>
                  </a:cxn>
                  <a:cxn ang="0">
                    <a:pos x="378" y="71"/>
                  </a:cxn>
                  <a:cxn ang="0">
                    <a:pos x="398" y="99"/>
                  </a:cxn>
                  <a:cxn ang="0">
                    <a:pos x="431" y="89"/>
                  </a:cxn>
                  <a:cxn ang="0">
                    <a:pos x="455" y="97"/>
                  </a:cxn>
                  <a:cxn ang="0">
                    <a:pos x="473" y="97"/>
                  </a:cxn>
                  <a:cxn ang="0">
                    <a:pos x="469" y="142"/>
                  </a:cxn>
                  <a:cxn ang="0">
                    <a:pos x="477" y="167"/>
                  </a:cxn>
                  <a:cxn ang="0">
                    <a:pos x="463" y="192"/>
                  </a:cxn>
                  <a:cxn ang="0">
                    <a:pos x="443" y="206"/>
                  </a:cxn>
                  <a:cxn ang="0">
                    <a:pos x="444" y="233"/>
                  </a:cxn>
                </a:cxnLst>
                <a:rect l="0" t="0" r="r" b="b"/>
                <a:pathLst>
                  <a:path w="484" h="320">
                    <a:moveTo>
                      <a:pt x="444" y="233"/>
                    </a:moveTo>
                    <a:cubicBezTo>
                      <a:pt x="433" y="228"/>
                      <a:pt x="429" y="234"/>
                      <a:pt x="429" y="234"/>
                    </a:cubicBezTo>
                    <a:cubicBezTo>
                      <a:pt x="425" y="239"/>
                      <a:pt x="417" y="233"/>
                      <a:pt x="417" y="233"/>
                    </a:cubicBezTo>
                    <a:cubicBezTo>
                      <a:pt x="405" y="243"/>
                      <a:pt x="404" y="236"/>
                      <a:pt x="404" y="236"/>
                    </a:cubicBezTo>
                    <a:cubicBezTo>
                      <a:pt x="395" y="226"/>
                      <a:pt x="393" y="233"/>
                      <a:pt x="393" y="233"/>
                    </a:cubicBezTo>
                    <a:cubicBezTo>
                      <a:pt x="382" y="238"/>
                      <a:pt x="382" y="229"/>
                      <a:pt x="382" y="229"/>
                    </a:cubicBezTo>
                    <a:cubicBezTo>
                      <a:pt x="396" y="219"/>
                      <a:pt x="379" y="215"/>
                      <a:pt x="379" y="215"/>
                    </a:cubicBezTo>
                    <a:cubicBezTo>
                      <a:pt x="370" y="203"/>
                      <a:pt x="374" y="196"/>
                      <a:pt x="374" y="196"/>
                    </a:cubicBezTo>
                    <a:cubicBezTo>
                      <a:pt x="369" y="205"/>
                      <a:pt x="366" y="199"/>
                      <a:pt x="366" y="199"/>
                    </a:cubicBezTo>
                    <a:cubicBezTo>
                      <a:pt x="365" y="186"/>
                      <a:pt x="354" y="196"/>
                      <a:pt x="354" y="196"/>
                    </a:cubicBezTo>
                    <a:cubicBezTo>
                      <a:pt x="343" y="196"/>
                      <a:pt x="337" y="190"/>
                      <a:pt x="337" y="190"/>
                    </a:cubicBezTo>
                    <a:cubicBezTo>
                      <a:pt x="327" y="181"/>
                      <a:pt x="317" y="192"/>
                      <a:pt x="317" y="192"/>
                    </a:cubicBezTo>
                    <a:cubicBezTo>
                      <a:pt x="306" y="199"/>
                      <a:pt x="297" y="192"/>
                      <a:pt x="297" y="192"/>
                    </a:cubicBezTo>
                    <a:cubicBezTo>
                      <a:pt x="279" y="188"/>
                      <a:pt x="272" y="192"/>
                      <a:pt x="272" y="192"/>
                    </a:cubicBezTo>
                    <a:cubicBezTo>
                      <a:pt x="270" y="193"/>
                      <a:pt x="269" y="192"/>
                      <a:pt x="267" y="191"/>
                    </a:cubicBezTo>
                    <a:cubicBezTo>
                      <a:pt x="265" y="190"/>
                      <a:pt x="264" y="191"/>
                      <a:pt x="262" y="192"/>
                    </a:cubicBezTo>
                    <a:cubicBezTo>
                      <a:pt x="249" y="188"/>
                      <a:pt x="246" y="199"/>
                      <a:pt x="246" y="199"/>
                    </a:cubicBezTo>
                    <a:cubicBezTo>
                      <a:pt x="228" y="197"/>
                      <a:pt x="229" y="206"/>
                      <a:pt x="229" y="206"/>
                    </a:cubicBezTo>
                    <a:cubicBezTo>
                      <a:pt x="231" y="210"/>
                      <a:pt x="225" y="215"/>
                      <a:pt x="225" y="215"/>
                    </a:cubicBezTo>
                    <a:cubicBezTo>
                      <a:pt x="232" y="215"/>
                      <a:pt x="238" y="224"/>
                      <a:pt x="238" y="224"/>
                    </a:cubicBezTo>
                    <a:cubicBezTo>
                      <a:pt x="245" y="227"/>
                      <a:pt x="227" y="226"/>
                      <a:pt x="227" y="236"/>
                    </a:cubicBezTo>
                    <a:cubicBezTo>
                      <a:pt x="227" y="240"/>
                      <a:pt x="239" y="247"/>
                      <a:pt x="239" y="247"/>
                    </a:cubicBezTo>
                    <a:cubicBezTo>
                      <a:pt x="235" y="267"/>
                      <a:pt x="253" y="261"/>
                      <a:pt x="244" y="273"/>
                    </a:cubicBezTo>
                    <a:cubicBezTo>
                      <a:pt x="242" y="277"/>
                      <a:pt x="242" y="287"/>
                      <a:pt x="242" y="287"/>
                    </a:cubicBezTo>
                    <a:cubicBezTo>
                      <a:pt x="246" y="305"/>
                      <a:pt x="237" y="302"/>
                      <a:pt x="237" y="302"/>
                    </a:cubicBezTo>
                    <a:cubicBezTo>
                      <a:pt x="221" y="303"/>
                      <a:pt x="220" y="298"/>
                      <a:pt x="220" y="298"/>
                    </a:cubicBezTo>
                    <a:cubicBezTo>
                      <a:pt x="203" y="291"/>
                      <a:pt x="192" y="300"/>
                      <a:pt x="192" y="300"/>
                    </a:cubicBezTo>
                    <a:cubicBezTo>
                      <a:pt x="187" y="306"/>
                      <a:pt x="175" y="309"/>
                      <a:pt x="175" y="309"/>
                    </a:cubicBezTo>
                    <a:cubicBezTo>
                      <a:pt x="165" y="309"/>
                      <a:pt x="160" y="314"/>
                      <a:pt x="160" y="314"/>
                    </a:cubicBezTo>
                    <a:cubicBezTo>
                      <a:pt x="150" y="315"/>
                      <a:pt x="136" y="314"/>
                      <a:pt x="136" y="314"/>
                    </a:cubicBezTo>
                    <a:cubicBezTo>
                      <a:pt x="127" y="317"/>
                      <a:pt x="126" y="312"/>
                      <a:pt x="126" y="312"/>
                    </a:cubicBezTo>
                    <a:cubicBezTo>
                      <a:pt x="115" y="306"/>
                      <a:pt x="110" y="313"/>
                      <a:pt x="110" y="313"/>
                    </a:cubicBezTo>
                    <a:cubicBezTo>
                      <a:pt x="82" y="319"/>
                      <a:pt x="85" y="309"/>
                      <a:pt x="85" y="309"/>
                    </a:cubicBezTo>
                    <a:cubicBezTo>
                      <a:pt x="75" y="294"/>
                      <a:pt x="66" y="308"/>
                      <a:pt x="66" y="308"/>
                    </a:cubicBezTo>
                    <a:cubicBezTo>
                      <a:pt x="64" y="312"/>
                      <a:pt x="55" y="306"/>
                      <a:pt x="55" y="313"/>
                    </a:cubicBezTo>
                    <a:cubicBezTo>
                      <a:pt x="52" y="320"/>
                      <a:pt x="46" y="309"/>
                      <a:pt x="46" y="309"/>
                    </a:cubicBezTo>
                    <a:cubicBezTo>
                      <a:pt x="44" y="305"/>
                      <a:pt x="33" y="306"/>
                      <a:pt x="33" y="306"/>
                    </a:cubicBezTo>
                    <a:cubicBezTo>
                      <a:pt x="28" y="299"/>
                      <a:pt x="20" y="302"/>
                      <a:pt x="20" y="302"/>
                    </a:cubicBezTo>
                    <a:cubicBezTo>
                      <a:pt x="6" y="298"/>
                      <a:pt x="11" y="289"/>
                      <a:pt x="11" y="289"/>
                    </a:cubicBezTo>
                    <a:cubicBezTo>
                      <a:pt x="0" y="273"/>
                      <a:pt x="14" y="275"/>
                      <a:pt x="14" y="275"/>
                    </a:cubicBezTo>
                    <a:cubicBezTo>
                      <a:pt x="21" y="270"/>
                      <a:pt x="15" y="254"/>
                      <a:pt x="15" y="254"/>
                    </a:cubicBezTo>
                    <a:cubicBezTo>
                      <a:pt x="19" y="243"/>
                      <a:pt x="12" y="239"/>
                      <a:pt x="12" y="239"/>
                    </a:cubicBezTo>
                    <a:cubicBezTo>
                      <a:pt x="8" y="232"/>
                      <a:pt x="11" y="225"/>
                      <a:pt x="11" y="225"/>
                    </a:cubicBezTo>
                    <a:cubicBezTo>
                      <a:pt x="18" y="210"/>
                      <a:pt x="35" y="207"/>
                      <a:pt x="35" y="207"/>
                    </a:cubicBezTo>
                    <a:cubicBezTo>
                      <a:pt x="37" y="192"/>
                      <a:pt x="52" y="192"/>
                      <a:pt x="52" y="192"/>
                    </a:cubicBezTo>
                    <a:cubicBezTo>
                      <a:pt x="75" y="180"/>
                      <a:pt x="66" y="162"/>
                      <a:pt x="66" y="162"/>
                    </a:cubicBezTo>
                    <a:cubicBezTo>
                      <a:pt x="66" y="145"/>
                      <a:pt x="62" y="141"/>
                      <a:pt x="62" y="141"/>
                    </a:cubicBezTo>
                    <a:cubicBezTo>
                      <a:pt x="53" y="129"/>
                      <a:pt x="69" y="121"/>
                      <a:pt x="69" y="121"/>
                    </a:cubicBezTo>
                    <a:cubicBezTo>
                      <a:pt x="69" y="121"/>
                      <a:pt x="69" y="121"/>
                      <a:pt x="69" y="121"/>
                    </a:cubicBezTo>
                    <a:cubicBezTo>
                      <a:pt x="86" y="115"/>
                      <a:pt x="86" y="115"/>
                      <a:pt x="86" y="115"/>
                    </a:cubicBezTo>
                    <a:cubicBezTo>
                      <a:pt x="86" y="115"/>
                      <a:pt x="86" y="115"/>
                      <a:pt x="86" y="115"/>
                    </a:cubicBezTo>
                    <a:cubicBezTo>
                      <a:pt x="98" y="108"/>
                      <a:pt x="99" y="100"/>
                      <a:pt x="99" y="100"/>
                    </a:cubicBezTo>
                    <a:cubicBezTo>
                      <a:pt x="96" y="93"/>
                      <a:pt x="80" y="94"/>
                      <a:pt x="80" y="94"/>
                    </a:cubicBezTo>
                    <a:cubicBezTo>
                      <a:pt x="53" y="79"/>
                      <a:pt x="80" y="79"/>
                      <a:pt x="80" y="79"/>
                    </a:cubicBezTo>
                    <a:cubicBezTo>
                      <a:pt x="96" y="72"/>
                      <a:pt x="100" y="82"/>
                      <a:pt x="100" y="82"/>
                    </a:cubicBezTo>
                    <a:cubicBezTo>
                      <a:pt x="100" y="82"/>
                      <a:pt x="100" y="82"/>
                      <a:pt x="100" y="82"/>
                    </a:cubicBezTo>
                    <a:cubicBezTo>
                      <a:pt x="110" y="65"/>
                      <a:pt x="110" y="65"/>
                      <a:pt x="110" y="65"/>
                    </a:cubicBezTo>
                    <a:cubicBezTo>
                      <a:pt x="110" y="65"/>
                      <a:pt x="110" y="65"/>
                      <a:pt x="110" y="65"/>
                    </a:cubicBezTo>
                    <a:cubicBezTo>
                      <a:pt x="118" y="69"/>
                      <a:pt x="133" y="76"/>
                      <a:pt x="133" y="76"/>
                    </a:cubicBezTo>
                    <a:cubicBezTo>
                      <a:pt x="151" y="89"/>
                      <a:pt x="154" y="79"/>
                      <a:pt x="154" y="79"/>
                    </a:cubicBezTo>
                    <a:cubicBezTo>
                      <a:pt x="154" y="79"/>
                      <a:pt x="161" y="72"/>
                      <a:pt x="157" y="59"/>
                    </a:cubicBezTo>
                    <a:cubicBezTo>
                      <a:pt x="157" y="59"/>
                      <a:pt x="147" y="56"/>
                      <a:pt x="161" y="42"/>
                    </a:cubicBezTo>
                    <a:cubicBezTo>
                      <a:pt x="161" y="42"/>
                      <a:pt x="164" y="22"/>
                      <a:pt x="176" y="23"/>
                    </a:cubicBezTo>
                    <a:cubicBezTo>
                      <a:pt x="189" y="9"/>
                      <a:pt x="202" y="12"/>
                      <a:pt x="206" y="8"/>
                    </a:cubicBezTo>
                    <a:cubicBezTo>
                      <a:pt x="213" y="1"/>
                      <a:pt x="224" y="9"/>
                      <a:pt x="234" y="4"/>
                    </a:cubicBezTo>
                    <a:cubicBezTo>
                      <a:pt x="236" y="9"/>
                      <a:pt x="257" y="0"/>
                      <a:pt x="267" y="15"/>
                    </a:cubicBezTo>
                    <a:cubicBezTo>
                      <a:pt x="285" y="31"/>
                      <a:pt x="293" y="40"/>
                      <a:pt x="305" y="37"/>
                    </a:cubicBezTo>
                    <a:cubicBezTo>
                      <a:pt x="319" y="39"/>
                      <a:pt x="335" y="37"/>
                      <a:pt x="335" y="37"/>
                    </a:cubicBezTo>
                    <a:cubicBezTo>
                      <a:pt x="362" y="21"/>
                      <a:pt x="360" y="53"/>
                      <a:pt x="360" y="53"/>
                    </a:cubicBezTo>
                    <a:cubicBezTo>
                      <a:pt x="383" y="63"/>
                      <a:pt x="378" y="71"/>
                      <a:pt x="378" y="71"/>
                    </a:cubicBezTo>
                    <a:cubicBezTo>
                      <a:pt x="381" y="82"/>
                      <a:pt x="388" y="83"/>
                      <a:pt x="388" y="83"/>
                    </a:cubicBezTo>
                    <a:cubicBezTo>
                      <a:pt x="400" y="88"/>
                      <a:pt x="398" y="99"/>
                      <a:pt x="398" y="99"/>
                    </a:cubicBezTo>
                    <a:cubicBezTo>
                      <a:pt x="400" y="119"/>
                      <a:pt x="411" y="99"/>
                      <a:pt x="411" y="99"/>
                    </a:cubicBezTo>
                    <a:cubicBezTo>
                      <a:pt x="418" y="80"/>
                      <a:pt x="431" y="89"/>
                      <a:pt x="431" y="89"/>
                    </a:cubicBezTo>
                    <a:cubicBezTo>
                      <a:pt x="433" y="98"/>
                      <a:pt x="448" y="89"/>
                      <a:pt x="448" y="89"/>
                    </a:cubicBezTo>
                    <a:cubicBezTo>
                      <a:pt x="463" y="93"/>
                      <a:pt x="455" y="97"/>
                      <a:pt x="455" y="97"/>
                    </a:cubicBezTo>
                    <a:cubicBezTo>
                      <a:pt x="449" y="103"/>
                      <a:pt x="459" y="107"/>
                      <a:pt x="460" y="99"/>
                    </a:cubicBezTo>
                    <a:cubicBezTo>
                      <a:pt x="466" y="93"/>
                      <a:pt x="473" y="97"/>
                      <a:pt x="473" y="97"/>
                    </a:cubicBezTo>
                    <a:cubicBezTo>
                      <a:pt x="473" y="100"/>
                      <a:pt x="462" y="106"/>
                      <a:pt x="466" y="117"/>
                    </a:cubicBezTo>
                    <a:cubicBezTo>
                      <a:pt x="461" y="142"/>
                      <a:pt x="469" y="142"/>
                      <a:pt x="469" y="142"/>
                    </a:cubicBezTo>
                    <a:cubicBezTo>
                      <a:pt x="479" y="144"/>
                      <a:pt x="480" y="155"/>
                      <a:pt x="480" y="155"/>
                    </a:cubicBezTo>
                    <a:cubicBezTo>
                      <a:pt x="484" y="164"/>
                      <a:pt x="477" y="167"/>
                      <a:pt x="477" y="167"/>
                    </a:cubicBezTo>
                    <a:cubicBezTo>
                      <a:pt x="469" y="168"/>
                      <a:pt x="477" y="182"/>
                      <a:pt x="477" y="182"/>
                    </a:cubicBezTo>
                    <a:cubicBezTo>
                      <a:pt x="484" y="199"/>
                      <a:pt x="463" y="192"/>
                      <a:pt x="463" y="192"/>
                    </a:cubicBezTo>
                    <a:cubicBezTo>
                      <a:pt x="450" y="177"/>
                      <a:pt x="443" y="188"/>
                      <a:pt x="443" y="188"/>
                    </a:cubicBezTo>
                    <a:cubicBezTo>
                      <a:pt x="434" y="199"/>
                      <a:pt x="443" y="206"/>
                      <a:pt x="443" y="206"/>
                    </a:cubicBezTo>
                    <a:cubicBezTo>
                      <a:pt x="453" y="214"/>
                      <a:pt x="443" y="217"/>
                      <a:pt x="443" y="217"/>
                    </a:cubicBezTo>
                    <a:cubicBezTo>
                      <a:pt x="429" y="219"/>
                      <a:pt x="444" y="233"/>
                      <a:pt x="444" y="233"/>
                    </a:cubicBezTo>
                    <a:cubicBezTo>
                      <a:pt x="444" y="233"/>
                      <a:pt x="444" y="233"/>
                      <a:pt x="444" y="233"/>
                    </a:cubicBezTo>
                    <a:close/>
                  </a:path>
                </a:pathLst>
              </a:custGeom>
              <a:solidFill>
                <a:srgbClr val="EEBB0D">
                  <a:alpha val="87059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35" name="Freeform 41"/>
              <p:cNvSpPr>
                <a:spLocks/>
              </p:cNvSpPr>
              <p:nvPr/>
            </p:nvSpPr>
            <p:spPr bwMode="auto">
              <a:xfrm>
                <a:off x="2843899" y="3154743"/>
                <a:ext cx="1122399" cy="823199"/>
              </a:xfrm>
              <a:custGeom>
                <a:avLst/>
                <a:gdLst/>
                <a:ahLst/>
                <a:cxnLst>
                  <a:cxn ang="0">
                    <a:pos x="385" y="177"/>
                  </a:cxn>
                  <a:cxn ang="0">
                    <a:pos x="389" y="206"/>
                  </a:cxn>
                  <a:cxn ang="0">
                    <a:pos x="389" y="228"/>
                  </a:cxn>
                  <a:cxn ang="0">
                    <a:pos x="372" y="230"/>
                  </a:cxn>
                  <a:cxn ang="0">
                    <a:pos x="355" y="235"/>
                  </a:cxn>
                  <a:cxn ang="0">
                    <a:pos x="342" y="217"/>
                  </a:cxn>
                  <a:cxn ang="0">
                    <a:pos x="332" y="209"/>
                  </a:cxn>
                  <a:cxn ang="0">
                    <a:pos x="319" y="221"/>
                  </a:cxn>
                  <a:cxn ang="0">
                    <a:pos x="311" y="233"/>
                  </a:cxn>
                  <a:cxn ang="0">
                    <a:pos x="301" y="242"/>
                  </a:cxn>
                  <a:cxn ang="0">
                    <a:pos x="288" y="244"/>
                  </a:cxn>
                  <a:cxn ang="0">
                    <a:pos x="275" y="243"/>
                  </a:cxn>
                  <a:cxn ang="0">
                    <a:pos x="250" y="240"/>
                  </a:cxn>
                  <a:cxn ang="0">
                    <a:pos x="238" y="252"/>
                  </a:cxn>
                  <a:cxn ang="0">
                    <a:pos x="230" y="270"/>
                  </a:cxn>
                  <a:cxn ang="0">
                    <a:pos x="209" y="274"/>
                  </a:cxn>
                  <a:cxn ang="0">
                    <a:pos x="192" y="273"/>
                  </a:cxn>
                  <a:cxn ang="0">
                    <a:pos x="178" y="273"/>
                  </a:cxn>
                  <a:cxn ang="0">
                    <a:pos x="139" y="272"/>
                  </a:cxn>
                  <a:cxn ang="0">
                    <a:pos x="127" y="286"/>
                  </a:cxn>
                  <a:cxn ang="0">
                    <a:pos x="122" y="300"/>
                  </a:cxn>
                  <a:cxn ang="0">
                    <a:pos x="115" y="306"/>
                  </a:cxn>
                  <a:cxn ang="0">
                    <a:pos x="87" y="320"/>
                  </a:cxn>
                  <a:cxn ang="0">
                    <a:pos x="59" y="330"/>
                  </a:cxn>
                  <a:cxn ang="0">
                    <a:pos x="56" y="318"/>
                  </a:cxn>
                  <a:cxn ang="0">
                    <a:pos x="51" y="301"/>
                  </a:cxn>
                  <a:cxn ang="0">
                    <a:pos x="44" y="286"/>
                  </a:cxn>
                  <a:cxn ang="0">
                    <a:pos x="33" y="265"/>
                  </a:cxn>
                  <a:cxn ang="0">
                    <a:pos x="23" y="253"/>
                  </a:cxn>
                  <a:cxn ang="0">
                    <a:pos x="21" y="241"/>
                  </a:cxn>
                  <a:cxn ang="0">
                    <a:pos x="16" y="224"/>
                  </a:cxn>
                  <a:cxn ang="0">
                    <a:pos x="15" y="213"/>
                  </a:cxn>
                  <a:cxn ang="0">
                    <a:pos x="20" y="187"/>
                  </a:cxn>
                  <a:cxn ang="0">
                    <a:pos x="31" y="193"/>
                  </a:cxn>
                  <a:cxn ang="0">
                    <a:pos x="47" y="185"/>
                  </a:cxn>
                  <a:cxn ang="0">
                    <a:pos x="68" y="177"/>
                  </a:cxn>
                  <a:cxn ang="0">
                    <a:pos x="82" y="177"/>
                  </a:cxn>
                  <a:cxn ang="0">
                    <a:pos x="99" y="183"/>
                  </a:cxn>
                  <a:cxn ang="0">
                    <a:pos x="104" y="173"/>
                  </a:cxn>
                  <a:cxn ang="0">
                    <a:pos x="114" y="167"/>
                  </a:cxn>
                  <a:cxn ang="0">
                    <a:pos x="144" y="166"/>
                  </a:cxn>
                  <a:cxn ang="0">
                    <a:pos x="169" y="153"/>
                  </a:cxn>
                  <a:cxn ang="0">
                    <a:pos x="187" y="135"/>
                  </a:cxn>
                  <a:cxn ang="0">
                    <a:pos x="188" y="118"/>
                  </a:cxn>
                  <a:cxn ang="0">
                    <a:pos x="194" y="90"/>
                  </a:cxn>
                  <a:cxn ang="0">
                    <a:pos x="209" y="70"/>
                  </a:cxn>
                  <a:cxn ang="0">
                    <a:pos x="227" y="69"/>
                  </a:cxn>
                  <a:cxn ang="0">
                    <a:pos x="251" y="72"/>
                  </a:cxn>
                  <a:cxn ang="0">
                    <a:pos x="268" y="46"/>
                  </a:cxn>
                  <a:cxn ang="0">
                    <a:pos x="273" y="30"/>
                  </a:cxn>
                  <a:cxn ang="0">
                    <a:pos x="284" y="17"/>
                  </a:cxn>
                  <a:cxn ang="0">
                    <a:pos x="301" y="0"/>
                  </a:cxn>
                  <a:cxn ang="0">
                    <a:pos x="316" y="16"/>
                  </a:cxn>
                  <a:cxn ang="0">
                    <a:pos x="325" y="36"/>
                  </a:cxn>
                  <a:cxn ang="0">
                    <a:pos x="335" y="47"/>
                  </a:cxn>
                  <a:cxn ang="0">
                    <a:pos x="337" y="65"/>
                  </a:cxn>
                  <a:cxn ang="0">
                    <a:pos x="344" y="80"/>
                  </a:cxn>
                  <a:cxn ang="0">
                    <a:pos x="359" y="98"/>
                  </a:cxn>
                  <a:cxn ang="0">
                    <a:pos x="374" y="111"/>
                  </a:cxn>
                  <a:cxn ang="0">
                    <a:pos x="375" y="125"/>
                  </a:cxn>
                  <a:cxn ang="0">
                    <a:pos x="376" y="147"/>
                  </a:cxn>
                  <a:cxn ang="0">
                    <a:pos x="385" y="177"/>
                  </a:cxn>
                  <a:cxn ang="0">
                    <a:pos x="385" y="177"/>
                  </a:cxn>
                </a:cxnLst>
                <a:rect l="0" t="0" r="r" b="b"/>
                <a:pathLst>
                  <a:path w="396" h="330">
                    <a:moveTo>
                      <a:pt x="385" y="177"/>
                    </a:moveTo>
                    <a:cubicBezTo>
                      <a:pt x="374" y="195"/>
                      <a:pt x="385" y="191"/>
                      <a:pt x="389" y="206"/>
                    </a:cubicBezTo>
                    <a:cubicBezTo>
                      <a:pt x="389" y="206"/>
                      <a:pt x="396" y="220"/>
                      <a:pt x="389" y="228"/>
                    </a:cubicBezTo>
                    <a:cubicBezTo>
                      <a:pt x="380" y="238"/>
                      <a:pt x="380" y="226"/>
                      <a:pt x="372" y="230"/>
                    </a:cubicBezTo>
                    <a:cubicBezTo>
                      <a:pt x="372" y="230"/>
                      <a:pt x="365" y="239"/>
                      <a:pt x="355" y="235"/>
                    </a:cubicBezTo>
                    <a:cubicBezTo>
                      <a:pt x="355" y="235"/>
                      <a:pt x="354" y="224"/>
                      <a:pt x="342" y="217"/>
                    </a:cubicBezTo>
                    <a:cubicBezTo>
                      <a:pt x="342" y="217"/>
                      <a:pt x="335" y="217"/>
                      <a:pt x="332" y="209"/>
                    </a:cubicBezTo>
                    <a:cubicBezTo>
                      <a:pt x="332" y="209"/>
                      <a:pt x="325" y="217"/>
                      <a:pt x="319" y="221"/>
                    </a:cubicBezTo>
                    <a:cubicBezTo>
                      <a:pt x="319" y="221"/>
                      <a:pt x="310" y="223"/>
                      <a:pt x="311" y="233"/>
                    </a:cubicBezTo>
                    <a:cubicBezTo>
                      <a:pt x="311" y="233"/>
                      <a:pt x="313" y="248"/>
                      <a:pt x="301" y="242"/>
                    </a:cubicBezTo>
                    <a:cubicBezTo>
                      <a:pt x="301" y="242"/>
                      <a:pt x="296" y="232"/>
                      <a:pt x="288" y="244"/>
                    </a:cubicBezTo>
                    <a:cubicBezTo>
                      <a:pt x="288" y="244"/>
                      <a:pt x="279" y="259"/>
                      <a:pt x="275" y="243"/>
                    </a:cubicBezTo>
                    <a:cubicBezTo>
                      <a:pt x="275" y="243"/>
                      <a:pt x="260" y="234"/>
                      <a:pt x="250" y="240"/>
                    </a:cubicBezTo>
                    <a:cubicBezTo>
                      <a:pt x="250" y="240"/>
                      <a:pt x="232" y="234"/>
                      <a:pt x="238" y="252"/>
                    </a:cubicBezTo>
                    <a:cubicBezTo>
                      <a:pt x="238" y="252"/>
                      <a:pt x="229" y="261"/>
                      <a:pt x="230" y="270"/>
                    </a:cubicBezTo>
                    <a:cubicBezTo>
                      <a:pt x="230" y="270"/>
                      <a:pt x="212" y="282"/>
                      <a:pt x="209" y="274"/>
                    </a:cubicBezTo>
                    <a:cubicBezTo>
                      <a:pt x="209" y="274"/>
                      <a:pt x="205" y="265"/>
                      <a:pt x="192" y="273"/>
                    </a:cubicBezTo>
                    <a:cubicBezTo>
                      <a:pt x="192" y="273"/>
                      <a:pt x="182" y="281"/>
                      <a:pt x="178" y="273"/>
                    </a:cubicBezTo>
                    <a:cubicBezTo>
                      <a:pt x="178" y="273"/>
                      <a:pt x="161" y="268"/>
                      <a:pt x="139" y="272"/>
                    </a:cubicBezTo>
                    <a:cubicBezTo>
                      <a:pt x="139" y="272"/>
                      <a:pt x="128" y="268"/>
                      <a:pt x="127" y="286"/>
                    </a:cubicBezTo>
                    <a:cubicBezTo>
                      <a:pt x="127" y="286"/>
                      <a:pt x="118" y="296"/>
                      <a:pt x="122" y="300"/>
                    </a:cubicBezTo>
                    <a:cubicBezTo>
                      <a:pt x="122" y="300"/>
                      <a:pt x="127" y="309"/>
                      <a:pt x="115" y="306"/>
                    </a:cubicBezTo>
                    <a:cubicBezTo>
                      <a:pt x="115" y="306"/>
                      <a:pt x="102" y="302"/>
                      <a:pt x="87" y="320"/>
                    </a:cubicBezTo>
                    <a:cubicBezTo>
                      <a:pt x="81" y="325"/>
                      <a:pt x="76" y="311"/>
                      <a:pt x="59" y="330"/>
                    </a:cubicBezTo>
                    <a:cubicBezTo>
                      <a:pt x="44" y="325"/>
                      <a:pt x="56" y="318"/>
                      <a:pt x="56" y="318"/>
                    </a:cubicBezTo>
                    <a:cubicBezTo>
                      <a:pt x="62" y="303"/>
                      <a:pt x="51" y="301"/>
                      <a:pt x="51" y="301"/>
                    </a:cubicBezTo>
                    <a:cubicBezTo>
                      <a:pt x="46" y="300"/>
                      <a:pt x="58" y="285"/>
                      <a:pt x="44" y="286"/>
                    </a:cubicBezTo>
                    <a:cubicBezTo>
                      <a:pt x="35" y="283"/>
                      <a:pt x="45" y="274"/>
                      <a:pt x="33" y="265"/>
                    </a:cubicBezTo>
                    <a:cubicBezTo>
                      <a:pt x="21" y="263"/>
                      <a:pt x="31" y="250"/>
                      <a:pt x="23" y="253"/>
                    </a:cubicBezTo>
                    <a:cubicBezTo>
                      <a:pt x="17" y="252"/>
                      <a:pt x="21" y="241"/>
                      <a:pt x="21" y="241"/>
                    </a:cubicBezTo>
                    <a:cubicBezTo>
                      <a:pt x="10" y="239"/>
                      <a:pt x="16" y="224"/>
                      <a:pt x="16" y="224"/>
                    </a:cubicBezTo>
                    <a:cubicBezTo>
                      <a:pt x="0" y="224"/>
                      <a:pt x="11" y="211"/>
                      <a:pt x="15" y="213"/>
                    </a:cubicBezTo>
                    <a:cubicBezTo>
                      <a:pt x="26" y="199"/>
                      <a:pt x="20" y="187"/>
                      <a:pt x="20" y="187"/>
                    </a:cubicBezTo>
                    <a:cubicBezTo>
                      <a:pt x="31" y="182"/>
                      <a:pt x="24" y="195"/>
                      <a:pt x="31" y="193"/>
                    </a:cubicBezTo>
                    <a:cubicBezTo>
                      <a:pt x="40" y="195"/>
                      <a:pt x="47" y="185"/>
                      <a:pt x="47" y="185"/>
                    </a:cubicBezTo>
                    <a:cubicBezTo>
                      <a:pt x="51" y="176"/>
                      <a:pt x="68" y="177"/>
                      <a:pt x="68" y="177"/>
                    </a:cubicBezTo>
                    <a:cubicBezTo>
                      <a:pt x="73" y="162"/>
                      <a:pt x="82" y="177"/>
                      <a:pt x="82" y="177"/>
                    </a:cubicBezTo>
                    <a:cubicBezTo>
                      <a:pt x="93" y="177"/>
                      <a:pt x="99" y="183"/>
                      <a:pt x="99" y="183"/>
                    </a:cubicBezTo>
                    <a:cubicBezTo>
                      <a:pt x="106" y="188"/>
                      <a:pt x="104" y="173"/>
                      <a:pt x="104" y="173"/>
                    </a:cubicBezTo>
                    <a:cubicBezTo>
                      <a:pt x="104" y="155"/>
                      <a:pt x="114" y="167"/>
                      <a:pt x="114" y="167"/>
                    </a:cubicBezTo>
                    <a:cubicBezTo>
                      <a:pt x="137" y="158"/>
                      <a:pt x="144" y="166"/>
                      <a:pt x="144" y="166"/>
                    </a:cubicBezTo>
                    <a:cubicBezTo>
                      <a:pt x="167" y="166"/>
                      <a:pt x="169" y="153"/>
                      <a:pt x="169" y="153"/>
                    </a:cubicBezTo>
                    <a:cubicBezTo>
                      <a:pt x="170" y="144"/>
                      <a:pt x="187" y="135"/>
                      <a:pt x="187" y="135"/>
                    </a:cubicBezTo>
                    <a:cubicBezTo>
                      <a:pt x="187" y="126"/>
                      <a:pt x="188" y="118"/>
                      <a:pt x="188" y="118"/>
                    </a:cubicBezTo>
                    <a:cubicBezTo>
                      <a:pt x="195" y="107"/>
                      <a:pt x="194" y="90"/>
                      <a:pt x="194" y="90"/>
                    </a:cubicBezTo>
                    <a:cubicBezTo>
                      <a:pt x="194" y="63"/>
                      <a:pt x="209" y="70"/>
                      <a:pt x="209" y="70"/>
                    </a:cubicBezTo>
                    <a:cubicBezTo>
                      <a:pt x="217" y="58"/>
                      <a:pt x="227" y="69"/>
                      <a:pt x="227" y="69"/>
                    </a:cubicBezTo>
                    <a:cubicBezTo>
                      <a:pt x="234" y="76"/>
                      <a:pt x="251" y="72"/>
                      <a:pt x="251" y="72"/>
                    </a:cubicBezTo>
                    <a:cubicBezTo>
                      <a:pt x="266" y="74"/>
                      <a:pt x="268" y="46"/>
                      <a:pt x="268" y="46"/>
                    </a:cubicBezTo>
                    <a:cubicBezTo>
                      <a:pt x="279" y="43"/>
                      <a:pt x="273" y="30"/>
                      <a:pt x="273" y="30"/>
                    </a:cubicBezTo>
                    <a:cubicBezTo>
                      <a:pt x="274" y="22"/>
                      <a:pt x="287" y="22"/>
                      <a:pt x="284" y="17"/>
                    </a:cubicBezTo>
                    <a:cubicBezTo>
                      <a:pt x="282" y="5"/>
                      <a:pt x="301" y="0"/>
                      <a:pt x="301" y="0"/>
                    </a:cubicBezTo>
                    <a:cubicBezTo>
                      <a:pt x="302" y="15"/>
                      <a:pt x="316" y="16"/>
                      <a:pt x="316" y="16"/>
                    </a:cubicBezTo>
                    <a:cubicBezTo>
                      <a:pt x="316" y="38"/>
                      <a:pt x="325" y="36"/>
                      <a:pt x="325" y="36"/>
                    </a:cubicBezTo>
                    <a:cubicBezTo>
                      <a:pt x="333" y="36"/>
                      <a:pt x="335" y="47"/>
                      <a:pt x="335" y="47"/>
                    </a:cubicBezTo>
                    <a:cubicBezTo>
                      <a:pt x="341" y="52"/>
                      <a:pt x="337" y="65"/>
                      <a:pt x="337" y="65"/>
                    </a:cubicBezTo>
                    <a:cubicBezTo>
                      <a:pt x="324" y="67"/>
                      <a:pt x="344" y="80"/>
                      <a:pt x="344" y="80"/>
                    </a:cubicBezTo>
                    <a:cubicBezTo>
                      <a:pt x="359" y="86"/>
                      <a:pt x="359" y="98"/>
                      <a:pt x="359" y="98"/>
                    </a:cubicBezTo>
                    <a:cubicBezTo>
                      <a:pt x="376" y="100"/>
                      <a:pt x="374" y="111"/>
                      <a:pt x="374" y="111"/>
                    </a:cubicBezTo>
                    <a:cubicBezTo>
                      <a:pt x="388" y="124"/>
                      <a:pt x="375" y="125"/>
                      <a:pt x="375" y="125"/>
                    </a:cubicBezTo>
                    <a:cubicBezTo>
                      <a:pt x="366" y="136"/>
                      <a:pt x="376" y="147"/>
                      <a:pt x="376" y="147"/>
                    </a:cubicBezTo>
                    <a:cubicBezTo>
                      <a:pt x="386" y="159"/>
                      <a:pt x="385" y="177"/>
                      <a:pt x="385" y="177"/>
                    </a:cubicBezTo>
                    <a:cubicBezTo>
                      <a:pt x="385" y="177"/>
                      <a:pt x="385" y="177"/>
                      <a:pt x="385" y="177"/>
                    </a:cubicBezTo>
                    <a:close/>
                  </a:path>
                </a:pathLst>
              </a:custGeom>
              <a:solidFill>
                <a:srgbClr val="EEBB0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36" name="Freeform 40"/>
              <p:cNvSpPr>
                <a:spLocks/>
              </p:cNvSpPr>
              <p:nvPr/>
            </p:nvSpPr>
            <p:spPr bwMode="auto">
              <a:xfrm>
                <a:off x="2896348" y="3598004"/>
                <a:ext cx="1421355" cy="710124"/>
              </a:xfrm>
              <a:custGeom>
                <a:avLst/>
                <a:gdLst/>
                <a:ahLst/>
                <a:cxnLst>
                  <a:cxn ang="0">
                    <a:pos x="375" y="231"/>
                  </a:cxn>
                  <a:cxn ang="0">
                    <a:pos x="328" y="267"/>
                  </a:cxn>
                  <a:cxn ang="0">
                    <a:pos x="289" y="271"/>
                  </a:cxn>
                  <a:cxn ang="0">
                    <a:pos x="263" y="256"/>
                  </a:cxn>
                  <a:cxn ang="0">
                    <a:pos x="246" y="225"/>
                  </a:cxn>
                  <a:cxn ang="0">
                    <a:pos x="218" y="219"/>
                  </a:cxn>
                  <a:cxn ang="0">
                    <a:pos x="181" y="201"/>
                  </a:cxn>
                  <a:cxn ang="0">
                    <a:pos x="119" y="200"/>
                  </a:cxn>
                  <a:cxn ang="0">
                    <a:pos x="74" y="204"/>
                  </a:cxn>
                  <a:cxn ang="0">
                    <a:pos x="26" y="190"/>
                  </a:cxn>
                  <a:cxn ang="0">
                    <a:pos x="10" y="166"/>
                  </a:cxn>
                  <a:cxn ang="0">
                    <a:pos x="41" y="154"/>
                  </a:cxn>
                  <a:cxn ang="0">
                    <a:pos x="97" y="129"/>
                  </a:cxn>
                  <a:cxn ang="0">
                    <a:pos x="109" y="109"/>
                  </a:cxn>
                  <a:cxn ang="0">
                    <a:pos x="160" y="96"/>
                  </a:cxn>
                  <a:cxn ang="0">
                    <a:pos x="191" y="97"/>
                  </a:cxn>
                  <a:cxn ang="0">
                    <a:pos x="220" y="75"/>
                  </a:cxn>
                  <a:cxn ang="0">
                    <a:pos x="257" y="66"/>
                  </a:cxn>
                  <a:cxn ang="0">
                    <a:pos x="283" y="65"/>
                  </a:cxn>
                  <a:cxn ang="0">
                    <a:pos x="301" y="44"/>
                  </a:cxn>
                  <a:cxn ang="0">
                    <a:pos x="324" y="40"/>
                  </a:cxn>
                  <a:cxn ang="0">
                    <a:pos x="354" y="53"/>
                  </a:cxn>
                  <a:cxn ang="0">
                    <a:pos x="371" y="29"/>
                  </a:cxn>
                  <a:cxn ang="0">
                    <a:pos x="379" y="9"/>
                  </a:cxn>
                  <a:cxn ang="0">
                    <a:pos x="419" y="33"/>
                  </a:cxn>
                  <a:cxn ang="0">
                    <a:pos x="451" y="58"/>
                  </a:cxn>
                  <a:cxn ang="0">
                    <a:pos x="502" y="67"/>
                  </a:cxn>
                  <a:cxn ang="0">
                    <a:pos x="492" y="84"/>
                  </a:cxn>
                  <a:cxn ang="0">
                    <a:pos x="472" y="81"/>
                  </a:cxn>
                  <a:cxn ang="0">
                    <a:pos x="491" y="102"/>
                  </a:cxn>
                  <a:cxn ang="0">
                    <a:pos x="478" y="117"/>
                  </a:cxn>
                  <a:cxn ang="0">
                    <a:pos x="461" y="123"/>
                  </a:cxn>
                  <a:cxn ang="0">
                    <a:pos x="458" y="164"/>
                  </a:cxn>
                  <a:cxn ang="0">
                    <a:pos x="427" y="209"/>
                  </a:cxn>
                  <a:cxn ang="0">
                    <a:pos x="403" y="227"/>
                  </a:cxn>
                </a:cxnLst>
                <a:rect l="0" t="0" r="r" b="b"/>
                <a:pathLst>
                  <a:path w="502" h="285">
                    <a:moveTo>
                      <a:pt x="403" y="227"/>
                    </a:moveTo>
                    <a:cubicBezTo>
                      <a:pt x="385" y="209"/>
                      <a:pt x="389" y="236"/>
                      <a:pt x="375" y="231"/>
                    </a:cubicBezTo>
                    <a:cubicBezTo>
                      <a:pt x="375" y="231"/>
                      <a:pt x="358" y="223"/>
                      <a:pt x="358" y="249"/>
                    </a:cubicBezTo>
                    <a:cubicBezTo>
                      <a:pt x="358" y="249"/>
                      <a:pt x="365" y="273"/>
                      <a:pt x="328" y="267"/>
                    </a:cubicBezTo>
                    <a:cubicBezTo>
                      <a:pt x="328" y="267"/>
                      <a:pt x="310" y="253"/>
                      <a:pt x="304" y="267"/>
                    </a:cubicBezTo>
                    <a:cubicBezTo>
                      <a:pt x="304" y="267"/>
                      <a:pt x="292" y="285"/>
                      <a:pt x="289" y="271"/>
                    </a:cubicBezTo>
                    <a:cubicBezTo>
                      <a:pt x="289" y="271"/>
                      <a:pt x="282" y="257"/>
                      <a:pt x="272" y="267"/>
                    </a:cubicBezTo>
                    <a:cubicBezTo>
                      <a:pt x="272" y="267"/>
                      <a:pt x="255" y="273"/>
                      <a:pt x="263" y="256"/>
                    </a:cubicBezTo>
                    <a:cubicBezTo>
                      <a:pt x="263" y="256"/>
                      <a:pt x="263" y="244"/>
                      <a:pt x="253" y="240"/>
                    </a:cubicBezTo>
                    <a:cubicBezTo>
                      <a:pt x="253" y="240"/>
                      <a:pt x="235" y="228"/>
                      <a:pt x="246" y="225"/>
                    </a:cubicBezTo>
                    <a:cubicBezTo>
                      <a:pt x="246" y="225"/>
                      <a:pt x="259" y="214"/>
                      <a:pt x="237" y="212"/>
                    </a:cubicBezTo>
                    <a:cubicBezTo>
                      <a:pt x="237" y="212"/>
                      <a:pt x="232" y="204"/>
                      <a:pt x="218" y="219"/>
                    </a:cubicBezTo>
                    <a:cubicBezTo>
                      <a:pt x="218" y="219"/>
                      <a:pt x="223" y="206"/>
                      <a:pt x="202" y="209"/>
                    </a:cubicBezTo>
                    <a:cubicBezTo>
                      <a:pt x="202" y="209"/>
                      <a:pt x="184" y="214"/>
                      <a:pt x="181" y="201"/>
                    </a:cubicBezTo>
                    <a:cubicBezTo>
                      <a:pt x="181" y="201"/>
                      <a:pt x="173" y="181"/>
                      <a:pt x="151" y="197"/>
                    </a:cubicBezTo>
                    <a:cubicBezTo>
                      <a:pt x="142" y="210"/>
                      <a:pt x="143" y="193"/>
                      <a:pt x="119" y="200"/>
                    </a:cubicBezTo>
                    <a:cubicBezTo>
                      <a:pt x="112" y="199"/>
                      <a:pt x="109" y="208"/>
                      <a:pt x="103" y="201"/>
                    </a:cubicBezTo>
                    <a:cubicBezTo>
                      <a:pt x="103" y="201"/>
                      <a:pt x="84" y="192"/>
                      <a:pt x="74" y="204"/>
                    </a:cubicBezTo>
                    <a:cubicBezTo>
                      <a:pt x="74" y="204"/>
                      <a:pt x="63" y="207"/>
                      <a:pt x="54" y="204"/>
                    </a:cubicBezTo>
                    <a:cubicBezTo>
                      <a:pt x="44" y="208"/>
                      <a:pt x="38" y="190"/>
                      <a:pt x="26" y="190"/>
                    </a:cubicBezTo>
                    <a:cubicBezTo>
                      <a:pt x="26" y="190"/>
                      <a:pt x="23" y="197"/>
                      <a:pt x="11" y="194"/>
                    </a:cubicBezTo>
                    <a:cubicBezTo>
                      <a:pt x="0" y="181"/>
                      <a:pt x="10" y="166"/>
                      <a:pt x="10" y="166"/>
                    </a:cubicBezTo>
                    <a:cubicBezTo>
                      <a:pt x="16" y="150"/>
                      <a:pt x="23" y="156"/>
                      <a:pt x="23" y="156"/>
                    </a:cubicBezTo>
                    <a:cubicBezTo>
                      <a:pt x="31" y="169"/>
                      <a:pt x="41" y="154"/>
                      <a:pt x="41" y="154"/>
                    </a:cubicBezTo>
                    <a:cubicBezTo>
                      <a:pt x="57" y="135"/>
                      <a:pt x="63" y="148"/>
                      <a:pt x="69" y="143"/>
                    </a:cubicBezTo>
                    <a:cubicBezTo>
                      <a:pt x="84" y="125"/>
                      <a:pt x="97" y="129"/>
                      <a:pt x="97" y="129"/>
                    </a:cubicBezTo>
                    <a:cubicBezTo>
                      <a:pt x="109" y="132"/>
                      <a:pt x="104" y="123"/>
                      <a:pt x="104" y="123"/>
                    </a:cubicBezTo>
                    <a:cubicBezTo>
                      <a:pt x="100" y="119"/>
                      <a:pt x="109" y="109"/>
                      <a:pt x="109" y="109"/>
                    </a:cubicBezTo>
                    <a:cubicBezTo>
                      <a:pt x="110" y="91"/>
                      <a:pt x="121" y="95"/>
                      <a:pt x="121" y="95"/>
                    </a:cubicBezTo>
                    <a:cubicBezTo>
                      <a:pt x="143" y="91"/>
                      <a:pt x="160" y="96"/>
                      <a:pt x="160" y="96"/>
                    </a:cubicBezTo>
                    <a:cubicBezTo>
                      <a:pt x="164" y="104"/>
                      <a:pt x="174" y="96"/>
                      <a:pt x="174" y="96"/>
                    </a:cubicBezTo>
                    <a:cubicBezTo>
                      <a:pt x="187" y="88"/>
                      <a:pt x="191" y="97"/>
                      <a:pt x="191" y="97"/>
                    </a:cubicBezTo>
                    <a:cubicBezTo>
                      <a:pt x="194" y="105"/>
                      <a:pt x="212" y="93"/>
                      <a:pt x="212" y="93"/>
                    </a:cubicBezTo>
                    <a:cubicBezTo>
                      <a:pt x="211" y="84"/>
                      <a:pt x="220" y="75"/>
                      <a:pt x="220" y="75"/>
                    </a:cubicBezTo>
                    <a:cubicBezTo>
                      <a:pt x="214" y="57"/>
                      <a:pt x="232" y="63"/>
                      <a:pt x="232" y="63"/>
                    </a:cubicBezTo>
                    <a:cubicBezTo>
                      <a:pt x="242" y="57"/>
                      <a:pt x="257" y="66"/>
                      <a:pt x="257" y="66"/>
                    </a:cubicBezTo>
                    <a:cubicBezTo>
                      <a:pt x="261" y="82"/>
                      <a:pt x="270" y="67"/>
                      <a:pt x="270" y="67"/>
                    </a:cubicBezTo>
                    <a:cubicBezTo>
                      <a:pt x="278" y="55"/>
                      <a:pt x="283" y="65"/>
                      <a:pt x="283" y="65"/>
                    </a:cubicBezTo>
                    <a:cubicBezTo>
                      <a:pt x="295" y="71"/>
                      <a:pt x="293" y="56"/>
                      <a:pt x="293" y="56"/>
                    </a:cubicBezTo>
                    <a:cubicBezTo>
                      <a:pt x="292" y="46"/>
                      <a:pt x="301" y="44"/>
                      <a:pt x="301" y="44"/>
                    </a:cubicBezTo>
                    <a:cubicBezTo>
                      <a:pt x="307" y="40"/>
                      <a:pt x="314" y="32"/>
                      <a:pt x="314" y="32"/>
                    </a:cubicBezTo>
                    <a:cubicBezTo>
                      <a:pt x="317" y="40"/>
                      <a:pt x="324" y="40"/>
                      <a:pt x="324" y="40"/>
                    </a:cubicBezTo>
                    <a:cubicBezTo>
                      <a:pt x="336" y="47"/>
                      <a:pt x="337" y="58"/>
                      <a:pt x="337" y="58"/>
                    </a:cubicBezTo>
                    <a:cubicBezTo>
                      <a:pt x="347" y="62"/>
                      <a:pt x="354" y="53"/>
                      <a:pt x="354" y="53"/>
                    </a:cubicBezTo>
                    <a:cubicBezTo>
                      <a:pt x="362" y="49"/>
                      <a:pt x="362" y="61"/>
                      <a:pt x="371" y="51"/>
                    </a:cubicBezTo>
                    <a:cubicBezTo>
                      <a:pt x="378" y="43"/>
                      <a:pt x="371" y="29"/>
                      <a:pt x="371" y="29"/>
                    </a:cubicBezTo>
                    <a:cubicBezTo>
                      <a:pt x="367" y="14"/>
                      <a:pt x="356" y="18"/>
                      <a:pt x="367" y="0"/>
                    </a:cubicBezTo>
                    <a:cubicBezTo>
                      <a:pt x="375" y="2"/>
                      <a:pt x="379" y="9"/>
                      <a:pt x="379" y="9"/>
                    </a:cubicBezTo>
                    <a:cubicBezTo>
                      <a:pt x="403" y="10"/>
                      <a:pt x="409" y="20"/>
                      <a:pt x="409" y="20"/>
                    </a:cubicBezTo>
                    <a:cubicBezTo>
                      <a:pt x="415" y="26"/>
                      <a:pt x="419" y="33"/>
                      <a:pt x="419" y="33"/>
                    </a:cubicBezTo>
                    <a:cubicBezTo>
                      <a:pt x="435" y="33"/>
                      <a:pt x="433" y="44"/>
                      <a:pt x="433" y="44"/>
                    </a:cubicBezTo>
                    <a:cubicBezTo>
                      <a:pt x="437" y="64"/>
                      <a:pt x="445" y="52"/>
                      <a:pt x="451" y="58"/>
                    </a:cubicBezTo>
                    <a:cubicBezTo>
                      <a:pt x="458" y="62"/>
                      <a:pt x="468" y="59"/>
                      <a:pt x="468" y="59"/>
                    </a:cubicBezTo>
                    <a:cubicBezTo>
                      <a:pt x="498" y="54"/>
                      <a:pt x="502" y="67"/>
                      <a:pt x="502" y="67"/>
                    </a:cubicBezTo>
                    <a:cubicBezTo>
                      <a:pt x="502" y="67"/>
                      <a:pt x="502" y="67"/>
                      <a:pt x="502" y="67"/>
                    </a:cubicBezTo>
                    <a:cubicBezTo>
                      <a:pt x="492" y="84"/>
                      <a:pt x="492" y="84"/>
                      <a:pt x="492" y="84"/>
                    </a:cubicBezTo>
                    <a:cubicBezTo>
                      <a:pt x="492" y="84"/>
                      <a:pt x="492" y="84"/>
                      <a:pt x="492" y="84"/>
                    </a:cubicBezTo>
                    <a:cubicBezTo>
                      <a:pt x="492" y="84"/>
                      <a:pt x="488" y="74"/>
                      <a:pt x="472" y="81"/>
                    </a:cubicBezTo>
                    <a:cubicBezTo>
                      <a:pt x="472" y="81"/>
                      <a:pt x="445" y="81"/>
                      <a:pt x="472" y="96"/>
                    </a:cubicBezTo>
                    <a:cubicBezTo>
                      <a:pt x="472" y="96"/>
                      <a:pt x="488" y="95"/>
                      <a:pt x="491" y="102"/>
                    </a:cubicBezTo>
                    <a:cubicBezTo>
                      <a:pt x="491" y="102"/>
                      <a:pt x="490" y="110"/>
                      <a:pt x="478" y="117"/>
                    </a:cubicBezTo>
                    <a:cubicBezTo>
                      <a:pt x="478" y="117"/>
                      <a:pt x="478" y="117"/>
                      <a:pt x="478" y="117"/>
                    </a:cubicBezTo>
                    <a:cubicBezTo>
                      <a:pt x="461" y="123"/>
                      <a:pt x="461" y="123"/>
                      <a:pt x="461" y="123"/>
                    </a:cubicBezTo>
                    <a:cubicBezTo>
                      <a:pt x="461" y="123"/>
                      <a:pt x="461" y="123"/>
                      <a:pt x="461" y="123"/>
                    </a:cubicBezTo>
                    <a:cubicBezTo>
                      <a:pt x="461" y="123"/>
                      <a:pt x="445" y="131"/>
                      <a:pt x="454" y="143"/>
                    </a:cubicBezTo>
                    <a:cubicBezTo>
                      <a:pt x="454" y="143"/>
                      <a:pt x="458" y="147"/>
                      <a:pt x="458" y="164"/>
                    </a:cubicBezTo>
                    <a:cubicBezTo>
                      <a:pt x="458" y="164"/>
                      <a:pt x="467" y="182"/>
                      <a:pt x="444" y="194"/>
                    </a:cubicBezTo>
                    <a:cubicBezTo>
                      <a:pt x="444" y="194"/>
                      <a:pt x="429" y="194"/>
                      <a:pt x="427" y="209"/>
                    </a:cubicBezTo>
                    <a:cubicBezTo>
                      <a:pt x="427" y="209"/>
                      <a:pt x="409" y="212"/>
                      <a:pt x="403" y="227"/>
                    </a:cubicBezTo>
                    <a:cubicBezTo>
                      <a:pt x="403" y="227"/>
                      <a:pt x="403" y="227"/>
                      <a:pt x="403" y="227"/>
                    </a:cubicBezTo>
                    <a:close/>
                  </a:path>
                </a:pathLst>
              </a:custGeom>
              <a:solidFill>
                <a:srgbClr val="EEBB0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37" name="Freeform 39"/>
              <p:cNvSpPr>
                <a:spLocks/>
              </p:cNvSpPr>
              <p:nvPr/>
            </p:nvSpPr>
            <p:spPr bwMode="auto">
              <a:xfrm>
                <a:off x="2340393" y="4014127"/>
                <a:ext cx="1132889" cy="1365968"/>
              </a:xfrm>
              <a:custGeom>
                <a:avLst/>
                <a:gdLst/>
                <a:ahLst/>
                <a:cxnLst>
                  <a:cxn ang="0">
                    <a:pos x="117" y="19"/>
                  </a:cxn>
                  <a:cxn ang="0">
                    <a:pos x="156" y="23"/>
                  </a:cxn>
                  <a:cxn ang="0">
                    <a:pos x="195" y="16"/>
                  </a:cxn>
                  <a:cxn ang="0">
                    <a:pos x="223" y="1"/>
                  </a:cxn>
                  <a:cxn ang="0">
                    <a:pos x="269" y="15"/>
                  </a:cxn>
                  <a:cxn ang="0">
                    <a:pos x="264" y="47"/>
                  </a:cxn>
                  <a:cxn ang="0">
                    <a:pos x="281" y="93"/>
                  </a:cxn>
                  <a:cxn ang="0">
                    <a:pos x="331" y="118"/>
                  </a:cxn>
                  <a:cxn ang="0">
                    <a:pos x="337" y="166"/>
                  </a:cxn>
                  <a:cxn ang="0">
                    <a:pos x="368" y="190"/>
                  </a:cxn>
                  <a:cxn ang="0">
                    <a:pos x="373" y="228"/>
                  </a:cxn>
                  <a:cxn ang="0">
                    <a:pos x="366" y="247"/>
                  </a:cxn>
                  <a:cxn ang="0">
                    <a:pos x="380" y="286"/>
                  </a:cxn>
                  <a:cxn ang="0">
                    <a:pos x="336" y="299"/>
                  </a:cxn>
                  <a:cxn ang="0">
                    <a:pos x="317" y="342"/>
                  </a:cxn>
                  <a:cxn ang="0">
                    <a:pos x="296" y="379"/>
                  </a:cxn>
                  <a:cxn ang="0">
                    <a:pos x="283" y="357"/>
                  </a:cxn>
                  <a:cxn ang="0">
                    <a:pos x="272" y="346"/>
                  </a:cxn>
                  <a:cxn ang="0">
                    <a:pos x="251" y="351"/>
                  </a:cxn>
                  <a:cxn ang="0">
                    <a:pos x="265" y="360"/>
                  </a:cxn>
                  <a:cxn ang="0">
                    <a:pos x="280" y="379"/>
                  </a:cxn>
                  <a:cxn ang="0">
                    <a:pos x="278" y="405"/>
                  </a:cxn>
                  <a:cxn ang="0">
                    <a:pos x="248" y="426"/>
                  </a:cxn>
                  <a:cxn ang="0">
                    <a:pos x="234" y="434"/>
                  </a:cxn>
                  <a:cxn ang="0">
                    <a:pos x="206" y="450"/>
                  </a:cxn>
                  <a:cxn ang="0">
                    <a:pos x="191" y="463"/>
                  </a:cxn>
                  <a:cxn ang="0">
                    <a:pos x="190" y="448"/>
                  </a:cxn>
                  <a:cxn ang="0">
                    <a:pos x="187" y="438"/>
                  </a:cxn>
                  <a:cxn ang="0">
                    <a:pos x="183" y="485"/>
                  </a:cxn>
                  <a:cxn ang="0">
                    <a:pos x="199" y="519"/>
                  </a:cxn>
                  <a:cxn ang="0">
                    <a:pos x="180" y="517"/>
                  </a:cxn>
                  <a:cxn ang="0">
                    <a:pos x="119" y="513"/>
                  </a:cxn>
                  <a:cxn ang="0">
                    <a:pos x="91" y="531"/>
                  </a:cxn>
                  <a:cxn ang="0">
                    <a:pos x="80" y="522"/>
                  </a:cxn>
                  <a:cxn ang="0">
                    <a:pos x="47" y="534"/>
                  </a:cxn>
                  <a:cxn ang="0">
                    <a:pos x="7" y="497"/>
                  </a:cxn>
                  <a:cxn ang="0">
                    <a:pos x="19" y="485"/>
                  </a:cxn>
                  <a:cxn ang="0">
                    <a:pos x="42" y="462"/>
                  </a:cxn>
                  <a:cxn ang="0">
                    <a:pos x="64" y="431"/>
                  </a:cxn>
                  <a:cxn ang="0">
                    <a:pos x="89" y="402"/>
                  </a:cxn>
                  <a:cxn ang="0">
                    <a:pos x="103" y="375"/>
                  </a:cxn>
                  <a:cxn ang="0">
                    <a:pos x="97" y="347"/>
                  </a:cxn>
                  <a:cxn ang="0">
                    <a:pos x="108" y="310"/>
                  </a:cxn>
                  <a:cxn ang="0">
                    <a:pos x="135" y="320"/>
                  </a:cxn>
                  <a:cxn ang="0">
                    <a:pos x="150" y="319"/>
                  </a:cxn>
                  <a:cxn ang="0">
                    <a:pos x="178" y="324"/>
                  </a:cxn>
                  <a:cxn ang="0">
                    <a:pos x="210" y="331"/>
                  </a:cxn>
                  <a:cxn ang="0">
                    <a:pos x="248" y="330"/>
                  </a:cxn>
                  <a:cxn ang="0">
                    <a:pos x="219" y="303"/>
                  </a:cxn>
                  <a:cxn ang="0">
                    <a:pos x="226" y="265"/>
                  </a:cxn>
                  <a:cxn ang="0">
                    <a:pos x="183" y="226"/>
                  </a:cxn>
                  <a:cxn ang="0">
                    <a:pos x="185" y="206"/>
                  </a:cxn>
                  <a:cxn ang="0">
                    <a:pos x="174" y="197"/>
                  </a:cxn>
                  <a:cxn ang="0">
                    <a:pos x="172" y="158"/>
                  </a:cxn>
                  <a:cxn ang="0">
                    <a:pos x="132" y="138"/>
                  </a:cxn>
                  <a:cxn ang="0">
                    <a:pos x="135" y="96"/>
                  </a:cxn>
                  <a:cxn ang="0">
                    <a:pos x="138" y="71"/>
                  </a:cxn>
                  <a:cxn ang="0">
                    <a:pos x="120" y="41"/>
                  </a:cxn>
                  <a:cxn ang="0">
                    <a:pos x="101" y="35"/>
                  </a:cxn>
                </a:cxnLst>
                <a:rect l="0" t="0" r="r" b="b"/>
                <a:pathLst>
                  <a:path w="401" h="546">
                    <a:moveTo>
                      <a:pt x="101" y="35"/>
                    </a:moveTo>
                    <a:cubicBezTo>
                      <a:pt x="113" y="32"/>
                      <a:pt x="117" y="19"/>
                      <a:pt x="117" y="19"/>
                    </a:cubicBezTo>
                    <a:cubicBezTo>
                      <a:pt x="120" y="0"/>
                      <a:pt x="128" y="17"/>
                      <a:pt x="128" y="17"/>
                    </a:cubicBezTo>
                    <a:cubicBezTo>
                      <a:pt x="138" y="27"/>
                      <a:pt x="156" y="23"/>
                      <a:pt x="156" y="23"/>
                    </a:cubicBezTo>
                    <a:cubicBezTo>
                      <a:pt x="167" y="13"/>
                      <a:pt x="174" y="24"/>
                      <a:pt x="174" y="24"/>
                    </a:cubicBezTo>
                    <a:cubicBezTo>
                      <a:pt x="195" y="27"/>
                      <a:pt x="195" y="16"/>
                      <a:pt x="195" y="16"/>
                    </a:cubicBezTo>
                    <a:cubicBezTo>
                      <a:pt x="193" y="5"/>
                      <a:pt x="208" y="5"/>
                      <a:pt x="208" y="5"/>
                    </a:cubicBezTo>
                    <a:cubicBezTo>
                      <a:pt x="220" y="8"/>
                      <a:pt x="223" y="1"/>
                      <a:pt x="223" y="1"/>
                    </a:cubicBezTo>
                    <a:cubicBezTo>
                      <a:pt x="235" y="1"/>
                      <a:pt x="241" y="19"/>
                      <a:pt x="251" y="15"/>
                    </a:cubicBezTo>
                    <a:cubicBezTo>
                      <a:pt x="260" y="18"/>
                      <a:pt x="269" y="15"/>
                      <a:pt x="269" y="15"/>
                    </a:cubicBezTo>
                    <a:cubicBezTo>
                      <a:pt x="274" y="24"/>
                      <a:pt x="265" y="23"/>
                      <a:pt x="265" y="23"/>
                    </a:cubicBezTo>
                    <a:cubicBezTo>
                      <a:pt x="252" y="32"/>
                      <a:pt x="264" y="47"/>
                      <a:pt x="264" y="47"/>
                    </a:cubicBezTo>
                    <a:cubicBezTo>
                      <a:pt x="274" y="53"/>
                      <a:pt x="272" y="77"/>
                      <a:pt x="272" y="77"/>
                    </a:cubicBezTo>
                    <a:cubicBezTo>
                      <a:pt x="282" y="76"/>
                      <a:pt x="281" y="93"/>
                      <a:pt x="281" y="93"/>
                    </a:cubicBezTo>
                    <a:cubicBezTo>
                      <a:pt x="278" y="118"/>
                      <a:pt x="304" y="110"/>
                      <a:pt x="304" y="110"/>
                    </a:cubicBezTo>
                    <a:cubicBezTo>
                      <a:pt x="321" y="112"/>
                      <a:pt x="331" y="104"/>
                      <a:pt x="331" y="118"/>
                    </a:cubicBezTo>
                    <a:cubicBezTo>
                      <a:pt x="344" y="133"/>
                      <a:pt x="333" y="142"/>
                      <a:pt x="333" y="142"/>
                    </a:cubicBezTo>
                    <a:cubicBezTo>
                      <a:pt x="332" y="152"/>
                      <a:pt x="337" y="166"/>
                      <a:pt x="337" y="166"/>
                    </a:cubicBezTo>
                    <a:cubicBezTo>
                      <a:pt x="339" y="178"/>
                      <a:pt x="359" y="176"/>
                      <a:pt x="359" y="176"/>
                    </a:cubicBezTo>
                    <a:cubicBezTo>
                      <a:pt x="384" y="172"/>
                      <a:pt x="366" y="187"/>
                      <a:pt x="368" y="190"/>
                    </a:cubicBezTo>
                    <a:cubicBezTo>
                      <a:pt x="369" y="196"/>
                      <a:pt x="387" y="196"/>
                      <a:pt x="388" y="203"/>
                    </a:cubicBezTo>
                    <a:cubicBezTo>
                      <a:pt x="401" y="225"/>
                      <a:pt x="373" y="228"/>
                      <a:pt x="373" y="228"/>
                    </a:cubicBezTo>
                    <a:cubicBezTo>
                      <a:pt x="353" y="228"/>
                      <a:pt x="359" y="236"/>
                      <a:pt x="359" y="236"/>
                    </a:cubicBezTo>
                    <a:cubicBezTo>
                      <a:pt x="356" y="243"/>
                      <a:pt x="366" y="247"/>
                      <a:pt x="366" y="247"/>
                    </a:cubicBezTo>
                    <a:cubicBezTo>
                      <a:pt x="376" y="255"/>
                      <a:pt x="373" y="269"/>
                      <a:pt x="373" y="269"/>
                    </a:cubicBezTo>
                    <a:cubicBezTo>
                      <a:pt x="370" y="286"/>
                      <a:pt x="380" y="286"/>
                      <a:pt x="380" y="286"/>
                    </a:cubicBezTo>
                    <a:cubicBezTo>
                      <a:pt x="373" y="293"/>
                      <a:pt x="360" y="294"/>
                      <a:pt x="360" y="294"/>
                    </a:cubicBezTo>
                    <a:cubicBezTo>
                      <a:pt x="355" y="298"/>
                      <a:pt x="336" y="299"/>
                      <a:pt x="336" y="299"/>
                    </a:cubicBezTo>
                    <a:cubicBezTo>
                      <a:pt x="326" y="297"/>
                      <a:pt x="333" y="319"/>
                      <a:pt x="333" y="319"/>
                    </a:cubicBezTo>
                    <a:cubicBezTo>
                      <a:pt x="331" y="336"/>
                      <a:pt x="317" y="342"/>
                      <a:pt x="317" y="342"/>
                    </a:cubicBezTo>
                    <a:cubicBezTo>
                      <a:pt x="319" y="353"/>
                      <a:pt x="309" y="361"/>
                      <a:pt x="309" y="361"/>
                    </a:cubicBezTo>
                    <a:cubicBezTo>
                      <a:pt x="303" y="378"/>
                      <a:pt x="296" y="379"/>
                      <a:pt x="296" y="379"/>
                    </a:cubicBezTo>
                    <a:cubicBezTo>
                      <a:pt x="284" y="371"/>
                      <a:pt x="283" y="357"/>
                      <a:pt x="283" y="357"/>
                    </a:cubicBezTo>
                    <a:cubicBezTo>
                      <a:pt x="283" y="357"/>
                      <a:pt x="283" y="357"/>
                      <a:pt x="283" y="357"/>
                    </a:cubicBezTo>
                    <a:cubicBezTo>
                      <a:pt x="272" y="346"/>
                      <a:pt x="272" y="346"/>
                      <a:pt x="272" y="346"/>
                    </a:cubicBezTo>
                    <a:cubicBezTo>
                      <a:pt x="272" y="346"/>
                      <a:pt x="272" y="346"/>
                      <a:pt x="272" y="346"/>
                    </a:cubicBezTo>
                    <a:cubicBezTo>
                      <a:pt x="271" y="337"/>
                      <a:pt x="260" y="329"/>
                      <a:pt x="250" y="337"/>
                    </a:cubicBezTo>
                    <a:cubicBezTo>
                      <a:pt x="238" y="346"/>
                      <a:pt x="251" y="351"/>
                      <a:pt x="251" y="351"/>
                    </a:cubicBezTo>
                    <a:cubicBezTo>
                      <a:pt x="251" y="351"/>
                      <a:pt x="251" y="351"/>
                      <a:pt x="251" y="351"/>
                    </a:cubicBezTo>
                    <a:cubicBezTo>
                      <a:pt x="265" y="360"/>
                      <a:pt x="265" y="360"/>
                      <a:pt x="265" y="360"/>
                    </a:cubicBezTo>
                    <a:cubicBezTo>
                      <a:pt x="265" y="360"/>
                      <a:pt x="265" y="360"/>
                      <a:pt x="265" y="360"/>
                    </a:cubicBezTo>
                    <a:cubicBezTo>
                      <a:pt x="278" y="366"/>
                      <a:pt x="280" y="379"/>
                      <a:pt x="280" y="379"/>
                    </a:cubicBezTo>
                    <a:cubicBezTo>
                      <a:pt x="293" y="397"/>
                      <a:pt x="278" y="405"/>
                      <a:pt x="278" y="405"/>
                    </a:cubicBezTo>
                    <a:cubicBezTo>
                      <a:pt x="278" y="405"/>
                      <a:pt x="278" y="405"/>
                      <a:pt x="278" y="405"/>
                    </a:cubicBezTo>
                    <a:cubicBezTo>
                      <a:pt x="248" y="437"/>
                      <a:pt x="248" y="437"/>
                      <a:pt x="248" y="437"/>
                    </a:cubicBezTo>
                    <a:cubicBezTo>
                      <a:pt x="248" y="426"/>
                      <a:pt x="248" y="426"/>
                      <a:pt x="248" y="426"/>
                    </a:cubicBezTo>
                    <a:cubicBezTo>
                      <a:pt x="234" y="434"/>
                      <a:pt x="234" y="434"/>
                      <a:pt x="234" y="434"/>
                    </a:cubicBezTo>
                    <a:cubicBezTo>
                      <a:pt x="234" y="434"/>
                      <a:pt x="234" y="434"/>
                      <a:pt x="234" y="434"/>
                    </a:cubicBezTo>
                    <a:cubicBezTo>
                      <a:pt x="219" y="434"/>
                      <a:pt x="220" y="448"/>
                      <a:pt x="220" y="448"/>
                    </a:cubicBezTo>
                    <a:cubicBezTo>
                      <a:pt x="216" y="453"/>
                      <a:pt x="206" y="450"/>
                      <a:pt x="206" y="450"/>
                    </a:cubicBezTo>
                    <a:cubicBezTo>
                      <a:pt x="203" y="456"/>
                      <a:pt x="214" y="457"/>
                      <a:pt x="210" y="466"/>
                    </a:cubicBezTo>
                    <a:cubicBezTo>
                      <a:pt x="199" y="475"/>
                      <a:pt x="191" y="463"/>
                      <a:pt x="191" y="463"/>
                    </a:cubicBezTo>
                    <a:cubicBezTo>
                      <a:pt x="191" y="463"/>
                      <a:pt x="191" y="463"/>
                      <a:pt x="191" y="463"/>
                    </a:cubicBezTo>
                    <a:cubicBezTo>
                      <a:pt x="190" y="448"/>
                      <a:pt x="190" y="448"/>
                      <a:pt x="190" y="448"/>
                    </a:cubicBezTo>
                    <a:cubicBezTo>
                      <a:pt x="187" y="438"/>
                      <a:pt x="187" y="438"/>
                      <a:pt x="187" y="438"/>
                    </a:cubicBezTo>
                    <a:cubicBezTo>
                      <a:pt x="187" y="438"/>
                      <a:pt x="187" y="438"/>
                      <a:pt x="187" y="438"/>
                    </a:cubicBezTo>
                    <a:cubicBezTo>
                      <a:pt x="179" y="443"/>
                      <a:pt x="183" y="458"/>
                      <a:pt x="183" y="458"/>
                    </a:cubicBezTo>
                    <a:cubicBezTo>
                      <a:pt x="175" y="474"/>
                      <a:pt x="183" y="485"/>
                      <a:pt x="183" y="485"/>
                    </a:cubicBezTo>
                    <a:cubicBezTo>
                      <a:pt x="179" y="505"/>
                      <a:pt x="189" y="500"/>
                      <a:pt x="189" y="500"/>
                    </a:cubicBezTo>
                    <a:cubicBezTo>
                      <a:pt x="201" y="498"/>
                      <a:pt x="199" y="519"/>
                      <a:pt x="199" y="519"/>
                    </a:cubicBezTo>
                    <a:cubicBezTo>
                      <a:pt x="197" y="544"/>
                      <a:pt x="185" y="544"/>
                      <a:pt x="185" y="544"/>
                    </a:cubicBezTo>
                    <a:cubicBezTo>
                      <a:pt x="185" y="544"/>
                      <a:pt x="190" y="525"/>
                      <a:pt x="180" y="517"/>
                    </a:cubicBezTo>
                    <a:cubicBezTo>
                      <a:pt x="180" y="517"/>
                      <a:pt x="179" y="506"/>
                      <a:pt x="158" y="503"/>
                    </a:cubicBezTo>
                    <a:cubicBezTo>
                      <a:pt x="158" y="503"/>
                      <a:pt x="131" y="498"/>
                      <a:pt x="119" y="513"/>
                    </a:cubicBezTo>
                    <a:cubicBezTo>
                      <a:pt x="119" y="513"/>
                      <a:pt x="98" y="514"/>
                      <a:pt x="91" y="531"/>
                    </a:cubicBezTo>
                    <a:cubicBezTo>
                      <a:pt x="91" y="531"/>
                      <a:pt x="91" y="531"/>
                      <a:pt x="91" y="531"/>
                    </a:cubicBezTo>
                    <a:cubicBezTo>
                      <a:pt x="80" y="522"/>
                      <a:pt x="80" y="522"/>
                      <a:pt x="80" y="522"/>
                    </a:cubicBezTo>
                    <a:cubicBezTo>
                      <a:pt x="80" y="522"/>
                      <a:pt x="80" y="522"/>
                      <a:pt x="80" y="522"/>
                    </a:cubicBezTo>
                    <a:cubicBezTo>
                      <a:pt x="80" y="522"/>
                      <a:pt x="69" y="525"/>
                      <a:pt x="73" y="532"/>
                    </a:cubicBezTo>
                    <a:cubicBezTo>
                      <a:pt x="73" y="532"/>
                      <a:pt x="73" y="546"/>
                      <a:pt x="47" y="534"/>
                    </a:cubicBezTo>
                    <a:cubicBezTo>
                      <a:pt x="36" y="522"/>
                      <a:pt x="25" y="529"/>
                      <a:pt x="18" y="519"/>
                    </a:cubicBezTo>
                    <a:cubicBezTo>
                      <a:pt x="18" y="519"/>
                      <a:pt x="7" y="514"/>
                      <a:pt x="7" y="497"/>
                    </a:cubicBezTo>
                    <a:cubicBezTo>
                      <a:pt x="7" y="497"/>
                      <a:pt x="1" y="498"/>
                      <a:pt x="0" y="492"/>
                    </a:cubicBezTo>
                    <a:cubicBezTo>
                      <a:pt x="0" y="492"/>
                      <a:pt x="8" y="477"/>
                      <a:pt x="19" y="485"/>
                    </a:cubicBezTo>
                    <a:cubicBezTo>
                      <a:pt x="19" y="485"/>
                      <a:pt x="25" y="481"/>
                      <a:pt x="33" y="485"/>
                    </a:cubicBezTo>
                    <a:cubicBezTo>
                      <a:pt x="33" y="485"/>
                      <a:pt x="47" y="489"/>
                      <a:pt x="42" y="462"/>
                    </a:cubicBezTo>
                    <a:cubicBezTo>
                      <a:pt x="42" y="462"/>
                      <a:pt x="27" y="459"/>
                      <a:pt x="51" y="444"/>
                    </a:cubicBezTo>
                    <a:cubicBezTo>
                      <a:pt x="51" y="444"/>
                      <a:pt x="63" y="440"/>
                      <a:pt x="64" y="431"/>
                    </a:cubicBezTo>
                    <a:cubicBezTo>
                      <a:pt x="64" y="431"/>
                      <a:pt x="76" y="434"/>
                      <a:pt x="73" y="417"/>
                    </a:cubicBezTo>
                    <a:cubicBezTo>
                      <a:pt x="73" y="417"/>
                      <a:pt x="65" y="404"/>
                      <a:pt x="89" y="402"/>
                    </a:cubicBezTo>
                    <a:cubicBezTo>
                      <a:pt x="89" y="402"/>
                      <a:pt x="102" y="401"/>
                      <a:pt x="100" y="390"/>
                    </a:cubicBezTo>
                    <a:cubicBezTo>
                      <a:pt x="100" y="390"/>
                      <a:pt x="93" y="382"/>
                      <a:pt x="103" y="375"/>
                    </a:cubicBezTo>
                    <a:cubicBezTo>
                      <a:pt x="103" y="375"/>
                      <a:pt x="117" y="366"/>
                      <a:pt x="103" y="358"/>
                    </a:cubicBezTo>
                    <a:cubicBezTo>
                      <a:pt x="103" y="358"/>
                      <a:pt x="97" y="357"/>
                      <a:pt x="97" y="347"/>
                    </a:cubicBezTo>
                    <a:cubicBezTo>
                      <a:pt x="97" y="347"/>
                      <a:pt x="105" y="342"/>
                      <a:pt x="97" y="330"/>
                    </a:cubicBezTo>
                    <a:cubicBezTo>
                      <a:pt x="97" y="330"/>
                      <a:pt x="93" y="319"/>
                      <a:pt x="108" y="310"/>
                    </a:cubicBezTo>
                    <a:cubicBezTo>
                      <a:pt x="108" y="310"/>
                      <a:pt x="118" y="310"/>
                      <a:pt x="124" y="303"/>
                    </a:cubicBezTo>
                    <a:cubicBezTo>
                      <a:pt x="124" y="303"/>
                      <a:pt x="135" y="294"/>
                      <a:pt x="135" y="320"/>
                    </a:cubicBezTo>
                    <a:cubicBezTo>
                      <a:pt x="128" y="337"/>
                      <a:pt x="145" y="331"/>
                      <a:pt x="143" y="324"/>
                    </a:cubicBezTo>
                    <a:cubicBezTo>
                      <a:pt x="143" y="324"/>
                      <a:pt x="145" y="310"/>
                      <a:pt x="150" y="319"/>
                    </a:cubicBezTo>
                    <a:cubicBezTo>
                      <a:pt x="150" y="319"/>
                      <a:pt x="152" y="324"/>
                      <a:pt x="161" y="316"/>
                    </a:cubicBezTo>
                    <a:cubicBezTo>
                      <a:pt x="168" y="306"/>
                      <a:pt x="166" y="324"/>
                      <a:pt x="178" y="324"/>
                    </a:cubicBezTo>
                    <a:cubicBezTo>
                      <a:pt x="178" y="337"/>
                      <a:pt x="191" y="337"/>
                      <a:pt x="191" y="326"/>
                    </a:cubicBezTo>
                    <a:cubicBezTo>
                      <a:pt x="191" y="326"/>
                      <a:pt x="202" y="310"/>
                      <a:pt x="210" y="331"/>
                    </a:cubicBezTo>
                    <a:cubicBezTo>
                      <a:pt x="210" y="331"/>
                      <a:pt x="210" y="348"/>
                      <a:pt x="220" y="332"/>
                    </a:cubicBezTo>
                    <a:cubicBezTo>
                      <a:pt x="220" y="332"/>
                      <a:pt x="244" y="335"/>
                      <a:pt x="248" y="330"/>
                    </a:cubicBezTo>
                    <a:cubicBezTo>
                      <a:pt x="248" y="330"/>
                      <a:pt x="241" y="318"/>
                      <a:pt x="234" y="320"/>
                    </a:cubicBezTo>
                    <a:cubicBezTo>
                      <a:pt x="232" y="312"/>
                      <a:pt x="216" y="309"/>
                      <a:pt x="219" y="303"/>
                    </a:cubicBezTo>
                    <a:cubicBezTo>
                      <a:pt x="219" y="303"/>
                      <a:pt x="229" y="304"/>
                      <a:pt x="226" y="286"/>
                    </a:cubicBezTo>
                    <a:cubicBezTo>
                      <a:pt x="226" y="286"/>
                      <a:pt x="230" y="271"/>
                      <a:pt x="226" y="265"/>
                    </a:cubicBezTo>
                    <a:cubicBezTo>
                      <a:pt x="226" y="265"/>
                      <a:pt x="230" y="248"/>
                      <a:pt x="201" y="243"/>
                    </a:cubicBezTo>
                    <a:cubicBezTo>
                      <a:pt x="193" y="231"/>
                      <a:pt x="186" y="236"/>
                      <a:pt x="183" y="226"/>
                    </a:cubicBezTo>
                    <a:cubicBezTo>
                      <a:pt x="183" y="226"/>
                      <a:pt x="183" y="226"/>
                      <a:pt x="183" y="226"/>
                    </a:cubicBezTo>
                    <a:cubicBezTo>
                      <a:pt x="185" y="206"/>
                      <a:pt x="185" y="206"/>
                      <a:pt x="185" y="206"/>
                    </a:cubicBezTo>
                    <a:cubicBezTo>
                      <a:pt x="185" y="206"/>
                      <a:pt x="185" y="206"/>
                      <a:pt x="185" y="206"/>
                    </a:cubicBezTo>
                    <a:cubicBezTo>
                      <a:pt x="185" y="206"/>
                      <a:pt x="165" y="201"/>
                      <a:pt x="174" y="197"/>
                    </a:cubicBezTo>
                    <a:cubicBezTo>
                      <a:pt x="183" y="198"/>
                      <a:pt x="175" y="179"/>
                      <a:pt x="181" y="175"/>
                    </a:cubicBezTo>
                    <a:cubicBezTo>
                      <a:pt x="181" y="175"/>
                      <a:pt x="189" y="153"/>
                      <a:pt x="172" y="158"/>
                    </a:cubicBezTo>
                    <a:cubicBezTo>
                      <a:pt x="172" y="166"/>
                      <a:pt x="156" y="174"/>
                      <a:pt x="155" y="156"/>
                    </a:cubicBezTo>
                    <a:cubicBezTo>
                      <a:pt x="155" y="156"/>
                      <a:pt x="151" y="137"/>
                      <a:pt x="132" y="138"/>
                    </a:cubicBezTo>
                    <a:cubicBezTo>
                      <a:pt x="132" y="138"/>
                      <a:pt x="125" y="132"/>
                      <a:pt x="128" y="115"/>
                    </a:cubicBezTo>
                    <a:cubicBezTo>
                      <a:pt x="128" y="115"/>
                      <a:pt x="139" y="108"/>
                      <a:pt x="135" y="96"/>
                    </a:cubicBezTo>
                    <a:cubicBezTo>
                      <a:pt x="135" y="96"/>
                      <a:pt x="134" y="86"/>
                      <a:pt x="139" y="84"/>
                    </a:cubicBezTo>
                    <a:cubicBezTo>
                      <a:pt x="139" y="84"/>
                      <a:pt x="148" y="80"/>
                      <a:pt x="138" y="71"/>
                    </a:cubicBezTo>
                    <a:cubicBezTo>
                      <a:pt x="135" y="64"/>
                      <a:pt x="150" y="70"/>
                      <a:pt x="135" y="49"/>
                    </a:cubicBezTo>
                    <a:cubicBezTo>
                      <a:pt x="135" y="49"/>
                      <a:pt x="133" y="33"/>
                      <a:pt x="120" y="41"/>
                    </a:cubicBezTo>
                    <a:cubicBezTo>
                      <a:pt x="120" y="41"/>
                      <a:pt x="118" y="60"/>
                      <a:pt x="101" y="35"/>
                    </a:cubicBezTo>
                    <a:cubicBezTo>
                      <a:pt x="101" y="35"/>
                      <a:pt x="101" y="35"/>
                      <a:pt x="101" y="35"/>
                    </a:cubicBezTo>
                    <a:close/>
                  </a:path>
                </a:pathLst>
              </a:custGeom>
              <a:solidFill>
                <a:srgbClr val="EEBB0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38" name="Freeform 38"/>
              <p:cNvSpPr>
                <a:spLocks/>
              </p:cNvSpPr>
              <p:nvPr/>
            </p:nvSpPr>
            <p:spPr bwMode="auto">
              <a:xfrm>
                <a:off x="3053694" y="4045790"/>
                <a:ext cx="1038482" cy="764398"/>
              </a:xfrm>
              <a:custGeom>
                <a:avLst/>
                <a:gdLst/>
                <a:ahLst/>
                <a:cxnLst>
                  <a:cxn ang="0">
                    <a:pos x="121" y="277"/>
                  </a:cxn>
                  <a:cxn ang="0">
                    <a:pos x="107" y="244"/>
                  </a:cxn>
                  <a:cxn ang="0">
                    <a:pos x="136" y="211"/>
                  </a:cxn>
                  <a:cxn ang="0">
                    <a:pos x="107" y="184"/>
                  </a:cxn>
                  <a:cxn ang="0">
                    <a:pos x="81" y="150"/>
                  </a:cxn>
                  <a:cxn ang="0">
                    <a:pos x="52" y="118"/>
                  </a:cxn>
                  <a:cxn ang="0">
                    <a:pos x="20" y="85"/>
                  </a:cxn>
                  <a:cxn ang="0">
                    <a:pos x="13" y="31"/>
                  </a:cxn>
                  <a:cxn ang="0">
                    <a:pos x="48" y="20"/>
                  </a:cxn>
                  <a:cxn ang="0">
                    <a:pos x="96" y="16"/>
                  </a:cxn>
                  <a:cxn ang="0">
                    <a:pos x="147" y="28"/>
                  </a:cxn>
                  <a:cxn ang="0">
                    <a:pos x="182" y="31"/>
                  </a:cxn>
                  <a:cxn ang="0">
                    <a:pos x="198" y="59"/>
                  </a:cxn>
                  <a:cxn ang="0">
                    <a:pos x="217" y="86"/>
                  </a:cxn>
                  <a:cxn ang="0">
                    <a:pos x="249" y="86"/>
                  </a:cxn>
                  <a:cxn ang="0">
                    <a:pos x="303" y="68"/>
                  </a:cxn>
                  <a:cxn ang="0">
                    <a:pos x="348" y="46"/>
                  </a:cxn>
                  <a:cxn ang="0">
                    <a:pos x="352" y="75"/>
                  </a:cxn>
                  <a:cxn ang="0">
                    <a:pos x="348" y="110"/>
                  </a:cxn>
                  <a:cxn ang="0">
                    <a:pos x="361" y="140"/>
                  </a:cxn>
                  <a:cxn ang="0">
                    <a:pos x="348" y="156"/>
                  </a:cxn>
                  <a:cxn ang="0">
                    <a:pos x="362" y="181"/>
                  </a:cxn>
                  <a:cxn ang="0">
                    <a:pos x="340" y="215"/>
                  </a:cxn>
                  <a:cxn ang="0">
                    <a:pos x="341" y="233"/>
                  </a:cxn>
                  <a:cxn ang="0">
                    <a:pos x="327" y="250"/>
                  </a:cxn>
                  <a:cxn ang="0">
                    <a:pos x="312" y="258"/>
                  </a:cxn>
                  <a:cxn ang="0">
                    <a:pos x="269" y="266"/>
                  </a:cxn>
                  <a:cxn ang="0">
                    <a:pos x="224" y="280"/>
                  </a:cxn>
                  <a:cxn ang="0">
                    <a:pos x="214" y="273"/>
                  </a:cxn>
                  <a:cxn ang="0">
                    <a:pos x="191" y="294"/>
                  </a:cxn>
                  <a:cxn ang="0">
                    <a:pos x="166" y="299"/>
                  </a:cxn>
                  <a:cxn ang="0">
                    <a:pos x="174" y="274"/>
                  </a:cxn>
                  <a:cxn ang="0">
                    <a:pos x="127" y="294"/>
                  </a:cxn>
                </a:cxnLst>
                <a:rect l="0" t="0" r="r" b="b"/>
                <a:pathLst>
                  <a:path w="367" h="304">
                    <a:moveTo>
                      <a:pt x="127" y="294"/>
                    </a:moveTo>
                    <a:cubicBezTo>
                      <a:pt x="127" y="294"/>
                      <a:pt x="118" y="294"/>
                      <a:pt x="121" y="277"/>
                    </a:cubicBezTo>
                    <a:cubicBezTo>
                      <a:pt x="121" y="277"/>
                      <a:pt x="124" y="263"/>
                      <a:pt x="114" y="255"/>
                    </a:cubicBezTo>
                    <a:cubicBezTo>
                      <a:pt x="114" y="255"/>
                      <a:pt x="104" y="251"/>
                      <a:pt x="107" y="244"/>
                    </a:cubicBezTo>
                    <a:cubicBezTo>
                      <a:pt x="107" y="244"/>
                      <a:pt x="101" y="236"/>
                      <a:pt x="121" y="236"/>
                    </a:cubicBezTo>
                    <a:cubicBezTo>
                      <a:pt x="121" y="236"/>
                      <a:pt x="149" y="233"/>
                      <a:pt x="136" y="211"/>
                    </a:cubicBezTo>
                    <a:cubicBezTo>
                      <a:pt x="135" y="204"/>
                      <a:pt x="117" y="204"/>
                      <a:pt x="116" y="198"/>
                    </a:cubicBezTo>
                    <a:cubicBezTo>
                      <a:pt x="114" y="195"/>
                      <a:pt x="132" y="180"/>
                      <a:pt x="107" y="184"/>
                    </a:cubicBezTo>
                    <a:cubicBezTo>
                      <a:pt x="107" y="184"/>
                      <a:pt x="87" y="186"/>
                      <a:pt x="85" y="174"/>
                    </a:cubicBezTo>
                    <a:cubicBezTo>
                      <a:pt x="85" y="174"/>
                      <a:pt x="80" y="160"/>
                      <a:pt x="81" y="150"/>
                    </a:cubicBezTo>
                    <a:cubicBezTo>
                      <a:pt x="81" y="150"/>
                      <a:pt x="92" y="141"/>
                      <a:pt x="79" y="126"/>
                    </a:cubicBezTo>
                    <a:cubicBezTo>
                      <a:pt x="79" y="112"/>
                      <a:pt x="69" y="120"/>
                      <a:pt x="52" y="118"/>
                    </a:cubicBezTo>
                    <a:cubicBezTo>
                      <a:pt x="52" y="118"/>
                      <a:pt x="26" y="126"/>
                      <a:pt x="29" y="101"/>
                    </a:cubicBezTo>
                    <a:cubicBezTo>
                      <a:pt x="29" y="101"/>
                      <a:pt x="30" y="84"/>
                      <a:pt x="20" y="85"/>
                    </a:cubicBezTo>
                    <a:cubicBezTo>
                      <a:pt x="20" y="85"/>
                      <a:pt x="22" y="61"/>
                      <a:pt x="12" y="55"/>
                    </a:cubicBezTo>
                    <a:cubicBezTo>
                      <a:pt x="12" y="55"/>
                      <a:pt x="0" y="40"/>
                      <a:pt x="13" y="31"/>
                    </a:cubicBezTo>
                    <a:cubicBezTo>
                      <a:pt x="13" y="31"/>
                      <a:pt x="22" y="33"/>
                      <a:pt x="18" y="24"/>
                    </a:cubicBezTo>
                    <a:cubicBezTo>
                      <a:pt x="28" y="12"/>
                      <a:pt x="48" y="20"/>
                      <a:pt x="48" y="20"/>
                    </a:cubicBezTo>
                    <a:cubicBezTo>
                      <a:pt x="54" y="27"/>
                      <a:pt x="57" y="18"/>
                      <a:pt x="64" y="19"/>
                    </a:cubicBezTo>
                    <a:cubicBezTo>
                      <a:pt x="88" y="12"/>
                      <a:pt x="87" y="29"/>
                      <a:pt x="96" y="16"/>
                    </a:cubicBezTo>
                    <a:cubicBezTo>
                      <a:pt x="118" y="0"/>
                      <a:pt x="126" y="20"/>
                      <a:pt x="126" y="20"/>
                    </a:cubicBezTo>
                    <a:cubicBezTo>
                      <a:pt x="129" y="33"/>
                      <a:pt x="147" y="28"/>
                      <a:pt x="147" y="28"/>
                    </a:cubicBezTo>
                    <a:cubicBezTo>
                      <a:pt x="168" y="25"/>
                      <a:pt x="163" y="38"/>
                      <a:pt x="163" y="38"/>
                    </a:cubicBezTo>
                    <a:cubicBezTo>
                      <a:pt x="177" y="23"/>
                      <a:pt x="182" y="31"/>
                      <a:pt x="182" y="31"/>
                    </a:cubicBezTo>
                    <a:cubicBezTo>
                      <a:pt x="204" y="33"/>
                      <a:pt x="191" y="44"/>
                      <a:pt x="191" y="44"/>
                    </a:cubicBezTo>
                    <a:cubicBezTo>
                      <a:pt x="180" y="47"/>
                      <a:pt x="198" y="59"/>
                      <a:pt x="198" y="59"/>
                    </a:cubicBezTo>
                    <a:cubicBezTo>
                      <a:pt x="208" y="63"/>
                      <a:pt x="208" y="75"/>
                      <a:pt x="208" y="75"/>
                    </a:cubicBezTo>
                    <a:cubicBezTo>
                      <a:pt x="200" y="92"/>
                      <a:pt x="217" y="86"/>
                      <a:pt x="217" y="86"/>
                    </a:cubicBezTo>
                    <a:cubicBezTo>
                      <a:pt x="227" y="76"/>
                      <a:pt x="234" y="90"/>
                      <a:pt x="234" y="90"/>
                    </a:cubicBezTo>
                    <a:cubicBezTo>
                      <a:pt x="237" y="104"/>
                      <a:pt x="249" y="86"/>
                      <a:pt x="249" y="86"/>
                    </a:cubicBezTo>
                    <a:cubicBezTo>
                      <a:pt x="255" y="72"/>
                      <a:pt x="273" y="86"/>
                      <a:pt x="273" y="86"/>
                    </a:cubicBezTo>
                    <a:cubicBezTo>
                      <a:pt x="310" y="92"/>
                      <a:pt x="303" y="68"/>
                      <a:pt x="303" y="68"/>
                    </a:cubicBezTo>
                    <a:cubicBezTo>
                      <a:pt x="303" y="42"/>
                      <a:pt x="320" y="50"/>
                      <a:pt x="320" y="50"/>
                    </a:cubicBezTo>
                    <a:cubicBezTo>
                      <a:pt x="334" y="55"/>
                      <a:pt x="330" y="28"/>
                      <a:pt x="348" y="46"/>
                    </a:cubicBezTo>
                    <a:cubicBezTo>
                      <a:pt x="348" y="46"/>
                      <a:pt x="345" y="53"/>
                      <a:pt x="349" y="60"/>
                    </a:cubicBezTo>
                    <a:cubicBezTo>
                      <a:pt x="349" y="60"/>
                      <a:pt x="356" y="64"/>
                      <a:pt x="352" y="75"/>
                    </a:cubicBezTo>
                    <a:cubicBezTo>
                      <a:pt x="352" y="75"/>
                      <a:pt x="358" y="91"/>
                      <a:pt x="351" y="96"/>
                    </a:cubicBezTo>
                    <a:cubicBezTo>
                      <a:pt x="351" y="96"/>
                      <a:pt x="337" y="94"/>
                      <a:pt x="348" y="110"/>
                    </a:cubicBezTo>
                    <a:cubicBezTo>
                      <a:pt x="348" y="110"/>
                      <a:pt x="343" y="119"/>
                      <a:pt x="357" y="123"/>
                    </a:cubicBezTo>
                    <a:cubicBezTo>
                      <a:pt x="356" y="132"/>
                      <a:pt x="365" y="133"/>
                      <a:pt x="361" y="140"/>
                    </a:cubicBezTo>
                    <a:cubicBezTo>
                      <a:pt x="361" y="140"/>
                      <a:pt x="367" y="154"/>
                      <a:pt x="353" y="149"/>
                    </a:cubicBezTo>
                    <a:cubicBezTo>
                      <a:pt x="353" y="149"/>
                      <a:pt x="348" y="150"/>
                      <a:pt x="348" y="156"/>
                    </a:cubicBezTo>
                    <a:cubicBezTo>
                      <a:pt x="348" y="156"/>
                      <a:pt x="360" y="157"/>
                      <a:pt x="361" y="161"/>
                    </a:cubicBezTo>
                    <a:cubicBezTo>
                      <a:pt x="361" y="161"/>
                      <a:pt x="363" y="171"/>
                      <a:pt x="362" y="181"/>
                    </a:cubicBezTo>
                    <a:cubicBezTo>
                      <a:pt x="362" y="181"/>
                      <a:pt x="367" y="194"/>
                      <a:pt x="348" y="196"/>
                    </a:cubicBezTo>
                    <a:cubicBezTo>
                      <a:pt x="348" y="196"/>
                      <a:pt x="334" y="202"/>
                      <a:pt x="340" y="215"/>
                    </a:cubicBezTo>
                    <a:cubicBezTo>
                      <a:pt x="338" y="218"/>
                      <a:pt x="356" y="218"/>
                      <a:pt x="356" y="225"/>
                    </a:cubicBezTo>
                    <a:cubicBezTo>
                      <a:pt x="357" y="237"/>
                      <a:pt x="338" y="225"/>
                      <a:pt x="341" y="233"/>
                    </a:cubicBezTo>
                    <a:cubicBezTo>
                      <a:pt x="341" y="233"/>
                      <a:pt x="351" y="236"/>
                      <a:pt x="346" y="240"/>
                    </a:cubicBezTo>
                    <a:cubicBezTo>
                      <a:pt x="346" y="240"/>
                      <a:pt x="340" y="247"/>
                      <a:pt x="327" y="250"/>
                    </a:cubicBezTo>
                    <a:cubicBezTo>
                      <a:pt x="327" y="250"/>
                      <a:pt x="348" y="252"/>
                      <a:pt x="331" y="257"/>
                    </a:cubicBezTo>
                    <a:cubicBezTo>
                      <a:pt x="331" y="257"/>
                      <a:pt x="317" y="263"/>
                      <a:pt x="312" y="258"/>
                    </a:cubicBezTo>
                    <a:cubicBezTo>
                      <a:pt x="312" y="258"/>
                      <a:pt x="295" y="249"/>
                      <a:pt x="290" y="262"/>
                    </a:cubicBezTo>
                    <a:cubicBezTo>
                      <a:pt x="280" y="266"/>
                      <a:pt x="273" y="253"/>
                      <a:pt x="269" y="266"/>
                    </a:cubicBezTo>
                    <a:cubicBezTo>
                      <a:pt x="269" y="266"/>
                      <a:pt x="257" y="258"/>
                      <a:pt x="246" y="277"/>
                    </a:cubicBezTo>
                    <a:cubicBezTo>
                      <a:pt x="246" y="277"/>
                      <a:pt x="227" y="275"/>
                      <a:pt x="224" y="280"/>
                    </a:cubicBezTo>
                    <a:cubicBezTo>
                      <a:pt x="218" y="257"/>
                      <a:pt x="229" y="240"/>
                      <a:pt x="229" y="240"/>
                    </a:cubicBezTo>
                    <a:cubicBezTo>
                      <a:pt x="209" y="264"/>
                      <a:pt x="214" y="273"/>
                      <a:pt x="214" y="273"/>
                    </a:cubicBezTo>
                    <a:cubicBezTo>
                      <a:pt x="222" y="304"/>
                      <a:pt x="210" y="300"/>
                      <a:pt x="210" y="300"/>
                    </a:cubicBezTo>
                    <a:cubicBezTo>
                      <a:pt x="204" y="302"/>
                      <a:pt x="191" y="294"/>
                      <a:pt x="191" y="294"/>
                    </a:cubicBezTo>
                    <a:cubicBezTo>
                      <a:pt x="180" y="298"/>
                      <a:pt x="166" y="299"/>
                      <a:pt x="166" y="299"/>
                    </a:cubicBezTo>
                    <a:cubicBezTo>
                      <a:pt x="166" y="299"/>
                      <a:pt x="166" y="299"/>
                      <a:pt x="166" y="299"/>
                    </a:cubicBezTo>
                    <a:cubicBezTo>
                      <a:pt x="174" y="274"/>
                      <a:pt x="174" y="274"/>
                      <a:pt x="174" y="274"/>
                    </a:cubicBezTo>
                    <a:cubicBezTo>
                      <a:pt x="174" y="274"/>
                      <a:pt x="174" y="274"/>
                      <a:pt x="174" y="274"/>
                    </a:cubicBezTo>
                    <a:cubicBezTo>
                      <a:pt x="165" y="292"/>
                      <a:pt x="152" y="301"/>
                      <a:pt x="152" y="301"/>
                    </a:cubicBezTo>
                    <a:cubicBezTo>
                      <a:pt x="142" y="304"/>
                      <a:pt x="127" y="294"/>
                      <a:pt x="127" y="294"/>
                    </a:cubicBezTo>
                    <a:cubicBezTo>
                      <a:pt x="127" y="294"/>
                      <a:pt x="127" y="294"/>
                      <a:pt x="127" y="294"/>
                    </a:cubicBezTo>
                    <a:close/>
                  </a:path>
                </a:pathLst>
              </a:custGeom>
              <a:solidFill>
                <a:srgbClr val="EEBB0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39" name="Freeform 37"/>
              <p:cNvSpPr>
                <a:spLocks/>
              </p:cNvSpPr>
              <p:nvPr/>
            </p:nvSpPr>
            <p:spPr bwMode="auto">
              <a:xfrm>
                <a:off x="4459315" y="4054836"/>
                <a:ext cx="1054215" cy="859384"/>
              </a:xfrm>
              <a:custGeom>
                <a:avLst/>
                <a:gdLst/>
                <a:ahLst/>
                <a:cxnLst>
                  <a:cxn ang="0">
                    <a:pos x="15" y="128"/>
                  </a:cxn>
                  <a:cxn ang="0">
                    <a:pos x="60" y="117"/>
                  </a:cxn>
                  <a:cxn ang="0">
                    <a:pos x="82" y="106"/>
                  </a:cxn>
                  <a:cxn ang="0">
                    <a:pos x="79" y="66"/>
                  </a:cxn>
                  <a:cxn ang="0">
                    <a:pos x="78" y="43"/>
                  </a:cxn>
                  <a:cxn ang="0">
                    <a:pos x="69" y="25"/>
                  </a:cxn>
                  <a:cxn ang="0">
                    <a:pos x="102" y="11"/>
                  </a:cxn>
                  <a:cxn ang="0">
                    <a:pos x="112" y="11"/>
                  </a:cxn>
                  <a:cxn ang="0">
                    <a:pos x="157" y="11"/>
                  </a:cxn>
                  <a:cxn ang="0">
                    <a:pos x="194" y="15"/>
                  </a:cxn>
                  <a:cxn ang="0">
                    <a:pos x="214" y="15"/>
                  </a:cxn>
                  <a:cxn ang="0">
                    <a:pos x="222" y="48"/>
                  </a:cxn>
                  <a:cxn ang="0">
                    <a:pos x="245" y="55"/>
                  </a:cxn>
                  <a:cxn ang="0">
                    <a:pos x="269" y="53"/>
                  </a:cxn>
                  <a:cxn ang="0">
                    <a:pos x="290" y="59"/>
                  </a:cxn>
                  <a:cxn ang="0">
                    <a:pos x="308" y="89"/>
                  </a:cxn>
                  <a:cxn ang="0">
                    <a:pos x="338" y="100"/>
                  </a:cxn>
                  <a:cxn ang="0">
                    <a:pos x="366" y="121"/>
                  </a:cxn>
                  <a:cxn ang="0">
                    <a:pos x="354" y="135"/>
                  </a:cxn>
                  <a:cxn ang="0">
                    <a:pos x="334" y="154"/>
                  </a:cxn>
                  <a:cxn ang="0">
                    <a:pos x="347" y="186"/>
                  </a:cxn>
                  <a:cxn ang="0">
                    <a:pos x="358" y="204"/>
                  </a:cxn>
                  <a:cxn ang="0">
                    <a:pos x="328" y="245"/>
                  </a:cxn>
                  <a:cxn ang="0">
                    <a:pos x="234" y="267"/>
                  </a:cxn>
                  <a:cxn ang="0">
                    <a:pos x="178" y="309"/>
                  </a:cxn>
                  <a:cxn ang="0">
                    <a:pos x="152" y="333"/>
                  </a:cxn>
                  <a:cxn ang="0">
                    <a:pos x="145" y="322"/>
                  </a:cxn>
                  <a:cxn ang="0">
                    <a:pos x="125" y="343"/>
                  </a:cxn>
                  <a:cxn ang="0">
                    <a:pos x="101" y="311"/>
                  </a:cxn>
                  <a:cxn ang="0">
                    <a:pos x="72" y="287"/>
                  </a:cxn>
                  <a:cxn ang="0">
                    <a:pos x="65" y="264"/>
                  </a:cxn>
                  <a:cxn ang="0">
                    <a:pos x="70" y="237"/>
                  </a:cxn>
                  <a:cxn ang="0">
                    <a:pos x="50" y="220"/>
                  </a:cxn>
                  <a:cxn ang="0">
                    <a:pos x="37" y="176"/>
                  </a:cxn>
                  <a:cxn ang="0">
                    <a:pos x="9" y="158"/>
                  </a:cxn>
                  <a:cxn ang="0">
                    <a:pos x="0" y="133"/>
                  </a:cxn>
                </a:cxnLst>
                <a:rect l="0" t="0" r="r" b="b"/>
                <a:pathLst>
                  <a:path w="372" h="344">
                    <a:moveTo>
                      <a:pt x="0" y="133"/>
                    </a:moveTo>
                    <a:cubicBezTo>
                      <a:pt x="0" y="133"/>
                      <a:pt x="5" y="128"/>
                      <a:pt x="15" y="128"/>
                    </a:cubicBezTo>
                    <a:cubicBezTo>
                      <a:pt x="15" y="128"/>
                      <a:pt x="27" y="125"/>
                      <a:pt x="32" y="119"/>
                    </a:cubicBezTo>
                    <a:cubicBezTo>
                      <a:pt x="32" y="119"/>
                      <a:pt x="43" y="110"/>
                      <a:pt x="60" y="117"/>
                    </a:cubicBezTo>
                    <a:cubicBezTo>
                      <a:pt x="60" y="117"/>
                      <a:pt x="61" y="122"/>
                      <a:pt x="77" y="121"/>
                    </a:cubicBezTo>
                    <a:cubicBezTo>
                      <a:pt x="77" y="121"/>
                      <a:pt x="86" y="124"/>
                      <a:pt x="82" y="106"/>
                    </a:cubicBezTo>
                    <a:cubicBezTo>
                      <a:pt x="82" y="106"/>
                      <a:pt x="82" y="96"/>
                      <a:pt x="84" y="92"/>
                    </a:cubicBezTo>
                    <a:cubicBezTo>
                      <a:pt x="93" y="80"/>
                      <a:pt x="75" y="86"/>
                      <a:pt x="79" y="66"/>
                    </a:cubicBezTo>
                    <a:cubicBezTo>
                      <a:pt x="79" y="66"/>
                      <a:pt x="67" y="59"/>
                      <a:pt x="67" y="55"/>
                    </a:cubicBezTo>
                    <a:cubicBezTo>
                      <a:pt x="67" y="45"/>
                      <a:pt x="85" y="46"/>
                      <a:pt x="78" y="43"/>
                    </a:cubicBezTo>
                    <a:cubicBezTo>
                      <a:pt x="78" y="43"/>
                      <a:pt x="72" y="34"/>
                      <a:pt x="65" y="34"/>
                    </a:cubicBezTo>
                    <a:cubicBezTo>
                      <a:pt x="65" y="34"/>
                      <a:pt x="71" y="29"/>
                      <a:pt x="69" y="25"/>
                    </a:cubicBezTo>
                    <a:cubicBezTo>
                      <a:pt x="69" y="25"/>
                      <a:pt x="68" y="16"/>
                      <a:pt x="86" y="18"/>
                    </a:cubicBezTo>
                    <a:cubicBezTo>
                      <a:pt x="86" y="18"/>
                      <a:pt x="89" y="7"/>
                      <a:pt x="102" y="11"/>
                    </a:cubicBezTo>
                    <a:cubicBezTo>
                      <a:pt x="104" y="10"/>
                      <a:pt x="105" y="9"/>
                      <a:pt x="107" y="10"/>
                    </a:cubicBezTo>
                    <a:cubicBezTo>
                      <a:pt x="109" y="11"/>
                      <a:pt x="110" y="12"/>
                      <a:pt x="112" y="11"/>
                    </a:cubicBezTo>
                    <a:cubicBezTo>
                      <a:pt x="112" y="11"/>
                      <a:pt x="119" y="7"/>
                      <a:pt x="137" y="11"/>
                    </a:cubicBezTo>
                    <a:cubicBezTo>
                      <a:pt x="137" y="11"/>
                      <a:pt x="146" y="18"/>
                      <a:pt x="157" y="11"/>
                    </a:cubicBezTo>
                    <a:cubicBezTo>
                      <a:pt x="157" y="11"/>
                      <a:pt x="167" y="0"/>
                      <a:pt x="177" y="9"/>
                    </a:cubicBezTo>
                    <a:cubicBezTo>
                      <a:pt x="177" y="9"/>
                      <a:pt x="183" y="15"/>
                      <a:pt x="194" y="15"/>
                    </a:cubicBezTo>
                    <a:cubicBezTo>
                      <a:pt x="194" y="15"/>
                      <a:pt x="205" y="5"/>
                      <a:pt x="206" y="18"/>
                    </a:cubicBezTo>
                    <a:cubicBezTo>
                      <a:pt x="206" y="18"/>
                      <a:pt x="209" y="24"/>
                      <a:pt x="214" y="15"/>
                    </a:cubicBezTo>
                    <a:cubicBezTo>
                      <a:pt x="214" y="15"/>
                      <a:pt x="210" y="22"/>
                      <a:pt x="219" y="34"/>
                    </a:cubicBezTo>
                    <a:cubicBezTo>
                      <a:pt x="219" y="34"/>
                      <a:pt x="236" y="38"/>
                      <a:pt x="222" y="48"/>
                    </a:cubicBezTo>
                    <a:cubicBezTo>
                      <a:pt x="222" y="48"/>
                      <a:pt x="222" y="57"/>
                      <a:pt x="233" y="52"/>
                    </a:cubicBezTo>
                    <a:cubicBezTo>
                      <a:pt x="233" y="52"/>
                      <a:pt x="235" y="45"/>
                      <a:pt x="245" y="55"/>
                    </a:cubicBezTo>
                    <a:cubicBezTo>
                      <a:pt x="245" y="55"/>
                      <a:pt x="245" y="62"/>
                      <a:pt x="257" y="52"/>
                    </a:cubicBezTo>
                    <a:cubicBezTo>
                      <a:pt x="257" y="52"/>
                      <a:pt x="265" y="58"/>
                      <a:pt x="269" y="53"/>
                    </a:cubicBezTo>
                    <a:cubicBezTo>
                      <a:pt x="269" y="53"/>
                      <a:pt x="273" y="47"/>
                      <a:pt x="283" y="51"/>
                    </a:cubicBezTo>
                    <a:cubicBezTo>
                      <a:pt x="284" y="61"/>
                      <a:pt x="290" y="59"/>
                      <a:pt x="290" y="59"/>
                    </a:cubicBezTo>
                    <a:cubicBezTo>
                      <a:pt x="297" y="59"/>
                      <a:pt x="298" y="70"/>
                      <a:pt x="298" y="70"/>
                    </a:cubicBezTo>
                    <a:cubicBezTo>
                      <a:pt x="302" y="78"/>
                      <a:pt x="308" y="89"/>
                      <a:pt x="308" y="89"/>
                    </a:cubicBezTo>
                    <a:cubicBezTo>
                      <a:pt x="318" y="86"/>
                      <a:pt x="323" y="95"/>
                      <a:pt x="323" y="95"/>
                    </a:cubicBezTo>
                    <a:cubicBezTo>
                      <a:pt x="327" y="102"/>
                      <a:pt x="331" y="89"/>
                      <a:pt x="338" y="100"/>
                    </a:cubicBezTo>
                    <a:cubicBezTo>
                      <a:pt x="346" y="101"/>
                      <a:pt x="354" y="111"/>
                      <a:pt x="354" y="111"/>
                    </a:cubicBezTo>
                    <a:cubicBezTo>
                      <a:pt x="372" y="110"/>
                      <a:pt x="366" y="121"/>
                      <a:pt x="366" y="121"/>
                    </a:cubicBezTo>
                    <a:cubicBezTo>
                      <a:pt x="348" y="125"/>
                      <a:pt x="360" y="128"/>
                      <a:pt x="360" y="128"/>
                    </a:cubicBezTo>
                    <a:cubicBezTo>
                      <a:pt x="360" y="128"/>
                      <a:pt x="368" y="132"/>
                      <a:pt x="354" y="135"/>
                    </a:cubicBezTo>
                    <a:cubicBezTo>
                      <a:pt x="347" y="134"/>
                      <a:pt x="356" y="146"/>
                      <a:pt x="344" y="142"/>
                    </a:cubicBezTo>
                    <a:cubicBezTo>
                      <a:pt x="323" y="144"/>
                      <a:pt x="334" y="154"/>
                      <a:pt x="334" y="154"/>
                    </a:cubicBezTo>
                    <a:cubicBezTo>
                      <a:pt x="339" y="161"/>
                      <a:pt x="328" y="166"/>
                      <a:pt x="328" y="166"/>
                    </a:cubicBezTo>
                    <a:cubicBezTo>
                      <a:pt x="347" y="170"/>
                      <a:pt x="347" y="186"/>
                      <a:pt x="347" y="186"/>
                    </a:cubicBezTo>
                    <a:cubicBezTo>
                      <a:pt x="368" y="186"/>
                      <a:pt x="363" y="196"/>
                      <a:pt x="363" y="196"/>
                    </a:cubicBezTo>
                    <a:cubicBezTo>
                      <a:pt x="365" y="203"/>
                      <a:pt x="358" y="204"/>
                      <a:pt x="358" y="204"/>
                    </a:cubicBezTo>
                    <a:cubicBezTo>
                      <a:pt x="341" y="207"/>
                      <a:pt x="356" y="220"/>
                      <a:pt x="356" y="220"/>
                    </a:cubicBezTo>
                    <a:cubicBezTo>
                      <a:pt x="340" y="230"/>
                      <a:pt x="328" y="245"/>
                      <a:pt x="328" y="245"/>
                    </a:cubicBezTo>
                    <a:cubicBezTo>
                      <a:pt x="295" y="231"/>
                      <a:pt x="267" y="272"/>
                      <a:pt x="267" y="272"/>
                    </a:cubicBezTo>
                    <a:cubicBezTo>
                      <a:pt x="250" y="258"/>
                      <a:pt x="234" y="267"/>
                      <a:pt x="234" y="267"/>
                    </a:cubicBezTo>
                    <a:cubicBezTo>
                      <a:pt x="204" y="272"/>
                      <a:pt x="194" y="293"/>
                      <a:pt x="194" y="293"/>
                    </a:cubicBezTo>
                    <a:cubicBezTo>
                      <a:pt x="192" y="303"/>
                      <a:pt x="178" y="309"/>
                      <a:pt x="178" y="309"/>
                    </a:cubicBezTo>
                    <a:cubicBezTo>
                      <a:pt x="178" y="309"/>
                      <a:pt x="178" y="309"/>
                      <a:pt x="178" y="309"/>
                    </a:cubicBezTo>
                    <a:cubicBezTo>
                      <a:pt x="152" y="333"/>
                      <a:pt x="152" y="333"/>
                      <a:pt x="152" y="333"/>
                    </a:cubicBezTo>
                    <a:cubicBezTo>
                      <a:pt x="152" y="333"/>
                      <a:pt x="152" y="333"/>
                      <a:pt x="152" y="333"/>
                    </a:cubicBezTo>
                    <a:cubicBezTo>
                      <a:pt x="139" y="337"/>
                      <a:pt x="145" y="322"/>
                      <a:pt x="145" y="322"/>
                    </a:cubicBezTo>
                    <a:cubicBezTo>
                      <a:pt x="141" y="310"/>
                      <a:pt x="136" y="322"/>
                      <a:pt x="136" y="322"/>
                    </a:cubicBezTo>
                    <a:cubicBezTo>
                      <a:pt x="134" y="332"/>
                      <a:pt x="130" y="338"/>
                      <a:pt x="125" y="343"/>
                    </a:cubicBezTo>
                    <a:cubicBezTo>
                      <a:pt x="110" y="344"/>
                      <a:pt x="113" y="334"/>
                      <a:pt x="113" y="334"/>
                    </a:cubicBezTo>
                    <a:cubicBezTo>
                      <a:pt x="115" y="308"/>
                      <a:pt x="101" y="311"/>
                      <a:pt x="101" y="311"/>
                    </a:cubicBezTo>
                    <a:cubicBezTo>
                      <a:pt x="87" y="309"/>
                      <a:pt x="87" y="300"/>
                      <a:pt x="87" y="300"/>
                    </a:cubicBezTo>
                    <a:cubicBezTo>
                      <a:pt x="68" y="297"/>
                      <a:pt x="72" y="287"/>
                      <a:pt x="72" y="287"/>
                    </a:cubicBezTo>
                    <a:cubicBezTo>
                      <a:pt x="75" y="280"/>
                      <a:pt x="65" y="276"/>
                      <a:pt x="65" y="276"/>
                    </a:cubicBezTo>
                    <a:cubicBezTo>
                      <a:pt x="49" y="275"/>
                      <a:pt x="65" y="264"/>
                      <a:pt x="65" y="264"/>
                    </a:cubicBezTo>
                    <a:cubicBezTo>
                      <a:pt x="74" y="261"/>
                      <a:pt x="70" y="252"/>
                      <a:pt x="70" y="252"/>
                    </a:cubicBezTo>
                    <a:cubicBezTo>
                      <a:pt x="86" y="243"/>
                      <a:pt x="70" y="237"/>
                      <a:pt x="70" y="237"/>
                    </a:cubicBezTo>
                    <a:cubicBezTo>
                      <a:pt x="70" y="227"/>
                      <a:pt x="58" y="229"/>
                      <a:pt x="58" y="229"/>
                    </a:cubicBezTo>
                    <a:cubicBezTo>
                      <a:pt x="52" y="229"/>
                      <a:pt x="50" y="220"/>
                      <a:pt x="50" y="220"/>
                    </a:cubicBezTo>
                    <a:cubicBezTo>
                      <a:pt x="39" y="216"/>
                      <a:pt x="42" y="202"/>
                      <a:pt x="42" y="202"/>
                    </a:cubicBezTo>
                    <a:cubicBezTo>
                      <a:pt x="31" y="195"/>
                      <a:pt x="37" y="176"/>
                      <a:pt x="37" y="176"/>
                    </a:cubicBezTo>
                    <a:cubicBezTo>
                      <a:pt x="29" y="151"/>
                      <a:pt x="23" y="169"/>
                      <a:pt x="23" y="169"/>
                    </a:cubicBezTo>
                    <a:cubicBezTo>
                      <a:pt x="9" y="176"/>
                      <a:pt x="9" y="158"/>
                      <a:pt x="9" y="158"/>
                    </a:cubicBezTo>
                    <a:cubicBezTo>
                      <a:pt x="0" y="148"/>
                      <a:pt x="0" y="133"/>
                      <a:pt x="0" y="133"/>
                    </a:cubicBezTo>
                    <a:cubicBezTo>
                      <a:pt x="0" y="133"/>
                      <a:pt x="0" y="133"/>
                      <a:pt x="0" y="133"/>
                    </a:cubicBezTo>
                    <a:close/>
                  </a:path>
                </a:pathLst>
              </a:custGeom>
              <a:solidFill>
                <a:srgbClr val="EEBB0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40" name="Freeform 36"/>
              <p:cNvSpPr>
                <a:spLocks/>
              </p:cNvSpPr>
              <p:nvPr/>
            </p:nvSpPr>
            <p:spPr bwMode="auto">
              <a:xfrm>
                <a:off x="3620138" y="4335267"/>
                <a:ext cx="1195827" cy="728213"/>
              </a:xfrm>
              <a:custGeom>
                <a:avLst/>
                <a:gdLst/>
                <a:ahLst/>
                <a:cxnLst>
                  <a:cxn ang="0">
                    <a:pos x="45" y="162"/>
                  </a:cxn>
                  <a:cxn ang="0">
                    <a:pos x="89" y="147"/>
                  </a:cxn>
                  <a:cxn ang="0">
                    <a:pos x="130" y="142"/>
                  </a:cxn>
                  <a:cxn ang="0">
                    <a:pos x="145" y="125"/>
                  </a:cxn>
                  <a:cxn ang="0">
                    <a:pos x="155" y="110"/>
                  </a:cxn>
                  <a:cxn ang="0">
                    <a:pos x="147" y="81"/>
                  </a:cxn>
                  <a:cxn ang="0">
                    <a:pos x="160" y="46"/>
                  </a:cxn>
                  <a:cxn ang="0">
                    <a:pos x="152" y="34"/>
                  </a:cxn>
                  <a:cxn ang="0">
                    <a:pos x="156" y="8"/>
                  </a:cxn>
                  <a:cxn ang="0">
                    <a:pos x="182" y="15"/>
                  </a:cxn>
                  <a:cxn ang="0">
                    <a:pos x="202" y="14"/>
                  </a:cxn>
                  <a:cxn ang="0">
                    <a:pos x="246" y="19"/>
                  </a:cxn>
                  <a:cxn ang="0">
                    <a:pos x="272" y="20"/>
                  </a:cxn>
                  <a:cxn ang="0">
                    <a:pos x="305" y="45"/>
                  </a:cxn>
                  <a:cxn ang="0">
                    <a:pos x="333" y="63"/>
                  </a:cxn>
                  <a:cxn ang="0">
                    <a:pos x="346" y="107"/>
                  </a:cxn>
                  <a:cxn ang="0">
                    <a:pos x="366" y="124"/>
                  </a:cxn>
                  <a:cxn ang="0">
                    <a:pos x="361" y="151"/>
                  </a:cxn>
                  <a:cxn ang="0">
                    <a:pos x="368" y="174"/>
                  </a:cxn>
                  <a:cxn ang="0">
                    <a:pos x="397" y="198"/>
                  </a:cxn>
                  <a:cxn ang="0">
                    <a:pos x="421" y="230"/>
                  </a:cxn>
                  <a:cxn ang="0">
                    <a:pos x="386" y="261"/>
                  </a:cxn>
                  <a:cxn ang="0">
                    <a:pos x="360" y="258"/>
                  </a:cxn>
                  <a:cxn ang="0">
                    <a:pos x="316" y="249"/>
                  </a:cxn>
                  <a:cxn ang="0">
                    <a:pos x="291" y="252"/>
                  </a:cxn>
                  <a:cxn ang="0">
                    <a:pos x="277" y="248"/>
                  </a:cxn>
                  <a:cxn ang="0">
                    <a:pos x="250" y="252"/>
                  </a:cxn>
                  <a:cxn ang="0">
                    <a:pos x="234" y="253"/>
                  </a:cxn>
                  <a:cxn ang="0">
                    <a:pos x="227" y="275"/>
                  </a:cxn>
                  <a:cxn ang="0">
                    <a:pos x="184" y="253"/>
                  </a:cxn>
                  <a:cxn ang="0">
                    <a:pos x="126" y="272"/>
                  </a:cxn>
                  <a:cxn ang="0">
                    <a:pos x="63" y="261"/>
                  </a:cxn>
                  <a:cxn ang="0">
                    <a:pos x="16" y="244"/>
                  </a:cxn>
                  <a:cxn ang="0">
                    <a:pos x="0" y="237"/>
                  </a:cxn>
                  <a:cxn ang="0">
                    <a:pos x="20" y="233"/>
                  </a:cxn>
                  <a:cxn ang="0">
                    <a:pos x="16" y="211"/>
                  </a:cxn>
                  <a:cxn ang="0">
                    <a:pos x="9" y="198"/>
                  </a:cxn>
                  <a:cxn ang="0">
                    <a:pos x="46" y="203"/>
                  </a:cxn>
                  <a:cxn ang="0">
                    <a:pos x="71" y="199"/>
                  </a:cxn>
                  <a:cxn ang="0">
                    <a:pos x="82" y="196"/>
                  </a:cxn>
                  <a:cxn ang="0">
                    <a:pos x="62" y="187"/>
                  </a:cxn>
                  <a:cxn ang="0">
                    <a:pos x="41" y="187"/>
                  </a:cxn>
                  <a:cxn ang="0">
                    <a:pos x="23" y="165"/>
                  </a:cxn>
                </a:cxnLst>
                <a:rect l="0" t="0" r="r" b="b"/>
                <a:pathLst>
                  <a:path w="421" h="292">
                    <a:moveTo>
                      <a:pt x="23" y="165"/>
                    </a:moveTo>
                    <a:cubicBezTo>
                      <a:pt x="26" y="160"/>
                      <a:pt x="45" y="162"/>
                      <a:pt x="45" y="162"/>
                    </a:cubicBezTo>
                    <a:cubicBezTo>
                      <a:pt x="56" y="143"/>
                      <a:pt x="68" y="151"/>
                      <a:pt x="68" y="151"/>
                    </a:cubicBezTo>
                    <a:cubicBezTo>
                      <a:pt x="72" y="138"/>
                      <a:pt x="79" y="151"/>
                      <a:pt x="89" y="147"/>
                    </a:cubicBezTo>
                    <a:cubicBezTo>
                      <a:pt x="94" y="134"/>
                      <a:pt x="111" y="143"/>
                      <a:pt x="111" y="143"/>
                    </a:cubicBezTo>
                    <a:cubicBezTo>
                      <a:pt x="116" y="148"/>
                      <a:pt x="130" y="142"/>
                      <a:pt x="130" y="142"/>
                    </a:cubicBezTo>
                    <a:cubicBezTo>
                      <a:pt x="147" y="137"/>
                      <a:pt x="126" y="135"/>
                      <a:pt x="126" y="135"/>
                    </a:cubicBezTo>
                    <a:cubicBezTo>
                      <a:pt x="139" y="132"/>
                      <a:pt x="145" y="125"/>
                      <a:pt x="145" y="125"/>
                    </a:cubicBezTo>
                    <a:cubicBezTo>
                      <a:pt x="150" y="121"/>
                      <a:pt x="140" y="118"/>
                      <a:pt x="140" y="118"/>
                    </a:cubicBezTo>
                    <a:cubicBezTo>
                      <a:pt x="137" y="110"/>
                      <a:pt x="156" y="122"/>
                      <a:pt x="155" y="110"/>
                    </a:cubicBezTo>
                    <a:cubicBezTo>
                      <a:pt x="155" y="103"/>
                      <a:pt x="137" y="103"/>
                      <a:pt x="139" y="100"/>
                    </a:cubicBezTo>
                    <a:cubicBezTo>
                      <a:pt x="133" y="87"/>
                      <a:pt x="147" y="81"/>
                      <a:pt x="147" y="81"/>
                    </a:cubicBezTo>
                    <a:cubicBezTo>
                      <a:pt x="166" y="79"/>
                      <a:pt x="161" y="66"/>
                      <a:pt x="161" y="66"/>
                    </a:cubicBezTo>
                    <a:cubicBezTo>
                      <a:pt x="162" y="56"/>
                      <a:pt x="160" y="46"/>
                      <a:pt x="160" y="46"/>
                    </a:cubicBezTo>
                    <a:cubicBezTo>
                      <a:pt x="159" y="42"/>
                      <a:pt x="147" y="41"/>
                      <a:pt x="147" y="41"/>
                    </a:cubicBezTo>
                    <a:cubicBezTo>
                      <a:pt x="147" y="35"/>
                      <a:pt x="152" y="34"/>
                      <a:pt x="152" y="34"/>
                    </a:cubicBezTo>
                    <a:cubicBezTo>
                      <a:pt x="166" y="39"/>
                      <a:pt x="160" y="25"/>
                      <a:pt x="160" y="25"/>
                    </a:cubicBezTo>
                    <a:cubicBezTo>
                      <a:pt x="164" y="18"/>
                      <a:pt x="155" y="17"/>
                      <a:pt x="156" y="8"/>
                    </a:cubicBezTo>
                    <a:cubicBezTo>
                      <a:pt x="156" y="8"/>
                      <a:pt x="165" y="5"/>
                      <a:pt x="170" y="12"/>
                    </a:cubicBezTo>
                    <a:cubicBezTo>
                      <a:pt x="170" y="12"/>
                      <a:pt x="180" y="11"/>
                      <a:pt x="182" y="15"/>
                    </a:cubicBezTo>
                    <a:cubicBezTo>
                      <a:pt x="182" y="15"/>
                      <a:pt x="188" y="26"/>
                      <a:pt x="191" y="19"/>
                    </a:cubicBezTo>
                    <a:cubicBezTo>
                      <a:pt x="191" y="12"/>
                      <a:pt x="200" y="18"/>
                      <a:pt x="202" y="14"/>
                    </a:cubicBezTo>
                    <a:cubicBezTo>
                      <a:pt x="202" y="14"/>
                      <a:pt x="211" y="0"/>
                      <a:pt x="221" y="15"/>
                    </a:cubicBezTo>
                    <a:cubicBezTo>
                      <a:pt x="221" y="15"/>
                      <a:pt x="218" y="25"/>
                      <a:pt x="246" y="19"/>
                    </a:cubicBezTo>
                    <a:cubicBezTo>
                      <a:pt x="246" y="19"/>
                      <a:pt x="251" y="12"/>
                      <a:pt x="262" y="18"/>
                    </a:cubicBezTo>
                    <a:cubicBezTo>
                      <a:pt x="262" y="18"/>
                      <a:pt x="263" y="23"/>
                      <a:pt x="272" y="20"/>
                    </a:cubicBezTo>
                    <a:cubicBezTo>
                      <a:pt x="272" y="20"/>
                      <a:pt x="287" y="21"/>
                      <a:pt x="297" y="20"/>
                    </a:cubicBezTo>
                    <a:cubicBezTo>
                      <a:pt x="297" y="20"/>
                      <a:pt x="296" y="35"/>
                      <a:pt x="305" y="45"/>
                    </a:cubicBezTo>
                    <a:cubicBezTo>
                      <a:pt x="305" y="45"/>
                      <a:pt x="305" y="63"/>
                      <a:pt x="319" y="56"/>
                    </a:cubicBezTo>
                    <a:cubicBezTo>
                      <a:pt x="319" y="56"/>
                      <a:pt x="325" y="38"/>
                      <a:pt x="333" y="63"/>
                    </a:cubicBezTo>
                    <a:cubicBezTo>
                      <a:pt x="333" y="63"/>
                      <a:pt x="327" y="82"/>
                      <a:pt x="338" y="89"/>
                    </a:cubicBezTo>
                    <a:cubicBezTo>
                      <a:pt x="338" y="89"/>
                      <a:pt x="335" y="103"/>
                      <a:pt x="346" y="107"/>
                    </a:cubicBezTo>
                    <a:cubicBezTo>
                      <a:pt x="346" y="107"/>
                      <a:pt x="348" y="116"/>
                      <a:pt x="354" y="116"/>
                    </a:cubicBezTo>
                    <a:cubicBezTo>
                      <a:pt x="354" y="116"/>
                      <a:pt x="366" y="114"/>
                      <a:pt x="366" y="124"/>
                    </a:cubicBezTo>
                    <a:cubicBezTo>
                      <a:pt x="366" y="124"/>
                      <a:pt x="382" y="130"/>
                      <a:pt x="366" y="139"/>
                    </a:cubicBezTo>
                    <a:cubicBezTo>
                      <a:pt x="366" y="139"/>
                      <a:pt x="370" y="148"/>
                      <a:pt x="361" y="151"/>
                    </a:cubicBezTo>
                    <a:cubicBezTo>
                      <a:pt x="361" y="151"/>
                      <a:pt x="345" y="162"/>
                      <a:pt x="361" y="163"/>
                    </a:cubicBezTo>
                    <a:cubicBezTo>
                      <a:pt x="361" y="163"/>
                      <a:pt x="371" y="167"/>
                      <a:pt x="368" y="174"/>
                    </a:cubicBezTo>
                    <a:cubicBezTo>
                      <a:pt x="368" y="174"/>
                      <a:pt x="364" y="184"/>
                      <a:pt x="383" y="187"/>
                    </a:cubicBezTo>
                    <a:cubicBezTo>
                      <a:pt x="383" y="187"/>
                      <a:pt x="383" y="196"/>
                      <a:pt x="397" y="198"/>
                    </a:cubicBezTo>
                    <a:cubicBezTo>
                      <a:pt x="397" y="198"/>
                      <a:pt x="411" y="195"/>
                      <a:pt x="409" y="221"/>
                    </a:cubicBezTo>
                    <a:cubicBezTo>
                      <a:pt x="409" y="221"/>
                      <a:pt x="406" y="231"/>
                      <a:pt x="421" y="230"/>
                    </a:cubicBezTo>
                    <a:cubicBezTo>
                      <a:pt x="410" y="240"/>
                      <a:pt x="396" y="241"/>
                      <a:pt x="396" y="241"/>
                    </a:cubicBezTo>
                    <a:cubicBezTo>
                      <a:pt x="384" y="250"/>
                      <a:pt x="386" y="261"/>
                      <a:pt x="386" y="261"/>
                    </a:cubicBezTo>
                    <a:cubicBezTo>
                      <a:pt x="377" y="252"/>
                      <a:pt x="370" y="253"/>
                      <a:pt x="370" y="253"/>
                    </a:cubicBezTo>
                    <a:cubicBezTo>
                      <a:pt x="364" y="253"/>
                      <a:pt x="360" y="258"/>
                      <a:pt x="360" y="258"/>
                    </a:cubicBezTo>
                    <a:cubicBezTo>
                      <a:pt x="353" y="263"/>
                      <a:pt x="340" y="258"/>
                      <a:pt x="340" y="258"/>
                    </a:cubicBezTo>
                    <a:cubicBezTo>
                      <a:pt x="332" y="258"/>
                      <a:pt x="329" y="247"/>
                      <a:pt x="316" y="249"/>
                    </a:cubicBezTo>
                    <a:cubicBezTo>
                      <a:pt x="309" y="249"/>
                      <a:pt x="308" y="236"/>
                      <a:pt x="301" y="237"/>
                    </a:cubicBezTo>
                    <a:cubicBezTo>
                      <a:pt x="303" y="250"/>
                      <a:pt x="291" y="252"/>
                      <a:pt x="291" y="252"/>
                    </a:cubicBezTo>
                    <a:cubicBezTo>
                      <a:pt x="291" y="252"/>
                      <a:pt x="291" y="252"/>
                      <a:pt x="291" y="252"/>
                    </a:cubicBezTo>
                    <a:cubicBezTo>
                      <a:pt x="277" y="248"/>
                      <a:pt x="277" y="248"/>
                      <a:pt x="277" y="248"/>
                    </a:cubicBezTo>
                    <a:cubicBezTo>
                      <a:pt x="250" y="252"/>
                      <a:pt x="250" y="252"/>
                      <a:pt x="250" y="252"/>
                    </a:cubicBezTo>
                    <a:cubicBezTo>
                      <a:pt x="250" y="252"/>
                      <a:pt x="250" y="252"/>
                      <a:pt x="250" y="252"/>
                    </a:cubicBezTo>
                    <a:cubicBezTo>
                      <a:pt x="249" y="253"/>
                      <a:pt x="248" y="255"/>
                      <a:pt x="248" y="257"/>
                    </a:cubicBezTo>
                    <a:cubicBezTo>
                      <a:pt x="248" y="257"/>
                      <a:pt x="242" y="251"/>
                      <a:pt x="234" y="253"/>
                    </a:cubicBezTo>
                    <a:cubicBezTo>
                      <a:pt x="234" y="253"/>
                      <a:pt x="235" y="261"/>
                      <a:pt x="232" y="265"/>
                    </a:cubicBezTo>
                    <a:cubicBezTo>
                      <a:pt x="228" y="264"/>
                      <a:pt x="227" y="275"/>
                      <a:pt x="227" y="275"/>
                    </a:cubicBezTo>
                    <a:cubicBezTo>
                      <a:pt x="212" y="292"/>
                      <a:pt x="202" y="270"/>
                      <a:pt x="202" y="270"/>
                    </a:cubicBezTo>
                    <a:cubicBezTo>
                      <a:pt x="188" y="272"/>
                      <a:pt x="184" y="253"/>
                      <a:pt x="184" y="253"/>
                    </a:cubicBezTo>
                    <a:cubicBezTo>
                      <a:pt x="180" y="275"/>
                      <a:pt x="163" y="264"/>
                      <a:pt x="163" y="264"/>
                    </a:cubicBezTo>
                    <a:cubicBezTo>
                      <a:pt x="159" y="275"/>
                      <a:pt x="126" y="272"/>
                      <a:pt x="126" y="272"/>
                    </a:cubicBezTo>
                    <a:cubicBezTo>
                      <a:pt x="88" y="285"/>
                      <a:pt x="78" y="276"/>
                      <a:pt x="78" y="276"/>
                    </a:cubicBezTo>
                    <a:cubicBezTo>
                      <a:pt x="66" y="272"/>
                      <a:pt x="63" y="261"/>
                      <a:pt x="63" y="261"/>
                    </a:cubicBezTo>
                    <a:cubicBezTo>
                      <a:pt x="47" y="260"/>
                      <a:pt x="42" y="253"/>
                      <a:pt x="42" y="253"/>
                    </a:cubicBezTo>
                    <a:cubicBezTo>
                      <a:pt x="37" y="246"/>
                      <a:pt x="16" y="244"/>
                      <a:pt x="16" y="244"/>
                    </a:cubicBezTo>
                    <a:cubicBezTo>
                      <a:pt x="2" y="247"/>
                      <a:pt x="0" y="237"/>
                      <a:pt x="0" y="237"/>
                    </a:cubicBezTo>
                    <a:cubicBezTo>
                      <a:pt x="0" y="237"/>
                      <a:pt x="0" y="237"/>
                      <a:pt x="0" y="237"/>
                    </a:cubicBezTo>
                    <a:cubicBezTo>
                      <a:pt x="20" y="233"/>
                      <a:pt x="20" y="233"/>
                      <a:pt x="20" y="233"/>
                    </a:cubicBezTo>
                    <a:cubicBezTo>
                      <a:pt x="20" y="233"/>
                      <a:pt x="20" y="233"/>
                      <a:pt x="20" y="233"/>
                    </a:cubicBezTo>
                    <a:cubicBezTo>
                      <a:pt x="29" y="237"/>
                      <a:pt x="35" y="224"/>
                      <a:pt x="35" y="224"/>
                    </a:cubicBezTo>
                    <a:cubicBezTo>
                      <a:pt x="30" y="212"/>
                      <a:pt x="16" y="211"/>
                      <a:pt x="16" y="211"/>
                    </a:cubicBezTo>
                    <a:cubicBezTo>
                      <a:pt x="12" y="210"/>
                      <a:pt x="8" y="210"/>
                      <a:pt x="5" y="210"/>
                    </a:cubicBezTo>
                    <a:cubicBezTo>
                      <a:pt x="1" y="206"/>
                      <a:pt x="10" y="203"/>
                      <a:pt x="9" y="198"/>
                    </a:cubicBezTo>
                    <a:cubicBezTo>
                      <a:pt x="19" y="198"/>
                      <a:pt x="24" y="195"/>
                      <a:pt x="24" y="195"/>
                    </a:cubicBezTo>
                    <a:cubicBezTo>
                      <a:pt x="38" y="196"/>
                      <a:pt x="46" y="203"/>
                      <a:pt x="46" y="203"/>
                    </a:cubicBezTo>
                    <a:cubicBezTo>
                      <a:pt x="57" y="211"/>
                      <a:pt x="71" y="199"/>
                      <a:pt x="71" y="199"/>
                    </a:cubicBezTo>
                    <a:cubicBezTo>
                      <a:pt x="71" y="199"/>
                      <a:pt x="71" y="199"/>
                      <a:pt x="71" y="199"/>
                    </a:cubicBezTo>
                    <a:cubicBezTo>
                      <a:pt x="82" y="196"/>
                      <a:pt x="82" y="196"/>
                      <a:pt x="82" y="196"/>
                    </a:cubicBezTo>
                    <a:cubicBezTo>
                      <a:pt x="82" y="196"/>
                      <a:pt x="82" y="196"/>
                      <a:pt x="82" y="196"/>
                    </a:cubicBezTo>
                    <a:cubicBezTo>
                      <a:pt x="79" y="191"/>
                      <a:pt x="62" y="187"/>
                      <a:pt x="62" y="187"/>
                    </a:cubicBezTo>
                    <a:cubicBezTo>
                      <a:pt x="62" y="187"/>
                      <a:pt x="62" y="187"/>
                      <a:pt x="62" y="187"/>
                    </a:cubicBezTo>
                    <a:cubicBezTo>
                      <a:pt x="41" y="187"/>
                      <a:pt x="41" y="187"/>
                      <a:pt x="41" y="187"/>
                    </a:cubicBezTo>
                    <a:cubicBezTo>
                      <a:pt x="41" y="187"/>
                      <a:pt x="41" y="187"/>
                      <a:pt x="41" y="187"/>
                    </a:cubicBezTo>
                    <a:cubicBezTo>
                      <a:pt x="27" y="182"/>
                      <a:pt x="23" y="165"/>
                      <a:pt x="23" y="165"/>
                    </a:cubicBezTo>
                    <a:cubicBezTo>
                      <a:pt x="23" y="165"/>
                      <a:pt x="23" y="165"/>
                      <a:pt x="23" y="165"/>
                    </a:cubicBezTo>
                    <a:close/>
                  </a:path>
                </a:pathLst>
              </a:custGeom>
              <a:solidFill>
                <a:srgbClr val="EEBB0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41" name="Freeform 35"/>
              <p:cNvSpPr>
                <a:spLocks/>
              </p:cNvSpPr>
              <p:nvPr/>
            </p:nvSpPr>
            <p:spPr bwMode="auto">
              <a:xfrm>
                <a:off x="336858" y="3516589"/>
                <a:ext cx="839177" cy="597046"/>
              </a:xfrm>
              <a:custGeom>
                <a:avLst/>
                <a:gdLst/>
                <a:ahLst/>
                <a:cxnLst>
                  <a:cxn ang="0">
                    <a:pos x="171" y="84"/>
                  </a:cxn>
                  <a:cxn ang="0">
                    <a:pos x="155" y="83"/>
                  </a:cxn>
                  <a:cxn ang="0">
                    <a:pos x="155" y="83"/>
                  </a:cxn>
                  <a:cxn ang="0">
                    <a:pos x="141" y="74"/>
                  </a:cxn>
                  <a:cxn ang="0">
                    <a:pos x="127" y="63"/>
                  </a:cxn>
                  <a:cxn ang="0">
                    <a:pos x="115" y="54"/>
                  </a:cxn>
                  <a:cxn ang="0">
                    <a:pos x="103" y="45"/>
                  </a:cxn>
                  <a:cxn ang="0">
                    <a:pos x="100" y="17"/>
                  </a:cxn>
                  <a:cxn ang="0">
                    <a:pos x="100" y="17"/>
                  </a:cxn>
                  <a:cxn ang="0">
                    <a:pos x="79" y="12"/>
                  </a:cxn>
                  <a:cxn ang="0">
                    <a:pos x="79" y="12"/>
                  </a:cxn>
                  <a:cxn ang="0">
                    <a:pos x="63" y="4"/>
                  </a:cxn>
                  <a:cxn ang="0">
                    <a:pos x="61" y="11"/>
                  </a:cxn>
                  <a:cxn ang="0">
                    <a:pos x="44" y="32"/>
                  </a:cxn>
                  <a:cxn ang="0">
                    <a:pos x="35" y="55"/>
                  </a:cxn>
                  <a:cxn ang="0">
                    <a:pos x="6" y="86"/>
                  </a:cxn>
                  <a:cxn ang="0">
                    <a:pos x="1" y="118"/>
                  </a:cxn>
                  <a:cxn ang="0">
                    <a:pos x="14" y="130"/>
                  </a:cxn>
                  <a:cxn ang="0">
                    <a:pos x="21" y="142"/>
                  </a:cxn>
                  <a:cxn ang="0">
                    <a:pos x="30" y="152"/>
                  </a:cxn>
                  <a:cxn ang="0">
                    <a:pos x="46" y="167"/>
                  </a:cxn>
                  <a:cxn ang="0">
                    <a:pos x="61" y="182"/>
                  </a:cxn>
                  <a:cxn ang="0">
                    <a:pos x="75" y="197"/>
                  </a:cxn>
                  <a:cxn ang="0">
                    <a:pos x="76" y="212"/>
                  </a:cxn>
                  <a:cxn ang="0">
                    <a:pos x="104" y="202"/>
                  </a:cxn>
                  <a:cxn ang="0">
                    <a:pos x="129" y="196"/>
                  </a:cxn>
                  <a:cxn ang="0">
                    <a:pos x="155" y="211"/>
                  </a:cxn>
                  <a:cxn ang="0">
                    <a:pos x="179" y="216"/>
                  </a:cxn>
                  <a:cxn ang="0">
                    <a:pos x="210" y="226"/>
                  </a:cxn>
                  <a:cxn ang="0">
                    <a:pos x="250" y="233"/>
                  </a:cxn>
                  <a:cxn ang="0">
                    <a:pos x="283" y="233"/>
                  </a:cxn>
                  <a:cxn ang="0">
                    <a:pos x="282" y="204"/>
                  </a:cxn>
                  <a:cxn ang="0">
                    <a:pos x="277" y="186"/>
                  </a:cxn>
                  <a:cxn ang="0">
                    <a:pos x="262" y="165"/>
                  </a:cxn>
                  <a:cxn ang="0">
                    <a:pos x="249" y="161"/>
                  </a:cxn>
                  <a:cxn ang="0">
                    <a:pos x="233" y="149"/>
                  </a:cxn>
                  <a:cxn ang="0">
                    <a:pos x="231" y="128"/>
                  </a:cxn>
                  <a:cxn ang="0">
                    <a:pos x="216" y="134"/>
                  </a:cxn>
                  <a:cxn ang="0">
                    <a:pos x="211" y="125"/>
                  </a:cxn>
                  <a:cxn ang="0">
                    <a:pos x="203" y="117"/>
                  </a:cxn>
                  <a:cxn ang="0">
                    <a:pos x="183" y="101"/>
                  </a:cxn>
                  <a:cxn ang="0">
                    <a:pos x="171" y="84"/>
                  </a:cxn>
                  <a:cxn ang="0">
                    <a:pos x="171" y="84"/>
                  </a:cxn>
                </a:cxnLst>
                <a:rect l="0" t="0" r="r" b="b"/>
                <a:pathLst>
                  <a:path w="295" h="238">
                    <a:moveTo>
                      <a:pt x="171" y="84"/>
                    </a:moveTo>
                    <a:cubicBezTo>
                      <a:pt x="155" y="83"/>
                      <a:pt x="155" y="83"/>
                      <a:pt x="155" y="83"/>
                    </a:cubicBezTo>
                    <a:cubicBezTo>
                      <a:pt x="155" y="83"/>
                      <a:pt x="155" y="83"/>
                      <a:pt x="155" y="83"/>
                    </a:cubicBezTo>
                    <a:cubicBezTo>
                      <a:pt x="155" y="83"/>
                      <a:pt x="152" y="74"/>
                      <a:pt x="141" y="74"/>
                    </a:cubicBezTo>
                    <a:cubicBezTo>
                      <a:pt x="141" y="74"/>
                      <a:pt x="129" y="76"/>
                      <a:pt x="127" y="63"/>
                    </a:cubicBezTo>
                    <a:cubicBezTo>
                      <a:pt x="127" y="63"/>
                      <a:pt x="127" y="47"/>
                      <a:pt x="115" y="54"/>
                    </a:cubicBezTo>
                    <a:cubicBezTo>
                      <a:pt x="115" y="54"/>
                      <a:pt x="105" y="53"/>
                      <a:pt x="103" y="45"/>
                    </a:cubicBezTo>
                    <a:cubicBezTo>
                      <a:pt x="103" y="45"/>
                      <a:pt x="97" y="42"/>
                      <a:pt x="100" y="17"/>
                    </a:cubicBezTo>
                    <a:cubicBezTo>
                      <a:pt x="100" y="17"/>
                      <a:pt x="100" y="17"/>
                      <a:pt x="100" y="17"/>
                    </a:cubicBezTo>
                    <a:cubicBezTo>
                      <a:pt x="79" y="12"/>
                      <a:pt x="79" y="12"/>
                      <a:pt x="79" y="12"/>
                    </a:cubicBezTo>
                    <a:cubicBezTo>
                      <a:pt x="79" y="12"/>
                      <a:pt x="79" y="12"/>
                      <a:pt x="79" y="12"/>
                    </a:cubicBezTo>
                    <a:cubicBezTo>
                      <a:pt x="71" y="0"/>
                      <a:pt x="66" y="1"/>
                      <a:pt x="63" y="4"/>
                    </a:cubicBezTo>
                    <a:cubicBezTo>
                      <a:pt x="61" y="6"/>
                      <a:pt x="61" y="11"/>
                      <a:pt x="61" y="11"/>
                    </a:cubicBezTo>
                    <a:cubicBezTo>
                      <a:pt x="46" y="19"/>
                      <a:pt x="44" y="32"/>
                      <a:pt x="44" y="32"/>
                    </a:cubicBezTo>
                    <a:cubicBezTo>
                      <a:pt x="35" y="39"/>
                      <a:pt x="35" y="55"/>
                      <a:pt x="35" y="55"/>
                    </a:cubicBezTo>
                    <a:cubicBezTo>
                      <a:pt x="35" y="55"/>
                      <a:pt x="28" y="75"/>
                      <a:pt x="6" y="86"/>
                    </a:cubicBezTo>
                    <a:cubicBezTo>
                      <a:pt x="0" y="98"/>
                      <a:pt x="1" y="118"/>
                      <a:pt x="1" y="118"/>
                    </a:cubicBezTo>
                    <a:cubicBezTo>
                      <a:pt x="16" y="113"/>
                      <a:pt x="14" y="130"/>
                      <a:pt x="14" y="130"/>
                    </a:cubicBezTo>
                    <a:cubicBezTo>
                      <a:pt x="24" y="131"/>
                      <a:pt x="21" y="142"/>
                      <a:pt x="21" y="142"/>
                    </a:cubicBezTo>
                    <a:cubicBezTo>
                      <a:pt x="20" y="154"/>
                      <a:pt x="30" y="152"/>
                      <a:pt x="30" y="152"/>
                    </a:cubicBezTo>
                    <a:cubicBezTo>
                      <a:pt x="45" y="149"/>
                      <a:pt x="35" y="164"/>
                      <a:pt x="46" y="167"/>
                    </a:cubicBezTo>
                    <a:cubicBezTo>
                      <a:pt x="46" y="189"/>
                      <a:pt x="61" y="182"/>
                      <a:pt x="61" y="182"/>
                    </a:cubicBezTo>
                    <a:cubicBezTo>
                      <a:pt x="76" y="175"/>
                      <a:pt x="83" y="195"/>
                      <a:pt x="75" y="197"/>
                    </a:cubicBezTo>
                    <a:cubicBezTo>
                      <a:pt x="72" y="209"/>
                      <a:pt x="76" y="212"/>
                      <a:pt x="76" y="212"/>
                    </a:cubicBezTo>
                    <a:cubicBezTo>
                      <a:pt x="87" y="212"/>
                      <a:pt x="84" y="196"/>
                      <a:pt x="104" y="202"/>
                    </a:cubicBezTo>
                    <a:cubicBezTo>
                      <a:pt x="113" y="175"/>
                      <a:pt x="129" y="196"/>
                      <a:pt x="129" y="196"/>
                    </a:cubicBezTo>
                    <a:cubicBezTo>
                      <a:pt x="139" y="214"/>
                      <a:pt x="155" y="211"/>
                      <a:pt x="155" y="211"/>
                    </a:cubicBezTo>
                    <a:cubicBezTo>
                      <a:pt x="164" y="205"/>
                      <a:pt x="179" y="216"/>
                      <a:pt x="179" y="216"/>
                    </a:cubicBezTo>
                    <a:cubicBezTo>
                      <a:pt x="189" y="215"/>
                      <a:pt x="195" y="230"/>
                      <a:pt x="210" y="226"/>
                    </a:cubicBezTo>
                    <a:cubicBezTo>
                      <a:pt x="220" y="224"/>
                      <a:pt x="230" y="238"/>
                      <a:pt x="250" y="233"/>
                    </a:cubicBezTo>
                    <a:cubicBezTo>
                      <a:pt x="266" y="229"/>
                      <a:pt x="277" y="230"/>
                      <a:pt x="283" y="233"/>
                    </a:cubicBezTo>
                    <a:cubicBezTo>
                      <a:pt x="295" y="212"/>
                      <a:pt x="282" y="204"/>
                      <a:pt x="282" y="204"/>
                    </a:cubicBezTo>
                    <a:cubicBezTo>
                      <a:pt x="273" y="200"/>
                      <a:pt x="284" y="190"/>
                      <a:pt x="277" y="186"/>
                    </a:cubicBezTo>
                    <a:cubicBezTo>
                      <a:pt x="271" y="167"/>
                      <a:pt x="262" y="165"/>
                      <a:pt x="262" y="165"/>
                    </a:cubicBezTo>
                    <a:cubicBezTo>
                      <a:pt x="255" y="149"/>
                      <a:pt x="249" y="161"/>
                      <a:pt x="249" y="161"/>
                    </a:cubicBezTo>
                    <a:cubicBezTo>
                      <a:pt x="224" y="164"/>
                      <a:pt x="233" y="149"/>
                      <a:pt x="233" y="149"/>
                    </a:cubicBezTo>
                    <a:cubicBezTo>
                      <a:pt x="238" y="120"/>
                      <a:pt x="231" y="128"/>
                      <a:pt x="231" y="128"/>
                    </a:cubicBezTo>
                    <a:cubicBezTo>
                      <a:pt x="220" y="127"/>
                      <a:pt x="216" y="134"/>
                      <a:pt x="216" y="134"/>
                    </a:cubicBezTo>
                    <a:cubicBezTo>
                      <a:pt x="203" y="136"/>
                      <a:pt x="211" y="125"/>
                      <a:pt x="211" y="125"/>
                    </a:cubicBezTo>
                    <a:cubicBezTo>
                      <a:pt x="210" y="118"/>
                      <a:pt x="203" y="117"/>
                      <a:pt x="203" y="117"/>
                    </a:cubicBezTo>
                    <a:cubicBezTo>
                      <a:pt x="194" y="115"/>
                      <a:pt x="200" y="100"/>
                      <a:pt x="183" y="101"/>
                    </a:cubicBezTo>
                    <a:cubicBezTo>
                      <a:pt x="184" y="92"/>
                      <a:pt x="171" y="84"/>
                      <a:pt x="171" y="84"/>
                    </a:cubicBezTo>
                    <a:cubicBezTo>
                      <a:pt x="171" y="84"/>
                      <a:pt x="171" y="84"/>
                      <a:pt x="171" y="84"/>
                    </a:cubicBezTo>
                    <a:close/>
                  </a:path>
                </a:pathLst>
              </a:custGeom>
              <a:solidFill>
                <a:srgbClr val="EEBB0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42" name="Freeform 128"/>
              <p:cNvSpPr>
                <a:spLocks/>
              </p:cNvSpPr>
              <p:nvPr/>
            </p:nvSpPr>
            <p:spPr bwMode="auto">
              <a:xfrm>
                <a:off x="3850912" y="4963972"/>
                <a:ext cx="1536741" cy="841292"/>
              </a:xfrm>
              <a:custGeom>
                <a:avLst/>
                <a:gdLst/>
                <a:ahLst/>
                <a:cxnLst>
                  <a:cxn ang="0">
                    <a:pos x="172" y="17"/>
                  </a:cxn>
                  <a:cxn ang="0">
                    <a:pos x="192" y="29"/>
                  </a:cxn>
                  <a:cxn ang="0">
                    <a:pos x="219" y="32"/>
                  </a:cxn>
                  <a:cxn ang="0">
                    <a:pos x="221" y="46"/>
                  </a:cxn>
                  <a:cxn ang="0">
                    <a:pos x="228" y="39"/>
                  </a:cxn>
                  <a:cxn ang="0">
                    <a:pos x="250" y="47"/>
                  </a:cxn>
                  <a:cxn ang="0">
                    <a:pos x="272" y="51"/>
                  </a:cxn>
                  <a:cxn ang="0">
                    <a:pos x="260" y="41"/>
                  </a:cxn>
                  <a:cxn ang="0">
                    <a:pos x="275" y="57"/>
                  </a:cxn>
                  <a:cxn ang="0">
                    <a:pos x="280" y="65"/>
                  </a:cxn>
                  <a:cxn ang="0">
                    <a:pos x="289" y="72"/>
                  </a:cxn>
                  <a:cxn ang="0">
                    <a:pos x="298" y="65"/>
                  </a:cxn>
                  <a:cxn ang="0">
                    <a:pos x="300" y="83"/>
                  </a:cxn>
                  <a:cxn ang="0">
                    <a:pos x="334" y="105"/>
                  </a:cxn>
                  <a:cxn ang="0">
                    <a:pos x="343" y="117"/>
                  </a:cxn>
                  <a:cxn ang="0">
                    <a:pos x="343" y="131"/>
                  </a:cxn>
                  <a:cxn ang="0">
                    <a:pos x="363" y="154"/>
                  </a:cxn>
                  <a:cxn ang="0">
                    <a:pos x="399" y="159"/>
                  </a:cxn>
                  <a:cxn ang="0">
                    <a:pos x="342" y="104"/>
                  </a:cxn>
                  <a:cxn ang="0">
                    <a:pos x="310" y="49"/>
                  </a:cxn>
                  <a:cxn ang="0">
                    <a:pos x="289" y="19"/>
                  </a:cxn>
                  <a:cxn ang="0">
                    <a:pos x="301" y="15"/>
                  </a:cxn>
                  <a:cxn ang="0">
                    <a:pos x="305" y="12"/>
                  </a:cxn>
                  <a:cxn ang="0">
                    <a:pos x="330" y="81"/>
                  </a:cxn>
                  <a:cxn ang="0">
                    <a:pos x="385" y="149"/>
                  </a:cxn>
                  <a:cxn ang="0">
                    <a:pos x="441" y="121"/>
                  </a:cxn>
                  <a:cxn ang="0">
                    <a:pos x="494" y="119"/>
                  </a:cxn>
                  <a:cxn ang="0">
                    <a:pos x="543" y="132"/>
                  </a:cxn>
                  <a:cxn ang="0">
                    <a:pos x="520" y="177"/>
                  </a:cxn>
                  <a:cxn ang="0">
                    <a:pos x="499" y="201"/>
                  </a:cxn>
                  <a:cxn ang="0">
                    <a:pos x="460" y="205"/>
                  </a:cxn>
                  <a:cxn ang="0">
                    <a:pos x="429" y="192"/>
                  </a:cxn>
                  <a:cxn ang="0">
                    <a:pos x="391" y="205"/>
                  </a:cxn>
                  <a:cxn ang="0">
                    <a:pos x="357" y="247"/>
                  </a:cxn>
                  <a:cxn ang="0">
                    <a:pos x="316" y="247"/>
                  </a:cxn>
                  <a:cxn ang="0">
                    <a:pos x="268" y="279"/>
                  </a:cxn>
                  <a:cxn ang="0">
                    <a:pos x="217" y="331"/>
                  </a:cxn>
                  <a:cxn ang="0">
                    <a:pos x="165" y="319"/>
                  </a:cxn>
                  <a:cxn ang="0">
                    <a:pos x="133" y="297"/>
                  </a:cxn>
                  <a:cxn ang="0">
                    <a:pos x="161" y="246"/>
                  </a:cxn>
                  <a:cxn ang="0">
                    <a:pos x="128" y="185"/>
                  </a:cxn>
                  <a:cxn ang="0">
                    <a:pos x="85" y="171"/>
                  </a:cxn>
                  <a:cxn ang="0">
                    <a:pos x="25" y="167"/>
                  </a:cxn>
                  <a:cxn ang="0">
                    <a:pos x="49" y="123"/>
                  </a:cxn>
                  <a:cxn ang="0">
                    <a:pos x="98" y="82"/>
                  </a:cxn>
                  <a:cxn ang="0">
                    <a:pos x="129" y="71"/>
                  </a:cxn>
                  <a:cxn ang="0">
                    <a:pos x="148" y="62"/>
                  </a:cxn>
                  <a:cxn ang="0">
                    <a:pos x="165" y="58"/>
                  </a:cxn>
                  <a:cxn ang="0">
                    <a:pos x="170" y="47"/>
                  </a:cxn>
                  <a:cxn ang="0">
                    <a:pos x="158" y="31"/>
                  </a:cxn>
                  <a:cxn ang="0">
                    <a:pos x="154" y="21"/>
                  </a:cxn>
                  <a:cxn ang="0">
                    <a:pos x="153" y="2"/>
                  </a:cxn>
                  <a:cxn ang="0">
                    <a:pos x="168" y="6"/>
                  </a:cxn>
                </a:cxnLst>
                <a:rect l="0" t="0" r="r" b="b"/>
                <a:pathLst>
                  <a:path w="543" h="337">
                    <a:moveTo>
                      <a:pt x="168" y="6"/>
                    </a:moveTo>
                    <a:cubicBezTo>
                      <a:pt x="168" y="13"/>
                      <a:pt x="172" y="17"/>
                      <a:pt x="172" y="17"/>
                    </a:cubicBezTo>
                    <a:cubicBezTo>
                      <a:pt x="177" y="10"/>
                      <a:pt x="185" y="22"/>
                      <a:pt x="185" y="22"/>
                    </a:cubicBezTo>
                    <a:cubicBezTo>
                      <a:pt x="185" y="35"/>
                      <a:pt x="192" y="29"/>
                      <a:pt x="192" y="29"/>
                    </a:cubicBezTo>
                    <a:cubicBezTo>
                      <a:pt x="192" y="18"/>
                      <a:pt x="200" y="21"/>
                      <a:pt x="200" y="21"/>
                    </a:cubicBezTo>
                    <a:cubicBezTo>
                      <a:pt x="213" y="17"/>
                      <a:pt x="219" y="32"/>
                      <a:pt x="219" y="32"/>
                    </a:cubicBezTo>
                    <a:cubicBezTo>
                      <a:pt x="219" y="32"/>
                      <a:pt x="219" y="32"/>
                      <a:pt x="219" y="32"/>
                    </a:cubicBezTo>
                    <a:cubicBezTo>
                      <a:pt x="221" y="46"/>
                      <a:pt x="221" y="46"/>
                      <a:pt x="221" y="46"/>
                    </a:cubicBezTo>
                    <a:cubicBezTo>
                      <a:pt x="221" y="46"/>
                      <a:pt x="221" y="46"/>
                      <a:pt x="221" y="46"/>
                    </a:cubicBezTo>
                    <a:cubicBezTo>
                      <a:pt x="224" y="36"/>
                      <a:pt x="228" y="39"/>
                      <a:pt x="228" y="39"/>
                    </a:cubicBezTo>
                    <a:cubicBezTo>
                      <a:pt x="228" y="33"/>
                      <a:pt x="237" y="35"/>
                      <a:pt x="237" y="35"/>
                    </a:cubicBezTo>
                    <a:cubicBezTo>
                      <a:pt x="246" y="33"/>
                      <a:pt x="250" y="47"/>
                      <a:pt x="250" y="47"/>
                    </a:cubicBezTo>
                    <a:cubicBezTo>
                      <a:pt x="249" y="60"/>
                      <a:pt x="261" y="61"/>
                      <a:pt x="261" y="61"/>
                    </a:cubicBezTo>
                    <a:cubicBezTo>
                      <a:pt x="267" y="61"/>
                      <a:pt x="272" y="51"/>
                      <a:pt x="272" y="51"/>
                    </a:cubicBezTo>
                    <a:cubicBezTo>
                      <a:pt x="272" y="45"/>
                      <a:pt x="264" y="44"/>
                      <a:pt x="264" y="44"/>
                    </a:cubicBezTo>
                    <a:cubicBezTo>
                      <a:pt x="262" y="43"/>
                      <a:pt x="261" y="43"/>
                      <a:pt x="260" y="41"/>
                    </a:cubicBezTo>
                    <a:cubicBezTo>
                      <a:pt x="266" y="31"/>
                      <a:pt x="279" y="41"/>
                      <a:pt x="279" y="41"/>
                    </a:cubicBezTo>
                    <a:cubicBezTo>
                      <a:pt x="280" y="54"/>
                      <a:pt x="275" y="57"/>
                      <a:pt x="275" y="57"/>
                    </a:cubicBezTo>
                    <a:cubicBezTo>
                      <a:pt x="266" y="68"/>
                      <a:pt x="268" y="76"/>
                      <a:pt x="268" y="76"/>
                    </a:cubicBezTo>
                    <a:cubicBezTo>
                      <a:pt x="275" y="78"/>
                      <a:pt x="280" y="65"/>
                      <a:pt x="280" y="65"/>
                    </a:cubicBezTo>
                    <a:cubicBezTo>
                      <a:pt x="286" y="53"/>
                      <a:pt x="294" y="51"/>
                      <a:pt x="294" y="51"/>
                    </a:cubicBezTo>
                    <a:cubicBezTo>
                      <a:pt x="290" y="63"/>
                      <a:pt x="289" y="72"/>
                      <a:pt x="289" y="72"/>
                    </a:cubicBezTo>
                    <a:cubicBezTo>
                      <a:pt x="289" y="72"/>
                      <a:pt x="289" y="72"/>
                      <a:pt x="289" y="72"/>
                    </a:cubicBezTo>
                    <a:cubicBezTo>
                      <a:pt x="298" y="65"/>
                      <a:pt x="298" y="65"/>
                      <a:pt x="298" y="65"/>
                    </a:cubicBezTo>
                    <a:cubicBezTo>
                      <a:pt x="298" y="65"/>
                      <a:pt x="298" y="65"/>
                      <a:pt x="298" y="65"/>
                    </a:cubicBezTo>
                    <a:cubicBezTo>
                      <a:pt x="302" y="70"/>
                      <a:pt x="300" y="83"/>
                      <a:pt x="300" y="83"/>
                    </a:cubicBezTo>
                    <a:cubicBezTo>
                      <a:pt x="315" y="83"/>
                      <a:pt x="319" y="92"/>
                      <a:pt x="319" y="92"/>
                    </a:cubicBezTo>
                    <a:cubicBezTo>
                      <a:pt x="330" y="93"/>
                      <a:pt x="334" y="105"/>
                      <a:pt x="334" y="105"/>
                    </a:cubicBezTo>
                    <a:cubicBezTo>
                      <a:pt x="343" y="110"/>
                      <a:pt x="343" y="117"/>
                      <a:pt x="343" y="117"/>
                    </a:cubicBezTo>
                    <a:cubicBezTo>
                      <a:pt x="343" y="117"/>
                      <a:pt x="343" y="117"/>
                      <a:pt x="343" y="117"/>
                    </a:cubicBezTo>
                    <a:cubicBezTo>
                      <a:pt x="343" y="131"/>
                      <a:pt x="343" y="131"/>
                      <a:pt x="343" y="131"/>
                    </a:cubicBezTo>
                    <a:cubicBezTo>
                      <a:pt x="343" y="131"/>
                      <a:pt x="343" y="131"/>
                      <a:pt x="343" y="131"/>
                    </a:cubicBezTo>
                    <a:cubicBezTo>
                      <a:pt x="338" y="141"/>
                      <a:pt x="346" y="147"/>
                      <a:pt x="346" y="147"/>
                    </a:cubicBezTo>
                    <a:cubicBezTo>
                      <a:pt x="356" y="148"/>
                      <a:pt x="363" y="154"/>
                      <a:pt x="363" y="154"/>
                    </a:cubicBezTo>
                    <a:cubicBezTo>
                      <a:pt x="378" y="157"/>
                      <a:pt x="390" y="166"/>
                      <a:pt x="390" y="166"/>
                    </a:cubicBezTo>
                    <a:cubicBezTo>
                      <a:pt x="392" y="161"/>
                      <a:pt x="399" y="159"/>
                      <a:pt x="399" y="159"/>
                    </a:cubicBezTo>
                    <a:cubicBezTo>
                      <a:pt x="385" y="160"/>
                      <a:pt x="374" y="144"/>
                      <a:pt x="374" y="144"/>
                    </a:cubicBezTo>
                    <a:cubicBezTo>
                      <a:pt x="360" y="127"/>
                      <a:pt x="342" y="104"/>
                      <a:pt x="342" y="104"/>
                    </a:cubicBezTo>
                    <a:cubicBezTo>
                      <a:pt x="327" y="84"/>
                      <a:pt x="319" y="65"/>
                      <a:pt x="319" y="65"/>
                    </a:cubicBezTo>
                    <a:cubicBezTo>
                      <a:pt x="305" y="75"/>
                      <a:pt x="310" y="49"/>
                      <a:pt x="310" y="49"/>
                    </a:cubicBezTo>
                    <a:cubicBezTo>
                      <a:pt x="302" y="46"/>
                      <a:pt x="307" y="32"/>
                      <a:pt x="307" y="32"/>
                    </a:cubicBezTo>
                    <a:cubicBezTo>
                      <a:pt x="295" y="32"/>
                      <a:pt x="289" y="19"/>
                      <a:pt x="289" y="19"/>
                    </a:cubicBezTo>
                    <a:cubicBezTo>
                      <a:pt x="287" y="13"/>
                      <a:pt x="301" y="15"/>
                      <a:pt x="301" y="15"/>
                    </a:cubicBezTo>
                    <a:cubicBezTo>
                      <a:pt x="301" y="15"/>
                      <a:pt x="301" y="15"/>
                      <a:pt x="301" y="15"/>
                    </a:cubicBezTo>
                    <a:cubicBezTo>
                      <a:pt x="305" y="12"/>
                      <a:pt x="305" y="12"/>
                      <a:pt x="305" y="12"/>
                    </a:cubicBezTo>
                    <a:cubicBezTo>
                      <a:pt x="305" y="12"/>
                      <a:pt x="305" y="12"/>
                      <a:pt x="305" y="12"/>
                    </a:cubicBezTo>
                    <a:cubicBezTo>
                      <a:pt x="305" y="26"/>
                      <a:pt x="312" y="35"/>
                      <a:pt x="312" y="35"/>
                    </a:cubicBezTo>
                    <a:cubicBezTo>
                      <a:pt x="313" y="50"/>
                      <a:pt x="330" y="81"/>
                      <a:pt x="330" y="81"/>
                    </a:cubicBezTo>
                    <a:cubicBezTo>
                      <a:pt x="335" y="87"/>
                      <a:pt x="355" y="115"/>
                      <a:pt x="355" y="115"/>
                    </a:cubicBezTo>
                    <a:cubicBezTo>
                      <a:pt x="369" y="134"/>
                      <a:pt x="385" y="149"/>
                      <a:pt x="385" y="149"/>
                    </a:cubicBezTo>
                    <a:cubicBezTo>
                      <a:pt x="393" y="161"/>
                      <a:pt x="423" y="147"/>
                      <a:pt x="423" y="147"/>
                    </a:cubicBezTo>
                    <a:cubicBezTo>
                      <a:pt x="430" y="144"/>
                      <a:pt x="441" y="121"/>
                      <a:pt x="441" y="121"/>
                    </a:cubicBezTo>
                    <a:cubicBezTo>
                      <a:pt x="455" y="146"/>
                      <a:pt x="470" y="132"/>
                      <a:pt x="470" y="132"/>
                    </a:cubicBezTo>
                    <a:cubicBezTo>
                      <a:pt x="474" y="116"/>
                      <a:pt x="494" y="119"/>
                      <a:pt x="494" y="119"/>
                    </a:cubicBezTo>
                    <a:cubicBezTo>
                      <a:pt x="512" y="115"/>
                      <a:pt x="527" y="120"/>
                      <a:pt x="527" y="120"/>
                    </a:cubicBezTo>
                    <a:cubicBezTo>
                      <a:pt x="541" y="122"/>
                      <a:pt x="543" y="132"/>
                      <a:pt x="543" y="132"/>
                    </a:cubicBezTo>
                    <a:cubicBezTo>
                      <a:pt x="540" y="144"/>
                      <a:pt x="521" y="153"/>
                      <a:pt x="521" y="153"/>
                    </a:cubicBezTo>
                    <a:cubicBezTo>
                      <a:pt x="517" y="159"/>
                      <a:pt x="520" y="177"/>
                      <a:pt x="520" y="177"/>
                    </a:cubicBezTo>
                    <a:cubicBezTo>
                      <a:pt x="536" y="190"/>
                      <a:pt x="513" y="193"/>
                      <a:pt x="513" y="193"/>
                    </a:cubicBezTo>
                    <a:cubicBezTo>
                      <a:pt x="501" y="191"/>
                      <a:pt x="499" y="201"/>
                      <a:pt x="499" y="201"/>
                    </a:cubicBezTo>
                    <a:cubicBezTo>
                      <a:pt x="492" y="204"/>
                      <a:pt x="472" y="197"/>
                      <a:pt x="472" y="197"/>
                    </a:cubicBezTo>
                    <a:cubicBezTo>
                      <a:pt x="469" y="207"/>
                      <a:pt x="460" y="205"/>
                      <a:pt x="460" y="205"/>
                    </a:cubicBezTo>
                    <a:cubicBezTo>
                      <a:pt x="451" y="215"/>
                      <a:pt x="441" y="200"/>
                      <a:pt x="441" y="200"/>
                    </a:cubicBezTo>
                    <a:cubicBezTo>
                      <a:pt x="438" y="193"/>
                      <a:pt x="429" y="192"/>
                      <a:pt x="429" y="192"/>
                    </a:cubicBezTo>
                    <a:cubicBezTo>
                      <a:pt x="420" y="179"/>
                      <a:pt x="399" y="189"/>
                      <a:pt x="399" y="189"/>
                    </a:cubicBezTo>
                    <a:cubicBezTo>
                      <a:pt x="391" y="199"/>
                      <a:pt x="391" y="205"/>
                      <a:pt x="391" y="205"/>
                    </a:cubicBezTo>
                    <a:cubicBezTo>
                      <a:pt x="385" y="216"/>
                      <a:pt x="373" y="222"/>
                      <a:pt x="373" y="222"/>
                    </a:cubicBezTo>
                    <a:cubicBezTo>
                      <a:pt x="356" y="226"/>
                      <a:pt x="357" y="247"/>
                      <a:pt x="357" y="247"/>
                    </a:cubicBezTo>
                    <a:cubicBezTo>
                      <a:pt x="351" y="257"/>
                      <a:pt x="338" y="240"/>
                      <a:pt x="338" y="240"/>
                    </a:cubicBezTo>
                    <a:cubicBezTo>
                      <a:pt x="327" y="250"/>
                      <a:pt x="316" y="247"/>
                      <a:pt x="316" y="247"/>
                    </a:cubicBezTo>
                    <a:cubicBezTo>
                      <a:pt x="302" y="247"/>
                      <a:pt x="296" y="259"/>
                      <a:pt x="296" y="259"/>
                    </a:cubicBezTo>
                    <a:cubicBezTo>
                      <a:pt x="286" y="255"/>
                      <a:pt x="268" y="279"/>
                      <a:pt x="268" y="279"/>
                    </a:cubicBezTo>
                    <a:cubicBezTo>
                      <a:pt x="258" y="285"/>
                      <a:pt x="267" y="303"/>
                      <a:pt x="249" y="302"/>
                    </a:cubicBezTo>
                    <a:cubicBezTo>
                      <a:pt x="240" y="315"/>
                      <a:pt x="229" y="327"/>
                      <a:pt x="217" y="331"/>
                    </a:cubicBezTo>
                    <a:cubicBezTo>
                      <a:pt x="195" y="337"/>
                      <a:pt x="176" y="331"/>
                      <a:pt x="176" y="331"/>
                    </a:cubicBezTo>
                    <a:cubicBezTo>
                      <a:pt x="171" y="324"/>
                      <a:pt x="165" y="319"/>
                      <a:pt x="165" y="319"/>
                    </a:cubicBezTo>
                    <a:cubicBezTo>
                      <a:pt x="163" y="310"/>
                      <a:pt x="148" y="314"/>
                      <a:pt x="148" y="314"/>
                    </a:cubicBezTo>
                    <a:cubicBezTo>
                      <a:pt x="138" y="311"/>
                      <a:pt x="133" y="297"/>
                      <a:pt x="133" y="297"/>
                    </a:cubicBezTo>
                    <a:cubicBezTo>
                      <a:pt x="134" y="291"/>
                      <a:pt x="143" y="296"/>
                      <a:pt x="154" y="285"/>
                    </a:cubicBezTo>
                    <a:cubicBezTo>
                      <a:pt x="154" y="274"/>
                      <a:pt x="140" y="267"/>
                      <a:pt x="161" y="246"/>
                    </a:cubicBezTo>
                    <a:cubicBezTo>
                      <a:pt x="165" y="226"/>
                      <a:pt x="153" y="205"/>
                      <a:pt x="153" y="205"/>
                    </a:cubicBezTo>
                    <a:cubicBezTo>
                      <a:pt x="144" y="190"/>
                      <a:pt x="128" y="185"/>
                      <a:pt x="128" y="185"/>
                    </a:cubicBezTo>
                    <a:cubicBezTo>
                      <a:pt x="110" y="202"/>
                      <a:pt x="103" y="189"/>
                      <a:pt x="103" y="189"/>
                    </a:cubicBezTo>
                    <a:cubicBezTo>
                      <a:pt x="101" y="183"/>
                      <a:pt x="85" y="171"/>
                      <a:pt x="85" y="171"/>
                    </a:cubicBezTo>
                    <a:cubicBezTo>
                      <a:pt x="63" y="154"/>
                      <a:pt x="52" y="160"/>
                      <a:pt x="52" y="160"/>
                    </a:cubicBezTo>
                    <a:cubicBezTo>
                      <a:pt x="44" y="158"/>
                      <a:pt x="36" y="173"/>
                      <a:pt x="25" y="167"/>
                    </a:cubicBezTo>
                    <a:cubicBezTo>
                      <a:pt x="0" y="153"/>
                      <a:pt x="25" y="138"/>
                      <a:pt x="25" y="138"/>
                    </a:cubicBezTo>
                    <a:cubicBezTo>
                      <a:pt x="27" y="131"/>
                      <a:pt x="49" y="123"/>
                      <a:pt x="49" y="123"/>
                    </a:cubicBezTo>
                    <a:cubicBezTo>
                      <a:pt x="55" y="110"/>
                      <a:pt x="76" y="101"/>
                      <a:pt x="76" y="101"/>
                    </a:cubicBezTo>
                    <a:cubicBezTo>
                      <a:pt x="84" y="89"/>
                      <a:pt x="98" y="82"/>
                      <a:pt x="98" y="82"/>
                    </a:cubicBezTo>
                    <a:cubicBezTo>
                      <a:pt x="118" y="83"/>
                      <a:pt x="129" y="71"/>
                      <a:pt x="129" y="71"/>
                    </a:cubicBezTo>
                    <a:cubicBezTo>
                      <a:pt x="129" y="71"/>
                      <a:pt x="129" y="71"/>
                      <a:pt x="129" y="71"/>
                    </a:cubicBezTo>
                    <a:cubicBezTo>
                      <a:pt x="148" y="62"/>
                      <a:pt x="148" y="62"/>
                      <a:pt x="148" y="62"/>
                    </a:cubicBezTo>
                    <a:cubicBezTo>
                      <a:pt x="148" y="62"/>
                      <a:pt x="148" y="62"/>
                      <a:pt x="148" y="62"/>
                    </a:cubicBezTo>
                    <a:cubicBezTo>
                      <a:pt x="169" y="68"/>
                      <a:pt x="165" y="58"/>
                      <a:pt x="165" y="58"/>
                    </a:cubicBezTo>
                    <a:cubicBezTo>
                      <a:pt x="165" y="58"/>
                      <a:pt x="165" y="58"/>
                      <a:pt x="165" y="58"/>
                    </a:cubicBezTo>
                    <a:cubicBezTo>
                      <a:pt x="170" y="47"/>
                      <a:pt x="170" y="47"/>
                      <a:pt x="170" y="47"/>
                    </a:cubicBezTo>
                    <a:cubicBezTo>
                      <a:pt x="170" y="47"/>
                      <a:pt x="170" y="47"/>
                      <a:pt x="170" y="47"/>
                    </a:cubicBezTo>
                    <a:cubicBezTo>
                      <a:pt x="148" y="61"/>
                      <a:pt x="158" y="31"/>
                      <a:pt x="158" y="31"/>
                    </a:cubicBezTo>
                    <a:cubicBezTo>
                      <a:pt x="158" y="31"/>
                      <a:pt x="158" y="31"/>
                      <a:pt x="158" y="31"/>
                    </a:cubicBezTo>
                    <a:cubicBezTo>
                      <a:pt x="154" y="21"/>
                      <a:pt x="154" y="21"/>
                      <a:pt x="154" y="21"/>
                    </a:cubicBezTo>
                    <a:cubicBezTo>
                      <a:pt x="154" y="21"/>
                      <a:pt x="154" y="21"/>
                      <a:pt x="154" y="21"/>
                    </a:cubicBezTo>
                    <a:cubicBezTo>
                      <a:pt x="154" y="17"/>
                      <a:pt x="151" y="15"/>
                      <a:pt x="151" y="14"/>
                    </a:cubicBezTo>
                    <a:cubicBezTo>
                      <a:pt x="155" y="10"/>
                      <a:pt x="153" y="2"/>
                      <a:pt x="153" y="2"/>
                    </a:cubicBezTo>
                    <a:cubicBezTo>
                      <a:pt x="161" y="0"/>
                      <a:pt x="168" y="6"/>
                      <a:pt x="168" y="6"/>
                    </a:cubicBezTo>
                    <a:cubicBezTo>
                      <a:pt x="168" y="6"/>
                      <a:pt x="168" y="6"/>
                      <a:pt x="168" y="6"/>
                    </a:cubicBezTo>
                    <a:close/>
                  </a:path>
                </a:pathLst>
              </a:custGeom>
              <a:solidFill>
                <a:sysClr val="window" lastClr="FFFFFF">
                  <a:lumMod val="65000"/>
                </a:sys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43" name="Line 33"/>
              <p:cNvSpPr>
                <a:spLocks noChangeShapeType="1"/>
              </p:cNvSpPr>
              <p:nvPr/>
            </p:nvSpPr>
            <p:spPr bwMode="auto">
              <a:xfrm flipV="1">
                <a:off x="3200550" y="2688868"/>
                <a:ext cx="0" cy="27138"/>
              </a:xfrm>
              <a:prstGeom prst="line">
                <a:avLst/>
              </a:prstGeom>
              <a:no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44" name="Freeform 32"/>
              <p:cNvSpPr>
                <a:spLocks/>
              </p:cNvSpPr>
              <p:nvPr/>
            </p:nvSpPr>
            <p:spPr bwMode="auto">
              <a:xfrm>
                <a:off x="3840422" y="4701634"/>
                <a:ext cx="325181" cy="122124"/>
              </a:xfrm>
              <a:custGeom>
                <a:avLst/>
                <a:gdLst/>
                <a:ahLst/>
                <a:cxnLst>
                  <a:cxn ang="0">
                    <a:pos x="0" y="48"/>
                  </a:cxn>
                  <a:cxn ang="0">
                    <a:pos x="18" y="37"/>
                  </a:cxn>
                  <a:cxn ang="0">
                    <a:pos x="44" y="24"/>
                  </a:cxn>
                  <a:cxn ang="0">
                    <a:pos x="62" y="16"/>
                  </a:cxn>
                  <a:cxn ang="0">
                    <a:pos x="84" y="8"/>
                  </a:cxn>
                  <a:cxn ang="0">
                    <a:pos x="115" y="5"/>
                  </a:cxn>
                </a:cxnLst>
                <a:rect l="0" t="0" r="r" b="b"/>
                <a:pathLst>
                  <a:path w="115" h="48">
                    <a:moveTo>
                      <a:pt x="0" y="48"/>
                    </a:moveTo>
                    <a:cubicBezTo>
                      <a:pt x="8" y="39"/>
                      <a:pt x="18" y="37"/>
                      <a:pt x="18" y="37"/>
                    </a:cubicBezTo>
                    <a:cubicBezTo>
                      <a:pt x="31" y="24"/>
                      <a:pt x="44" y="24"/>
                      <a:pt x="44" y="24"/>
                    </a:cubicBezTo>
                    <a:cubicBezTo>
                      <a:pt x="51" y="26"/>
                      <a:pt x="62" y="16"/>
                      <a:pt x="62" y="16"/>
                    </a:cubicBezTo>
                    <a:cubicBezTo>
                      <a:pt x="69" y="5"/>
                      <a:pt x="84" y="8"/>
                      <a:pt x="84" y="8"/>
                    </a:cubicBezTo>
                    <a:cubicBezTo>
                      <a:pt x="98" y="0"/>
                      <a:pt x="100" y="14"/>
                      <a:pt x="115" y="5"/>
                    </a:cubicBezTo>
                  </a:path>
                </a:pathLst>
              </a:custGeom>
              <a:solidFill>
                <a:sysClr val="window" lastClr="FFFFFF">
                  <a:lumMod val="65000"/>
                </a:sysClr>
              </a:solidFill>
              <a:ln w="6350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800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45" name="Freeform 31"/>
              <p:cNvSpPr>
                <a:spLocks/>
              </p:cNvSpPr>
              <p:nvPr/>
            </p:nvSpPr>
            <p:spPr bwMode="auto">
              <a:xfrm>
                <a:off x="4726801" y="3910098"/>
                <a:ext cx="62938" cy="298523"/>
              </a:xfrm>
              <a:custGeom>
                <a:avLst/>
                <a:gdLst/>
                <a:ahLst/>
                <a:cxnLst>
                  <a:cxn ang="0">
                    <a:pos x="13" y="120"/>
                  </a:cxn>
                  <a:cxn ang="0">
                    <a:pos x="13" y="105"/>
                  </a:cxn>
                  <a:cxn ang="0">
                    <a:pos x="6" y="79"/>
                  </a:cxn>
                  <a:cxn ang="0">
                    <a:pos x="12" y="67"/>
                  </a:cxn>
                  <a:cxn ang="0">
                    <a:pos x="20" y="52"/>
                  </a:cxn>
                  <a:cxn ang="0">
                    <a:pos x="12" y="32"/>
                  </a:cxn>
                  <a:cxn ang="0">
                    <a:pos x="6" y="15"/>
                  </a:cxn>
                  <a:cxn ang="0">
                    <a:pos x="10" y="0"/>
                  </a:cxn>
                </a:cxnLst>
                <a:rect l="0" t="0" r="r" b="b"/>
                <a:pathLst>
                  <a:path w="21" h="120">
                    <a:moveTo>
                      <a:pt x="13" y="120"/>
                    </a:moveTo>
                    <a:cubicBezTo>
                      <a:pt x="8" y="118"/>
                      <a:pt x="13" y="105"/>
                      <a:pt x="13" y="105"/>
                    </a:cubicBezTo>
                    <a:cubicBezTo>
                      <a:pt x="21" y="85"/>
                      <a:pt x="6" y="79"/>
                      <a:pt x="6" y="79"/>
                    </a:cubicBezTo>
                    <a:cubicBezTo>
                      <a:pt x="1" y="71"/>
                      <a:pt x="7" y="65"/>
                      <a:pt x="12" y="67"/>
                    </a:cubicBezTo>
                    <a:cubicBezTo>
                      <a:pt x="20" y="72"/>
                      <a:pt x="20" y="52"/>
                      <a:pt x="20" y="52"/>
                    </a:cubicBezTo>
                    <a:cubicBezTo>
                      <a:pt x="19" y="40"/>
                      <a:pt x="12" y="32"/>
                      <a:pt x="12" y="32"/>
                    </a:cubicBezTo>
                    <a:cubicBezTo>
                      <a:pt x="12" y="23"/>
                      <a:pt x="6" y="15"/>
                      <a:pt x="6" y="15"/>
                    </a:cubicBezTo>
                    <a:cubicBezTo>
                      <a:pt x="0" y="4"/>
                      <a:pt x="10" y="0"/>
                      <a:pt x="10" y="0"/>
                    </a:cubicBezTo>
                  </a:path>
                </a:pathLst>
              </a:custGeom>
              <a:solidFill>
                <a:srgbClr val="4F81BD"/>
              </a:solidFill>
              <a:ln w="6350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800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46" name="Freeform 30"/>
              <p:cNvSpPr>
                <a:spLocks/>
              </p:cNvSpPr>
              <p:nvPr/>
            </p:nvSpPr>
            <p:spPr bwMode="auto">
              <a:xfrm>
                <a:off x="4616661" y="3914619"/>
                <a:ext cx="120630" cy="1357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" y="0"/>
                  </a:cxn>
                  <a:cxn ang="0">
                    <a:pos x="42" y="6"/>
                  </a:cxn>
                </a:cxnLst>
                <a:rect l="0" t="0" r="r" b="b"/>
                <a:pathLst>
                  <a:path w="42" h="6">
                    <a:moveTo>
                      <a:pt x="0" y="0"/>
                    </a:moveTo>
                    <a:cubicBezTo>
                      <a:pt x="12" y="4"/>
                      <a:pt x="21" y="0"/>
                      <a:pt x="21" y="0"/>
                    </a:cubicBezTo>
                    <a:cubicBezTo>
                      <a:pt x="34" y="1"/>
                      <a:pt x="42" y="6"/>
                      <a:pt x="42" y="6"/>
                    </a:cubicBezTo>
                  </a:path>
                </a:pathLst>
              </a:custGeom>
              <a:solidFill>
                <a:srgbClr val="99CCFF"/>
              </a:solidFill>
              <a:ln w="8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47" name="Freeform 29"/>
              <p:cNvSpPr>
                <a:spLocks/>
              </p:cNvSpPr>
              <p:nvPr/>
            </p:nvSpPr>
            <p:spPr bwMode="auto">
              <a:xfrm>
                <a:off x="4134134" y="3674898"/>
                <a:ext cx="41959" cy="18092"/>
              </a:xfrm>
              <a:custGeom>
                <a:avLst/>
                <a:gdLst/>
                <a:ahLst/>
                <a:cxnLst>
                  <a:cxn ang="0">
                    <a:pos x="15" y="6"/>
                  </a:cxn>
                  <a:cxn ang="0">
                    <a:pos x="0" y="0"/>
                  </a:cxn>
                </a:cxnLst>
                <a:rect l="0" t="0" r="r" b="b"/>
                <a:pathLst>
                  <a:path w="15" h="6">
                    <a:moveTo>
                      <a:pt x="15" y="6"/>
                    </a:moveTo>
                    <a:cubicBezTo>
                      <a:pt x="14" y="0"/>
                      <a:pt x="0" y="0"/>
                      <a:pt x="0" y="0"/>
                    </a:cubicBezTo>
                  </a:path>
                </a:pathLst>
              </a:custGeom>
              <a:solidFill>
                <a:srgbClr val="99CCFF"/>
              </a:solidFill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48" name="Line 28"/>
              <p:cNvSpPr>
                <a:spLocks noChangeShapeType="1"/>
              </p:cNvSpPr>
              <p:nvPr/>
            </p:nvSpPr>
            <p:spPr bwMode="auto">
              <a:xfrm flipH="1" flipV="1">
                <a:off x="3614892" y="3453266"/>
                <a:ext cx="20979" cy="13571"/>
              </a:xfrm>
              <a:prstGeom prst="line">
                <a:avLst/>
              </a:prstGeom>
              <a:no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49" name="Freeform 27"/>
              <p:cNvSpPr>
                <a:spLocks/>
              </p:cNvSpPr>
              <p:nvPr/>
            </p:nvSpPr>
            <p:spPr bwMode="auto">
              <a:xfrm>
                <a:off x="3494261" y="3367329"/>
                <a:ext cx="68181" cy="54277"/>
              </a:xfrm>
              <a:custGeom>
                <a:avLst/>
                <a:gdLst/>
                <a:ahLst/>
                <a:cxnLst>
                  <a:cxn ang="0">
                    <a:pos x="23" y="22"/>
                  </a:cxn>
                  <a:cxn ang="0">
                    <a:pos x="15" y="13"/>
                  </a:cxn>
                  <a:cxn ang="0">
                    <a:pos x="2" y="0"/>
                  </a:cxn>
                </a:cxnLst>
                <a:rect l="0" t="0" r="r" b="b"/>
                <a:pathLst>
                  <a:path w="23" h="22">
                    <a:moveTo>
                      <a:pt x="23" y="22"/>
                    </a:moveTo>
                    <a:cubicBezTo>
                      <a:pt x="16" y="22"/>
                      <a:pt x="22" y="14"/>
                      <a:pt x="15" y="13"/>
                    </a:cubicBezTo>
                    <a:cubicBezTo>
                      <a:pt x="0" y="6"/>
                      <a:pt x="2" y="0"/>
                      <a:pt x="2" y="0"/>
                    </a:cubicBezTo>
                  </a:path>
                </a:pathLst>
              </a:custGeom>
              <a:solidFill>
                <a:srgbClr val="99CCFF"/>
              </a:solidFill>
              <a:ln w="8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50" name="Freeform 26"/>
              <p:cNvSpPr>
                <a:spLocks/>
              </p:cNvSpPr>
              <p:nvPr/>
            </p:nvSpPr>
            <p:spPr bwMode="auto">
              <a:xfrm>
                <a:off x="3473282" y="3249729"/>
                <a:ext cx="41959" cy="18092"/>
              </a:xfrm>
              <a:custGeom>
                <a:avLst/>
                <a:gdLst/>
                <a:ahLst/>
                <a:cxnLst>
                  <a:cxn ang="0">
                    <a:pos x="13" y="8"/>
                  </a:cxn>
                  <a:cxn ang="0">
                    <a:pos x="0" y="4"/>
                  </a:cxn>
                </a:cxnLst>
                <a:rect l="0" t="0" r="r" b="b"/>
                <a:pathLst>
                  <a:path w="14" h="8">
                    <a:moveTo>
                      <a:pt x="13" y="8"/>
                    </a:moveTo>
                    <a:cubicBezTo>
                      <a:pt x="14" y="0"/>
                      <a:pt x="0" y="4"/>
                      <a:pt x="0" y="4"/>
                    </a:cubicBezTo>
                  </a:path>
                </a:pathLst>
              </a:custGeom>
              <a:solidFill>
                <a:srgbClr val="99CCFF"/>
              </a:solidFill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51" name="Freeform 25"/>
              <p:cNvSpPr>
                <a:spLocks/>
              </p:cNvSpPr>
              <p:nvPr/>
            </p:nvSpPr>
            <p:spPr bwMode="auto">
              <a:xfrm>
                <a:off x="3190060" y="2987391"/>
                <a:ext cx="57692" cy="162831"/>
              </a:xfrm>
              <a:custGeom>
                <a:avLst/>
                <a:gdLst/>
                <a:ahLst/>
                <a:cxnLst>
                  <a:cxn ang="0">
                    <a:pos x="20" y="64"/>
                  </a:cxn>
                  <a:cxn ang="0">
                    <a:pos x="8" y="42"/>
                  </a:cxn>
                  <a:cxn ang="0">
                    <a:pos x="1" y="21"/>
                  </a:cxn>
                  <a:cxn ang="0">
                    <a:pos x="0" y="0"/>
                  </a:cxn>
                </a:cxnLst>
                <a:rect l="0" t="0" r="r" b="b"/>
                <a:pathLst>
                  <a:path w="20" h="64">
                    <a:moveTo>
                      <a:pt x="20" y="64"/>
                    </a:moveTo>
                    <a:cubicBezTo>
                      <a:pt x="10" y="54"/>
                      <a:pt x="8" y="42"/>
                      <a:pt x="8" y="42"/>
                    </a:cubicBezTo>
                    <a:cubicBezTo>
                      <a:pt x="0" y="30"/>
                      <a:pt x="1" y="21"/>
                      <a:pt x="1" y="21"/>
                    </a:cubicBezTo>
                    <a:cubicBezTo>
                      <a:pt x="3" y="9"/>
                      <a:pt x="0" y="0"/>
                      <a:pt x="0" y="0"/>
                    </a:cubicBezTo>
                  </a:path>
                </a:pathLst>
              </a:custGeom>
              <a:solidFill>
                <a:sysClr val="window" lastClr="FFFFFF">
                  <a:lumMod val="65000"/>
                </a:sysClr>
              </a:solidFill>
              <a:ln w="6350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800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52" name="Freeform 24"/>
              <p:cNvSpPr>
                <a:spLocks/>
              </p:cNvSpPr>
              <p:nvPr/>
            </p:nvSpPr>
            <p:spPr bwMode="auto">
              <a:xfrm>
                <a:off x="4139377" y="4204096"/>
                <a:ext cx="713301" cy="520155"/>
              </a:xfrm>
              <a:custGeom>
                <a:avLst/>
                <a:gdLst/>
                <a:ahLst/>
                <a:cxnLst>
                  <a:cxn ang="0">
                    <a:pos x="0" y="207"/>
                  </a:cxn>
                  <a:cxn ang="0">
                    <a:pos x="25" y="196"/>
                  </a:cxn>
                  <a:cxn ang="0">
                    <a:pos x="51" y="181"/>
                  </a:cxn>
                  <a:cxn ang="0">
                    <a:pos x="55" y="162"/>
                  </a:cxn>
                  <a:cxn ang="0">
                    <a:pos x="71" y="141"/>
                  </a:cxn>
                  <a:cxn ang="0">
                    <a:pos x="89" y="106"/>
                  </a:cxn>
                  <a:cxn ang="0">
                    <a:pos x="107" y="97"/>
                  </a:cxn>
                  <a:cxn ang="0">
                    <a:pos x="93" y="87"/>
                  </a:cxn>
                  <a:cxn ang="0">
                    <a:pos x="111" y="82"/>
                  </a:cxn>
                  <a:cxn ang="0">
                    <a:pos x="134" y="68"/>
                  </a:cxn>
                  <a:cxn ang="0">
                    <a:pos x="153" y="62"/>
                  </a:cxn>
                  <a:cxn ang="0">
                    <a:pos x="153" y="62"/>
                  </a:cxn>
                  <a:cxn ang="0">
                    <a:pos x="176" y="63"/>
                  </a:cxn>
                  <a:cxn ang="0">
                    <a:pos x="193" y="74"/>
                  </a:cxn>
                  <a:cxn ang="0">
                    <a:pos x="193" y="74"/>
                  </a:cxn>
                  <a:cxn ang="0">
                    <a:pos x="215" y="78"/>
                  </a:cxn>
                  <a:cxn ang="0">
                    <a:pos x="235" y="71"/>
                  </a:cxn>
                  <a:cxn ang="0">
                    <a:pos x="248" y="54"/>
                  </a:cxn>
                  <a:cxn ang="0">
                    <a:pos x="236" y="27"/>
                  </a:cxn>
                  <a:cxn ang="0">
                    <a:pos x="219" y="1"/>
                  </a:cxn>
                  <a:cxn ang="0">
                    <a:pos x="220" y="34"/>
                  </a:cxn>
                  <a:cxn ang="0">
                    <a:pos x="195" y="53"/>
                  </a:cxn>
                  <a:cxn ang="0">
                    <a:pos x="195" y="53"/>
                  </a:cxn>
                  <a:cxn ang="0">
                    <a:pos x="172" y="50"/>
                  </a:cxn>
                  <a:cxn ang="0">
                    <a:pos x="172" y="50"/>
                  </a:cxn>
                  <a:cxn ang="0">
                    <a:pos x="143" y="51"/>
                  </a:cxn>
                  <a:cxn ang="0">
                    <a:pos x="119" y="49"/>
                  </a:cxn>
                  <a:cxn ang="0">
                    <a:pos x="103" y="60"/>
                  </a:cxn>
                  <a:cxn ang="0">
                    <a:pos x="86" y="56"/>
                  </a:cxn>
                  <a:cxn ang="0">
                    <a:pos x="83" y="80"/>
                  </a:cxn>
                  <a:cxn ang="0">
                    <a:pos x="77" y="113"/>
                  </a:cxn>
                  <a:cxn ang="0">
                    <a:pos x="64" y="127"/>
                  </a:cxn>
                  <a:cxn ang="0">
                    <a:pos x="54" y="148"/>
                  </a:cxn>
                  <a:cxn ang="0">
                    <a:pos x="44" y="168"/>
                  </a:cxn>
                  <a:cxn ang="0">
                    <a:pos x="31" y="188"/>
                  </a:cxn>
                  <a:cxn ang="0">
                    <a:pos x="16" y="195"/>
                  </a:cxn>
                  <a:cxn ang="0">
                    <a:pos x="0" y="207"/>
                  </a:cxn>
                  <a:cxn ang="0">
                    <a:pos x="0" y="207"/>
                  </a:cxn>
                </a:cxnLst>
                <a:rect l="0" t="0" r="r" b="b"/>
                <a:pathLst>
                  <a:path w="251" h="207">
                    <a:moveTo>
                      <a:pt x="0" y="207"/>
                    </a:moveTo>
                    <a:cubicBezTo>
                      <a:pt x="18" y="206"/>
                      <a:pt x="25" y="196"/>
                      <a:pt x="25" y="196"/>
                    </a:cubicBezTo>
                    <a:cubicBezTo>
                      <a:pt x="52" y="196"/>
                      <a:pt x="51" y="181"/>
                      <a:pt x="51" y="181"/>
                    </a:cubicBezTo>
                    <a:cubicBezTo>
                      <a:pt x="51" y="181"/>
                      <a:pt x="56" y="176"/>
                      <a:pt x="55" y="162"/>
                    </a:cubicBezTo>
                    <a:cubicBezTo>
                      <a:pt x="73" y="151"/>
                      <a:pt x="71" y="141"/>
                      <a:pt x="71" y="141"/>
                    </a:cubicBezTo>
                    <a:cubicBezTo>
                      <a:pt x="88" y="122"/>
                      <a:pt x="89" y="106"/>
                      <a:pt x="89" y="106"/>
                    </a:cubicBezTo>
                    <a:cubicBezTo>
                      <a:pt x="95" y="97"/>
                      <a:pt x="107" y="97"/>
                      <a:pt x="107" y="97"/>
                    </a:cubicBezTo>
                    <a:cubicBezTo>
                      <a:pt x="108" y="90"/>
                      <a:pt x="93" y="97"/>
                      <a:pt x="93" y="87"/>
                    </a:cubicBezTo>
                    <a:cubicBezTo>
                      <a:pt x="93" y="83"/>
                      <a:pt x="103" y="82"/>
                      <a:pt x="111" y="82"/>
                    </a:cubicBezTo>
                    <a:cubicBezTo>
                      <a:pt x="133" y="81"/>
                      <a:pt x="134" y="68"/>
                      <a:pt x="134" y="68"/>
                    </a:cubicBezTo>
                    <a:cubicBezTo>
                      <a:pt x="150" y="69"/>
                      <a:pt x="153" y="62"/>
                      <a:pt x="153" y="62"/>
                    </a:cubicBezTo>
                    <a:cubicBezTo>
                      <a:pt x="153" y="62"/>
                      <a:pt x="153" y="62"/>
                      <a:pt x="153" y="62"/>
                    </a:cubicBezTo>
                    <a:cubicBezTo>
                      <a:pt x="176" y="63"/>
                      <a:pt x="176" y="63"/>
                      <a:pt x="176" y="63"/>
                    </a:cubicBezTo>
                    <a:cubicBezTo>
                      <a:pt x="193" y="74"/>
                      <a:pt x="193" y="74"/>
                      <a:pt x="193" y="74"/>
                    </a:cubicBezTo>
                    <a:cubicBezTo>
                      <a:pt x="193" y="74"/>
                      <a:pt x="193" y="74"/>
                      <a:pt x="193" y="74"/>
                    </a:cubicBezTo>
                    <a:cubicBezTo>
                      <a:pt x="205" y="88"/>
                      <a:pt x="215" y="78"/>
                      <a:pt x="215" y="78"/>
                    </a:cubicBezTo>
                    <a:cubicBezTo>
                      <a:pt x="220" y="72"/>
                      <a:pt x="235" y="71"/>
                      <a:pt x="235" y="71"/>
                    </a:cubicBezTo>
                    <a:cubicBezTo>
                      <a:pt x="251" y="73"/>
                      <a:pt x="248" y="54"/>
                      <a:pt x="248" y="54"/>
                    </a:cubicBezTo>
                    <a:cubicBezTo>
                      <a:pt x="248" y="37"/>
                      <a:pt x="236" y="27"/>
                      <a:pt x="236" y="27"/>
                    </a:cubicBezTo>
                    <a:cubicBezTo>
                      <a:pt x="227" y="0"/>
                      <a:pt x="219" y="1"/>
                      <a:pt x="219" y="1"/>
                    </a:cubicBezTo>
                    <a:cubicBezTo>
                      <a:pt x="231" y="29"/>
                      <a:pt x="220" y="34"/>
                      <a:pt x="220" y="34"/>
                    </a:cubicBezTo>
                    <a:cubicBezTo>
                      <a:pt x="212" y="59"/>
                      <a:pt x="195" y="53"/>
                      <a:pt x="195" y="53"/>
                    </a:cubicBezTo>
                    <a:cubicBezTo>
                      <a:pt x="195" y="53"/>
                      <a:pt x="195" y="53"/>
                      <a:pt x="195" y="53"/>
                    </a:cubicBezTo>
                    <a:cubicBezTo>
                      <a:pt x="172" y="50"/>
                      <a:pt x="172" y="50"/>
                      <a:pt x="172" y="50"/>
                    </a:cubicBezTo>
                    <a:cubicBezTo>
                      <a:pt x="172" y="50"/>
                      <a:pt x="172" y="50"/>
                      <a:pt x="172" y="50"/>
                    </a:cubicBezTo>
                    <a:cubicBezTo>
                      <a:pt x="158" y="43"/>
                      <a:pt x="143" y="51"/>
                      <a:pt x="143" y="51"/>
                    </a:cubicBezTo>
                    <a:cubicBezTo>
                      <a:pt x="127" y="43"/>
                      <a:pt x="119" y="49"/>
                      <a:pt x="119" y="49"/>
                    </a:cubicBezTo>
                    <a:cubicBezTo>
                      <a:pt x="118" y="67"/>
                      <a:pt x="103" y="60"/>
                      <a:pt x="103" y="60"/>
                    </a:cubicBezTo>
                    <a:cubicBezTo>
                      <a:pt x="98" y="50"/>
                      <a:pt x="86" y="56"/>
                      <a:pt x="86" y="56"/>
                    </a:cubicBezTo>
                    <a:cubicBezTo>
                      <a:pt x="73" y="67"/>
                      <a:pt x="83" y="71"/>
                      <a:pt x="83" y="80"/>
                    </a:cubicBezTo>
                    <a:cubicBezTo>
                      <a:pt x="93" y="97"/>
                      <a:pt x="77" y="113"/>
                      <a:pt x="77" y="113"/>
                    </a:cubicBezTo>
                    <a:cubicBezTo>
                      <a:pt x="73" y="124"/>
                      <a:pt x="64" y="127"/>
                      <a:pt x="64" y="127"/>
                    </a:cubicBezTo>
                    <a:cubicBezTo>
                      <a:pt x="66" y="138"/>
                      <a:pt x="54" y="148"/>
                      <a:pt x="54" y="148"/>
                    </a:cubicBezTo>
                    <a:cubicBezTo>
                      <a:pt x="36" y="158"/>
                      <a:pt x="44" y="168"/>
                      <a:pt x="44" y="168"/>
                    </a:cubicBezTo>
                    <a:cubicBezTo>
                      <a:pt x="45" y="189"/>
                      <a:pt x="31" y="188"/>
                      <a:pt x="31" y="188"/>
                    </a:cubicBezTo>
                    <a:cubicBezTo>
                      <a:pt x="24" y="185"/>
                      <a:pt x="16" y="195"/>
                      <a:pt x="16" y="195"/>
                    </a:cubicBezTo>
                    <a:cubicBezTo>
                      <a:pt x="12" y="203"/>
                      <a:pt x="0" y="207"/>
                      <a:pt x="0" y="207"/>
                    </a:cubicBezTo>
                    <a:cubicBezTo>
                      <a:pt x="0" y="207"/>
                      <a:pt x="0" y="207"/>
                      <a:pt x="0" y="207"/>
                    </a:cubicBezTo>
                    <a:close/>
                  </a:path>
                </a:pathLst>
              </a:custGeom>
              <a:solidFill>
                <a:srgbClr val="4F81BD"/>
              </a:solidFill>
              <a:ln w="6350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800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53" name="Freeform 23"/>
              <p:cNvSpPr>
                <a:spLocks/>
              </p:cNvSpPr>
              <p:nvPr/>
            </p:nvSpPr>
            <p:spPr bwMode="auto">
              <a:xfrm>
                <a:off x="4742537" y="3842250"/>
                <a:ext cx="62938" cy="72369"/>
              </a:xfrm>
              <a:custGeom>
                <a:avLst/>
                <a:gdLst/>
                <a:ahLst/>
                <a:cxnLst>
                  <a:cxn ang="0">
                    <a:pos x="7" y="29"/>
                  </a:cxn>
                  <a:cxn ang="0">
                    <a:pos x="13" y="0"/>
                  </a:cxn>
                  <a:cxn ang="0">
                    <a:pos x="7" y="29"/>
                  </a:cxn>
                  <a:cxn ang="0">
                    <a:pos x="7" y="29"/>
                  </a:cxn>
                </a:cxnLst>
                <a:rect l="0" t="0" r="r" b="b"/>
                <a:pathLst>
                  <a:path w="23" h="29">
                    <a:moveTo>
                      <a:pt x="7" y="29"/>
                    </a:moveTo>
                    <a:cubicBezTo>
                      <a:pt x="23" y="23"/>
                      <a:pt x="13" y="0"/>
                      <a:pt x="13" y="0"/>
                    </a:cubicBezTo>
                    <a:cubicBezTo>
                      <a:pt x="0" y="20"/>
                      <a:pt x="7" y="29"/>
                      <a:pt x="7" y="29"/>
                    </a:cubicBezTo>
                    <a:cubicBezTo>
                      <a:pt x="7" y="29"/>
                      <a:pt x="7" y="29"/>
                      <a:pt x="7" y="29"/>
                    </a:cubicBezTo>
                    <a:close/>
                  </a:path>
                </a:pathLst>
              </a:custGeom>
              <a:solidFill>
                <a:sysClr val="window" lastClr="FFFFFF">
                  <a:lumMod val="65000"/>
                </a:sysClr>
              </a:solidFill>
              <a:ln w="6350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800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54" name="Freeform 22"/>
              <p:cNvSpPr>
                <a:spLocks/>
              </p:cNvSpPr>
              <p:nvPr/>
            </p:nvSpPr>
            <p:spPr bwMode="auto">
              <a:xfrm>
                <a:off x="4160357" y="3674898"/>
                <a:ext cx="456304" cy="244246"/>
              </a:xfrm>
              <a:custGeom>
                <a:avLst/>
                <a:gdLst/>
                <a:ahLst/>
                <a:cxnLst>
                  <a:cxn ang="0">
                    <a:pos x="162" y="94"/>
                  </a:cxn>
                  <a:cxn ang="0">
                    <a:pos x="124" y="65"/>
                  </a:cxn>
                  <a:cxn ang="0">
                    <a:pos x="75" y="34"/>
                  </a:cxn>
                  <a:cxn ang="0">
                    <a:pos x="82" y="23"/>
                  </a:cxn>
                  <a:cxn ang="0">
                    <a:pos x="56" y="20"/>
                  </a:cxn>
                  <a:cxn ang="0">
                    <a:pos x="32" y="16"/>
                  </a:cxn>
                  <a:cxn ang="0">
                    <a:pos x="2" y="2"/>
                  </a:cxn>
                  <a:cxn ang="0">
                    <a:pos x="19" y="20"/>
                  </a:cxn>
                  <a:cxn ang="0">
                    <a:pos x="35" y="20"/>
                  </a:cxn>
                  <a:cxn ang="0">
                    <a:pos x="53" y="34"/>
                  </a:cxn>
                  <a:cxn ang="0">
                    <a:pos x="67" y="45"/>
                  </a:cxn>
                  <a:cxn ang="0">
                    <a:pos x="77" y="50"/>
                  </a:cxn>
                  <a:cxn ang="0">
                    <a:pos x="93" y="59"/>
                  </a:cxn>
                  <a:cxn ang="0">
                    <a:pos x="115" y="73"/>
                  </a:cxn>
                  <a:cxn ang="0">
                    <a:pos x="129" y="86"/>
                  </a:cxn>
                  <a:cxn ang="0">
                    <a:pos x="149" y="91"/>
                  </a:cxn>
                  <a:cxn ang="0">
                    <a:pos x="162" y="94"/>
                  </a:cxn>
                  <a:cxn ang="0">
                    <a:pos x="162" y="94"/>
                  </a:cxn>
                </a:cxnLst>
                <a:rect l="0" t="0" r="r" b="b"/>
                <a:pathLst>
                  <a:path w="162" h="97">
                    <a:moveTo>
                      <a:pt x="162" y="94"/>
                    </a:moveTo>
                    <a:cubicBezTo>
                      <a:pt x="149" y="82"/>
                      <a:pt x="135" y="71"/>
                      <a:pt x="124" y="65"/>
                    </a:cubicBezTo>
                    <a:cubicBezTo>
                      <a:pt x="91" y="46"/>
                      <a:pt x="94" y="33"/>
                      <a:pt x="75" y="34"/>
                    </a:cubicBezTo>
                    <a:cubicBezTo>
                      <a:pt x="82" y="28"/>
                      <a:pt x="82" y="23"/>
                      <a:pt x="82" y="23"/>
                    </a:cubicBezTo>
                    <a:cubicBezTo>
                      <a:pt x="64" y="34"/>
                      <a:pt x="56" y="20"/>
                      <a:pt x="56" y="20"/>
                    </a:cubicBezTo>
                    <a:cubicBezTo>
                      <a:pt x="50" y="16"/>
                      <a:pt x="32" y="16"/>
                      <a:pt x="32" y="16"/>
                    </a:cubicBezTo>
                    <a:cubicBezTo>
                      <a:pt x="26" y="0"/>
                      <a:pt x="2" y="2"/>
                      <a:pt x="2" y="2"/>
                    </a:cubicBezTo>
                    <a:cubicBezTo>
                      <a:pt x="0" y="9"/>
                      <a:pt x="16" y="2"/>
                      <a:pt x="19" y="20"/>
                    </a:cubicBezTo>
                    <a:cubicBezTo>
                      <a:pt x="26" y="31"/>
                      <a:pt x="35" y="20"/>
                      <a:pt x="35" y="20"/>
                    </a:cubicBezTo>
                    <a:cubicBezTo>
                      <a:pt x="53" y="26"/>
                      <a:pt x="53" y="34"/>
                      <a:pt x="53" y="34"/>
                    </a:cubicBezTo>
                    <a:cubicBezTo>
                      <a:pt x="64" y="34"/>
                      <a:pt x="67" y="45"/>
                      <a:pt x="67" y="45"/>
                    </a:cubicBezTo>
                    <a:cubicBezTo>
                      <a:pt x="79" y="41"/>
                      <a:pt x="77" y="50"/>
                      <a:pt x="77" y="50"/>
                    </a:cubicBezTo>
                    <a:cubicBezTo>
                      <a:pt x="91" y="50"/>
                      <a:pt x="93" y="59"/>
                      <a:pt x="93" y="59"/>
                    </a:cubicBezTo>
                    <a:cubicBezTo>
                      <a:pt x="96" y="67"/>
                      <a:pt x="107" y="60"/>
                      <a:pt x="115" y="73"/>
                    </a:cubicBezTo>
                    <a:cubicBezTo>
                      <a:pt x="128" y="71"/>
                      <a:pt x="129" y="86"/>
                      <a:pt x="129" y="86"/>
                    </a:cubicBezTo>
                    <a:cubicBezTo>
                      <a:pt x="141" y="86"/>
                      <a:pt x="149" y="91"/>
                      <a:pt x="149" y="91"/>
                    </a:cubicBezTo>
                    <a:cubicBezTo>
                      <a:pt x="154" y="97"/>
                      <a:pt x="162" y="94"/>
                      <a:pt x="162" y="94"/>
                    </a:cubicBezTo>
                    <a:cubicBezTo>
                      <a:pt x="162" y="94"/>
                      <a:pt x="162" y="94"/>
                      <a:pt x="162" y="94"/>
                    </a:cubicBezTo>
                    <a:close/>
                  </a:path>
                </a:pathLst>
              </a:custGeom>
              <a:solidFill>
                <a:srgbClr val="4F81BD"/>
              </a:solidFill>
              <a:ln w="6350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800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55" name="Freeform 21"/>
              <p:cNvSpPr>
                <a:spLocks/>
              </p:cNvSpPr>
              <p:nvPr/>
            </p:nvSpPr>
            <p:spPr bwMode="auto">
              <a:xfrm>
                <a:off x="3494261" y="3258775"/>
                <a:ext cx="62938" cy="126646"/>
              </a:xfrm>
              <a:custGeom>
                <a:avLst/>
                <a:gdLst/>
                <a:ahLst/>
                <a:cxnLst>
                  <a:cxn ang="0">
                    <a:pos x="3" y="48"/>
                  </a:cxn>
                  <a:cxn ang="0">
                    <a:pos x="18" y="27"/>
                  </a:cxn>
                  <a:cxn ang="0">
                    <a:pos x="8" y="4"/>
                  </a:cxn>
                  <a:cxn ang="0">
                    <a:pos x="0" y="23"/>
                  </a:cxn>
                  <a:cxn ang="0">
                    <a:pos x="3" y="48"/>
                  </a:cxn>
                  <a:cxn ang="0">
                    <a:pos x="3" y="48"/>
                  </a:cxn>
                </a:cxnLst>
                <a:rect l="0" t="0" r="r" b="b"/>
                <a:pathLst>
                  <a:path w="21" h="50">
                    <a:moveTo>
                      <a:pt x="3" y="48"/>
                    </a:moveTo>
                    <a:cubicBezTo>
                      <a:pt x="15" y="50"/>
                      <a:pt x="18" y="27"/>
                      <a:pt x="18" y="27"/>
                    </a:cubicBezTo>
                    <a:cubicBezTo>
                      <a:pt x="21" y="4"/>
                      <a:pt x="8" y="4"/>
                      <a:pt x="8" y="4"/>
                    </a:cubicBezTo>
                    <a:cubicBezTo>
                      <a:pt x="2" y="0"/>
                      <a:pt x="0" y="23"/>
                      <a:pt x="0" y="23"/>
                    </a:cubicBezTo>
                    <a:cubicBezTo>
                      <a:pt x="5" y="32"/>
                      <a:pt x="3" y="48"/>
                      <a:pt x="3" y="48"/>
                    </a:cubicBezTo>
                    <a:cubicBezTo>
                      <a:pt x="3" y="48"/>
                      <a:pt x="3" y="48"/>
                      <a:pt x="3" y="48"/>
                    </a:cubicBezTo>
                    <a:close/>
                  </a:path>
                </a:pathLst>
              </a:custGeom>
              <a:solidFill>
                <a:sysClr val="window" lastClr="FFFFFF">
                  <a:lumMod val="65000"/>
                </a:sysClr>
              </a:solidFill>
              <a:ln w="6350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800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56" name="Freeform 20"/>
              <p:cNvSpPr>
                <a:spLocks/>
              </p:cNvSpPr>
              <p:nvPr/>
            </p:nvSpPr>
            <p:spPr bwMode="auto">
              <a:xfrm>
                <a:off x="3588669" y="3448744"/>
                <a:ext cx="576934" cy="275906"/>
              </a:xfrm>
              <a:custGeom>
                <a:avLst/>
                <a:gdLst/>
                <a:ahLst/>
                <a:cxnLst>
                  <a:cxn ang="0">
                    <a:pos x="117" y="44"/>
                  </a:cxn>
                  <a:cxn ang="0">
                    <a:pos x="80" y="26"/>
                  </a:cxn>
                  <a:cxn ang="0">
                    <a:pos x="51" y="17"/>
                  </a:cxn>
                  <a:cxn ang="0">
                    <a:pos x="36" y="0"/>
                  </a:cxn>
                  <a:cxn ang="0">
                    <a:pos x="31" y="9"/>
                  </a:cxn>
                  <a:cxn ang="0">
                    <a:pos x="40" y="22"/>
                  </a:cxn>
                  <a:cxn ang="0">
                    <a:pos x="65" y="44"/>
                  </a:cxn>
                  <a:cxn ang="0">
                    <a:pos x="91" y="56"/>
                  </a:cxn>
                  <a:cxn ang="0">
                    <a:pos x="120" y="74"/>
                  </a:cxn>
                  <a:cxn ang="0">
                    <a:pos x="127" y="94"/>
                  </a:cxn>
                  <a:cxn ang="0">
                    <a:pos x="153" y="92"/>
                  </a:cxn>
                  <a:cxn ang="0">
                    <a:pos x="157" y="111"/>
                  </a:cxn>
                  <a:cxn ang="0">
                    <a:pos x="157" y="111"/>
                  </a:cxn>
                  <a:cxn ang="0">
                    <a:pos x="181" y="110"/>
                  </a:cxn>
                  <a:cxn ang="0">
                    <a:pos x="181" y="110"/>
                  </a:cxn>
                  <a:cxn ang="0">
                    <a:pos x="180" y="95"/>
                  </a:cxn>
                  <a:cxn ang="0">
                    <a:pos x="197" y="103"/>
                  </a:cxn>
                  <a:cxn ang="0">
                    <a:pos x="205" y="91"/>
                  </a:cxn>
                  <a:cxn ang="0">
                    <a:pos x="182" y="86"/>
                  </a:cxn>
                  <a:cxn ang="0">
                    <a:pos x="158" y="59"/>
                  </a:cxn>
                  <a:cxn ang="0">
                    <a:pos x="150" y="48"/>
                  </a:cxn>
                  <a:cxn ang="0">
                    <a:pos x="126" y="21"/>
                  </a:cxn>
                  <a:cxn ang="0">
                    <a:pos x="120" y="11"/>
                  </a:cxn>
                  <a:cxn ang="0">
                    <a:pos x="118" y="31"/>
                  </a:cxn>
                  <a:cxn ang="0">
                    <a:pos x="117" y="44"/>
                  </a:cxn>
                  <a:cxn ang="0">
                    <a:pos x="117" y="44"/>
                  </a:cxn>
                </a:cxnLst>
                <a:rect l="0" t="0" r="r" b="b"/>
                <a:pathLst>
                  <a:path w="205" h="111">
                    <a:moveTo>
                      <a:pt x="117" y="44"/>
                    </a:moveTo>
                    <a:cubicBezTo>
                      <a:pt x="98" y="41"/>
                      <a:pt x="80" y="26"/>
                      <a:pt x="80" y="26"/>
                    </a:cubicBezTo>
                    <a:cubicBezTo>
                      <a:pt x="75" y="11"/>
                      <a:pt x="51" y="17"/>
                      <a:pt x="51" y="17"/>
                    </a:cubicBezTo>
                    <a:cubicBezTo>
                      <a:pt x="47" y="2"/>
                      <a:pt x="36" y="0"/>
                      <a:pt x="36" y="0"/>
                    </a:cubicBezTo>
                    <a:cubicBezTo>
                      <a:pt x="32" y="0"/>
                      <a:pt x="31" y="9"/>
                      <a:pt x="31" y="9"/>
                    </a:cubicBezTo>
                    <a:cubicBezTo>
                      <a:pt x="0" y="4"/>
                      <a:pt x="40" y="22"/>
                      <a:pt x="40" y="22"/>
                    </a:cubicBezTo>
                    <a:cubicBezTo>
                      <a:pt x="61" y="34"/>
                      <a:pt x="65" y="44"/>
                      <a:pt x="65" y="44"/>
                    </a:cubicBezTo>
                    <a:cubicBezTo>
                      <a:pt x="91" y="48"/>
                      <a:pt x="91" y="56"/>
                      <a:pt x="91" y="56"/>
                    </a:cubicBezTo>
                    <a:cubicBezTo>
                      <a:pt x="116" y="66"/>
                      <a:pt x="120" y="74"/>
                      <a:pt x="120" y="74"/>
                    </a:cubicBezTo>
                    <a:cubicBezTo>
                      <a:pt x="133" y="81"/>
                      <a:pt x="127" y="94"/>
                      <a:pt x="127" y="94"/>
                    </a:cubicBezTo>
                    <a:cubicBezTo>
                      <a:pt x="132" y="98"/>
                      <a:pt x="138" y="86"/>
                      <a:pt x="153" y="92"/>
                    </a:cubicBezTo>
                    <a:cubicBezTo>
                      <a:pt x="189" y="96"/>
                      <a:pt x="157" y="111"/>
                      <a:pt x="157" y="111"/>
                    </a:cubicBezTo>
                    <a:cubicBezTo>
                      <a:pt x="157" y="111"/>
                      <a:pt x="157" y="111"/>
                      <a:pt x="157" y="111"/>
                    </a:cubicBezTo>
                    <a:cubicBezTo>
                      <a:pt x="181" y="110"/>
                      <a:pt x="181" y="110"/>
                      <a:pt x="181" y="110"/>
                    </a:cubicBezTo>
                    <a:cubicBezTo>
                      <a:pt x="181" y="110"/>
                      <a:pt x="181" y="110"/>
                      <a:pt x="181" y="110"/>
                    </a:cubicBezTo>
                    <a:cubicBezTo>
                      <a:pt x="171" y="97"/>
                      <a:pt x="180" y="95"/>
                      <a:pt x="180" y="95"/>
                    </a:cubicBezTo>
                    <a:cubicBezTo>
                      <a:pt x="194" y="97"/>
                      <a:pt x="197" y="103"/>
                      <a:pt x="197" y="103"/>
                    </a:cubicBezTo>
                    <a:cubicBezTo>
                      <a:pt x="196" y="96"/>
                      <a:pt x="205" y="91"/>
                      <a:pt x="205" y="91"/>
                    </a:cubicBezTo>
                    <a:cubicBezTo>
                      <a:pt x="188" y="96"/>
                      <a:pt x="182" y="86"/>
                      <a:pt x="182" y="86"/>
                    </a:cubicBezTo>
                    <a:cubicBezTo>
                      <a:pt x="174" y="72"/>
                      <a:pt x="158" y="59"/>
                      <a:pt x="158" y="59"/>
                    </a:cubicBezTo>
                    <a:cubicBezTo>
                      <a:pt x="157" y="52"/>
                      <a:pt x="150" y="48"/>
                      <a:pt x="150" y="48"/>
                    </a:cubicBezTo>
                    <a:cubicBezTo>
                      <a:pt x="146" y="33"/>
                      <a:pt x="126" y="21"/>
                      <a:pt x="126" y="21"/>
                    </a:cubicBezTo>
                    <a:cubicBezTo>
                      <a:pt x="120" y="20"/>
                      <a:pt x="120" y="11"/>
                      <a:pt x="120" y="11"/>
                    </a:cubicBezTo>
                    <a:cubicBezTo>
                      <a:pt x="104" y="25"/>
                      <a:pt x="118" y="31"/>
                      <a:pt x="118" y="31"/>
                    </a:cubicBezTo>
                    <a:cubicBezTo>
                      <a:pt x="124" y="44"/>
                      <a:pt x="117" y="44"/>
                      <a:pt x="117" y="44"/>
                    </a:cubicBezTo>
                    <a:cubicBezTo>
                      <a:pt x="117" y="44"/>
                      <a:pt x="117" y="44"/>
                      <a:pt x="117" y="44"/>
                    </a:cubicBezTo>
                    <a:close/>
                  </a:path>
                </a:pathLst>
              </a:custGeom>
              <a:solidFill>
                <a:srgbClr val="4F81BD"/>
              </a:solidFill>
              <a:ln w="6350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800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57" name="Freeform 19"/>
              <p:cNvSpPr>
                <a:spLocks/>
              </p:cNvSpPr>
              <p:nvPr/>
            </p:nvSpPr>
            <p:spPr bwMode="auto">
              <a:xfrm>
                <a:off x="3562443" y="3417081"/>
                <a:ext cx="62938" cy="49755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19" y="6"/>
                  </a:cxn>
                  <a:cxn ang="0">
                    <a:pos x="19" y="6"/>
                  </a:cxn>
                  <a:cxn ang="0">
                    <a:pos x="23" y="17"/>
                  </a:cxn>
                  <a:cxn ang="0">
                    <a:pos x="23" y="17"/>
                  </a:cxn>
                  <a:cxn ang="0">
                    <a:pos x="14" y="7"/>
                  </a:cxn>
                  <a:cxn ang="0">
                    <a:pos x="0" y="2"/>
                  </a:cxn>
                  <a:cxn ang="0">
                    <a:pos x="0" y="2"/>
                  </a:cxn>
                </a:cxnLst>
                <a:rect l="0" t="0" r="r" b="b"/>
                <a:pathLst>
                  <a:path w="23" h="19">
                    <a:moveTo>
                      <a:pt x="0" y="2"/>
                    </a:moveTo>
                    <a:cubicBezTo>
                      <a:pt x="9" y="0"/>
                      <a:pt x="19" y="6"/>
                      <a:pt x="19" y="6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23" y="17"/>
                      <a:pt x="23" y="17"/>
                      <a:pt x="23" y="17"/>
                    </a:cubicBezTo>
                    <a:cubicBezTo>
                      <a:pt x="23" y="17"/>
                      <a:pt x="23" y="17"/>
                      <a:pt x="23" y="17"/>
                    </a:cubicBezTo>
                    <a:cubicBezTo>
                      <a:pt x="19" y="19"/>
                      <a:pt x="14" y="7"/>
                      <a:pt x="14" y="7"/>
                    </a:cubicBezTo>
                    <a:cubicBezTo>
                      <a:pt x="9" y="3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rgbClr val="4F81BD"/>
              </a:solidFill>
              <a:ln w="4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58" name="Freeform 18"/>
              <p:cNvSpPr>
                <a:spLocks/>
              </p:cNvSpPr>
              <p:nvPr/>
            </p:nvSpPr>
            <p:spPr bwMode="auto">
              <a:xfrm>
                <a:off x="3247752" y="3132129"/>
                <a:ext cx="236020" cy="167352"/>
              </a:xfrm>
              <a:custGeom>
                <a:avLst/>
                <a:gdLst/>
                <a:ahLst/>
                <a:cxnLst>
                  <a:cxn ang="0">
                    <a:pos x="32" y="37"/>
                  </a:cxn>
                  <a:cxn ang="0">
                    <a:pos x="13" y="24"/>
                  </a:cxn>
                  <a:cxn ang="0">
                    <a:pos x="0" y="6"/>
                  </a:cxn>
                  <a:cxn ang="0">
                    <a:pos x="11" y="31"/>
                  </a:cxn>
                  <a:cxn ang="0">
                    <a:pos x="39" y="53"/>
                  </a:cxn>
                  <a:cxn ang="0">
                    <a:pos x="66" y="64"/>
                  </a:cxn>
                  <a:cxn ang="0">
                    <a:pos x="82" y="51"/>
                  </a:cxn>
                  <a:cxn ang="0">
                    <a:pos x="64" y="51"/>
                  </a:cxn>
                  <a:cxn ang="0">
                    <a:pos x="47" y="50"/>
                  </a:cxn>
                  <a:cxn ang="0">
                    <a:pos x="47" y="50"/>
                  </a:cxn>
                  <a:cxn ang="0">
                    <a:pos x="32" y="37"/>
                  </a:cxn>
                </a:cxnLst>
                <a:rect l="0" t="0" r="r" b="b"/>
                <a:pathLst>
                  <a:path w="82" h="66">
                    <a:moveTo>
                      <a:pt x="32" y="37"/>
                    </a:moveTo>
                    <a:cubicBezTo>
                      <a:pt x="32" y="37"/>
                      <a:pt x="31" y="27"/>
                      <a:pt x="13" y="24"/>
                    </a:cubicBezTo>
                    <a:cubicBezTo>
                      <a:pt x="3" y="0"/>
                      <a:pt x="0" y="6"/>
                      <a:pt x="0" y="6"/>
                    </a:cubicBezTo>
                    <a:cubicBezTo>
                      <a:pt x="0" y="6"/>
                      <a:pt x="4" y="27"/>
                      <a:pt x="11" y="31"/>
                    </a:cubicBezTo>
                    <a:cubicBezTo>
                      <a:pt x="17" y="35"/>
                      <a:pt x="24" y="32"/>
                      <a:pt x="39" y="53"/>
                    </a:cubicBezTo>
                    <a:cubicBezTo>
                      <a:pt x="52" y="66"/>
                      <a:pt x="66" y="64"/>
                      <a:pt x="66" y="64"/>
                    </a:cubicBezTo>
                    <a:cubicBezTo>
                      <a:pt x="76" y="62"/>
                      <a:pt x="82" y="51"/>
                      <a:pt x="82" y="51"/>
                    </a:cubicBezTo>
                    <a:cubicBezTo>
                      <a:pt x="82" y="46"/>
                      <a:pt x="64" y="51"/>
                      <a:pt x="64" y="51"/>
                    </a:cubicBezTo>
                    <a:cubicBezTo>
                      <a:pt x="55" y="54"/>
                      <a:pt x="55" y="49"/>
                      <a:pt x="47" y="50"/>
                    </a:cubicBezTo>
                    <a:cubicBezTo>
                      <a:pt x="47" y="50"/>
                      <a:pt x="47" y="50"/>
                      <a:pt x="47" y="50"/>
                    </a:cubicBezTo>
                    <a:cubicBezTo>
                      <a:pt x="32" y="37"/>
                      <a:pt x="32" y="37"/>
                      <a:pt x="32" y="37"/>
                    </a:cubicBezTo>
                    <a:close/>
                  </a:path>
                </a:pathLst>
              </a:custGeom>
              <a:solidFill>
                <a:sysClr val="window" lastClr="FFFFFF">
                  <a:lumMod val="65000"/>
                </a:sysClr>
              </a:solidFill>
              <a:ln w="6350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800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59" name="Freeform 17"/>
              <p:cNvSpPr>
                <a:spLocks/>
              </p:cNvSpPr>
              <p:nvPr/>
            </p:nvSpPr>
            <p:spPr bwMode="auto">
              <a:xfrm>
                <a:off x="3111385" y="2670776"/>
                <a:ext cx="120633" cy="312091"/>
              </a:xfrm>
              <a:custGeom>
                <a:avLst/>
                <a:gdLst/>
                <a:ahLst/>
                <a:cxnLst>
                  <a:cxn ang="0">
                    <a:pos x="29" y="126"/>
                  </a:cxn>
                  <a:cxn ang="0">
                    <a:pos x="15" y="88"/>
                  </a:cxn>
                  <a:cxn ang="0">
                    <a:pos x="11" y="51"/>
                  </a:cxn>
                  <a:cxn ang="0">
                    <a:pos x="0" y="48"/>
                  </a:cxn>
                  <a:cxn ang="0">
                    <a:pos x="25" y="23"/>
                  </a:cxn>
                  <a:cxn ang="0">
                    <a:pos x="37" y="16"/>
                  </a:cxn>
                  <a:cxn ang="0">
                    <a:pos x="35" y="35"/>
                  </a:cxn>
                  <a:cxn ang="0">
                    <a:pos x="35" y="57"/>
                  </a:cxn>
                  <a:cxn ang="0">
                    <a:pos x="32" y="99"/>
                  </a:cxn>
                  <a:cxn ang="0">
                    <a:pos x="29" y="126"/>
                  </a:cxn>
                  <a:cxn ang="0">
                    <a:pos x="29" y="126"/>
                  </a:cxn>
                </a:cxnLst>
                <a:rect l="0" t="0" r="r" b="b"/>
                <a:pathLst>
                  <a:path w="42" h="126">
                    <a:moveTo>
                      <a:pt x="29" y="126"/>
                    </a:moveTo>
                    <a:cubicBezTo>
                      <a:pt x="5" y="120"/>
                      <a:pt x="15" y="88"/>
                      <a:pt x="15" y="88"/>
                    </a:cubicBezTo>
                    <a:cubicBezTo>
                      <a:pt x="31" y="58"/>
                      <a:pt x="11" y="51"/>
                      <a:pt x="11" y="51"/>
                    </a:cubicBezTo>
                    <a:cubicBezTo>
                      <a:pt x="9" y="45"/>
                      <a:pt x="0" y="48"/>
                      <a:pt x="0" y="48"/>
                    </a:cubicBezTo>
                    <a:cubicBezTo>
                      <a:pt x="17" y="41"/>
                      <a:pt x="25" y="23"/>
                      <a:pt x="25" y="23"/>
                    </a:cubicBezTo>
                    <a:cubicBezTo>
                      <a:pt x="32" y="0"/>
                      <a:pt x="37" y="16"/>
                      <a:pt x="37" y="16"/>
                    </a:cubicBezTo>
                    <a:cubicBezTo>
                      <a:pt x="40" y="28"/>
                      <a:pt x="28" y="36"/>
                      <a:pt x="35" y="35"/>
                    </a:cubicBezTo>
                    <a:cubicBezTo>
                      <a:pt x="42" y="37"/>
                      <a:pt x="28" y="51"/>
                      <a:pt x="35" y="57"/>
                    </a:cubicBezTo>
                    <a:cubicBezTo>
                      <a:pt x="32" y="63"/>
                      <a:pt x="36" y="92"/>
                      <a:pt x="32" y="99"/>
                    </a:cubicBezTo>
                    <a:cubicBezTo>
                      <a:pt x="28" y="106"/>
                      <a:pt x="29" y="126"/>
                      <a:pt x="29" y="126"/>
                    </a:cubicBezTo>
                    <a:cubicBezTo>
                      <a:pt x="29" y="126"/>
                      <a:pt x="29" y="126"/>
                      <a:pt x="29" y="126"/>
                    </a:cubicBezTo>
                    <a:close/>
                  </a:path>
                </a:pathLst>
              </a:custGeom>
              <a:solidFill>
                <a:srgbClr val="4F81B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60" name="Freeform 43"/>
              <p:cNvSpPr>
                <a:spLocks/>
              </p:cNvSpPr>
              <p:nvPr/>
            </p:nvSpPr>
            <p:spPr bwMode="auto">
              <a:xfrm>
                <a:off x="5219818" y="3507543"/>
                <a:ext cx="896872" cy="1094584"/>
              </a:xfrm>
              <a:custGeom>
                <a:avLst/>
                <a:gdLst/>
                <a:ahLst/>
                <a:cxnLst>
                  <a:cxn ang="0">
                    <a:pos x="26" y="135"/>
                  </a:cxn>
                  <a:cxn ang="0">
                    <a:pos x="44" y="135"/>
                  </a:cxn>
                  <a:cxn ang="0">
                    <a:pos x="40" y="180"/>
                  </a:cxn>
                  <a:cxn ang="0">
                    <a:pos x="48" y="205"/>
                  </a:cxn>
                  <a:cxn ang="0">
                    <a:pos x="34" y="230"/>
                  </a:cxn>
                  <a:cxn ang="0">
                    <a:pos x="14" y="244"/>
                  </a:cxn>
                  <a:cxn ang="0">
                    <a:pos x="15" y="270"/>
                  </a:cxn>
                  <a:cxn ang="0">
                    <a:pos x="29" y="289"/>
                  </a:cxn>
                  <a:cxn ang="0">
                    <a:pos x="54" y="314"/>
                  </a:cxn>
                  <a:cxn ang="0">
                    <a:pos x="85" y="330"/>
                  </a:cxn>
                  <a:cxn ang="0">
                    <a:pos x="91" y="347"/>
                  </a:cxn>
                  <a:cxn ang="0">
                    <a:pos x="75" y="361"/>
                  </a:cxn>
                  <a:cxn ang="0">
                    <a:pos x="59" y="385"/>
                  </a:cxn>
                  <a:cxn ang="0">
                    <a:pos x="94" y="415"/>
                  </a:cxn>
                  <a:cxn ang="0">
                    <a:pos x="87" y="439"/>
                  </a:cxn>
                  <a:cxn ang="0">
                    <a:pos x="123" y="434"/>
                  </a:cxn>
                  <a:cxn ang="0">
                    <a:pos x="220" y="389"/>
                  </a:cxn>
                  <a:cxn ang="0">
                    <a:pos x="230" y="358"/>
                  </a:cxn>
                  <a:cxn ang="0">
                    <a:pos x="229" y="331"/>
                  </a:cxn>
                  <a:cxn ang="0">
                    <a:pos x="265" y="281"/>
                  </a:cxn>
                  <a:cxn ang="0">
                    <a:pos x="285" y="255"/>
                  </a:cxn>
                  <a:cxn ang="0">
                    <a:pos x="312" y="235"/>
                  </a:cxn>
                  <a:cxn ang="0">
                    <a:pos x="312" y="223"/>
                  </a:cxn>
                  <a:cxn ang="0">
                    <a:pos x="296" y="207"/>
                  </a:cxn>
                  <a:cxn ang="0">
                    <a:pos x="253" y="188"/>
                  </a:cxn>
                  <a:cxn ang="0">
                    <a:pos x="215" y="140"/>
                  </a:cxn>
                  <a:cxn ang="0">
                    <a:pos x="204" y="96"/>
                  </a:cxn>
                  <a:cxn ang="0">
                    <a:pos x="195" y="67"/>
                  </a:cxn>
                  <a:cxn ang="0">
                    <a:pos x="172" y="46"/>
                  </a:cxn>
                  <a:cxn ang="0">
                    <a:pos x="161" y="18"/>
                  </a:cxn>
                  <a:cxn ang="0">
                    <a:pos x="145" y="6"/>
                  </a:cxn>
                  <a:cxn ang="0">
                    <a:pos x="106" y="14"/>
                  </a:cxn>
                  <a:cxn ang="0">
                    <a:pos x="102" y="33"/>
                  </a:cxn>
                  <a:cxn ang="0">
                    <a:pos x="78" y="70"/>
                  </a:cxn>
                  <a:cxn ang="0">
                    <a:pos x="58" y="86"/>
                  </a:cxn>
                  <a:cxn ang="0">
                    <a:pos x="37" y="91"/>
                  </a:cxn>
                  <a:cxn ang="0">
                    <a:pos x="15" y="104"/>
                  </a:cxn>
                  <a:cxn ang="0">
                    <a:pos x="19" y="127"/>
                  </a:cxn>
                </a:cxnLst>
                <a:rect l="0" t="0" r="r" b="b"/>
                <a:pathLst>
                  <a:path w="316" h="439">
                    <a:moveTo>
                      <a:pt x="19" y="127"/>
                    </a:moveTo>
                    <a:cubicBezTo>
                      <a:pt x="34" y="131"/>
                      <a:pt x="26" y="135"/>
                      <a:pt x="26" y="135"/>
                    </a:cubicBezTo>
                    <a:cubicBezTo>
                      <a:pt x="20" y="141"/>
                      <a:pt x="30" y="145"/>
                      <a:pt x="31" y="137"/>
                    </a:cubicBezTo>
                    <a:cubicBezTo>
                      <a:pt x="37" y="131"/>
                      <a:pt x="44" y="135"/>
                      <a:pt x="44" y="135"/>
                    </a:cubicBezTo>
                    <a:cubicBezTo>
                      <a:pt x="44" y="138"/>
                      <a:pt x="33" y="144"/>
                      <a:pt x="37" y="155"/>
                    </a:cubicBezTo>
                    <a:cubicBezTo>
                      <a:pt x="32" y="180"/>
                      <a:pt x="40" y="180"/>
                      <a:pt x="40" y="180"/>
                    </a:cubicBezTo>
                    <a:cubicBezTo>
                      <a:pt x="50" y="182"/>
                      <a:pt x="51" y="193"/>
                      <a:pt x="51" y="193"/>
                    </a:cubicBezTo>
                    <a:cubicBezTo>
                      <a:pt x="55" y="202"/>
                      <a:pt x="48" y="205"/>
                      <a:pt x="48" y="205"/>
                    </a:cubicBezTo>
                    <a:cubicBezTo>
                      <a:pt x="40" y="206"/>
                      <a:pt x="48" y="220"/>
                      <a:pt x="48" y="220"/>
                    </a:cubicBezTo>
                    <a:cubicBezTo>
                      <a:pt x="55" y="237"/>
                      <a:pt x="34" y="230"/>
                      <a:pt x="34" y="230"/>
                    </a:cubicBezTo>
                    <a:cubicBezTo>
                      <a:pt x="21" y="215"/>
                      <a:pt x="14" y="226"/>
                      <a:pt x="14" y="226"/>
                    </a:cubicBezTo>
                    <a:cubicBezTo>
                      <a:pt x="5" y="237"/>
                      <a:pt x="14" y="244"/>
                      <a:pt x="14" y="244"/>
                    </a:cubicBezTo>
                    <a:cubicBezTo>
                      <a:pt x="24" y="252"/>
                      <a:pt x="14" y="255"/>
                      <a:pt x="14" y="255"/>
                    </a:cubicBezTo>
                    <a:cubicBezTo>
                      <a:pt x="0" y="257"/>
                      <a:pt x="15" y="270"/>
                      <a:pt x="15" y="270"/>
                    </a:cubicBezTo>
                    <a:cubicBezTo>
                      <a:pt x="16" y="279"/>
                      <a:pt x="21" y="278"/>
                      <a:pt x="21" y="278"/>
                    </a:cubicBezTo>
                    <a:cubicBezTo>
                      <a:pt x="28" y="278"/>
                      <a:pt x="29" y="289"/>
                      <a:pt x="29" y="289"/>
                    </a:cubicBezTo>
                    <a:cubicBezTo>
                      <a:pt x="33" y="297"/>
                      <a:pt x="39" y="308"/>
                      <a:pt x="39" y="308"/>
                    </a:cubicBezTo>
                    <a:cubicBezTo>
                      <a:pt x="49" y="305"/>
                      <a:pt x="54" y="314"/>
                      <a:pt x="54" y="314"/>
                    </a:cubicBezTo>
                    <a:cubicBezTo>
                      <a:pt x="58" y="321"/>
                      <a:pt x="62" y="308"/>
                      <a:pt x="69" y="319"/>
                    </a:cubicBezTo>
                    <a:cubicBezTo>
                      <a:pt x="77" y="320"/>
                      <a:pt x="85" y="330"/>
                      <a:pt x="85" y="330"/>
                    </a:cubicBezTo>
                    <a:cubicBezTo>
                      <a:pt x="103" y="329"/>
                      <a:pt x="97" y="340"/>
                      <a:pt x="97" y="340"/>
                    </a:cubicBezTo>
                    <a:cubicBezTo>
                      <a:pt x="79" y="344"/>
                      <a:pt x="91" y="347"/>
                      <a:pt x="91" y="347"/>
                    </a:cubicBezTo>
                    <a:cubicBezTo>
                      <a:pt x="91" y="347"/>
                      <a:pt x="99" y="351"/>
                      <a:pt x="85" y="354"/>
                    </a:cubicBezTo>
                    <a:cubicBezTo>
                      <a:pt x="78" y="353"/>
                      <a:pt x="87" y="365"/>
                      <a:pt x="75" y="361"/>
                    </a:cubicBezTo>
                    <a:cubicBezTo>
                      <a:pt x="54" y="363"/>
                      <a:pt x="65" y="373"/>
                      <a:pt x="65" y="373"/>
                    </a:cubicBezTo>
                    <a:cubicBezTo>
                      <a:pt x="70" y="380"/>
                      <a:pt x="59" y="385"/>
                      <a:pt x="59" y="385"/>
                    </a:cubicBezTo>
                    <a:cubicBezTo>
                      <a:pt x="78" y="389"/>
                      <a:pt x="78" y="405"/>
                      <a:pt x="78" y="405"/>
                    </a:cubicBezTo>
                    <a:cubicBezTo>
                      <a:pt x="99" y="405"/>
                      <a:pt x="94" y="415"/>
                      <a:pt x="94" y="415"/>
                    </a:cubicBezTo>
                    <a:cubicBezTo>
                      <a:pt x="96" y="422"/>
                      <a:pt x="89" y="423"/>
                      <a:pt x="89" y="423"/>
                    </a:cubicBezTo>
                    <a:cubicBezTo>
                      <a:pt x="72" y="426"/>
                      <a:pt x="87" y="439"/>
                      <a:pt x="87" y="439"/>
                    </a:cubicBezTo>
                    <a:cubicBezTo>
                      <a:pt x="89" y="437"/>
                      <a:pt x="92" y="435"/>
                      <a:pt x="95" y="434"/>
                    </a:cubicBezTo>
                    <a:cubicBezTo>
                      <a:pt x="95" y="434"/>
                      <a:pt x="110" y="418"/>
                      <a:pt x="123" y="434"/>
                    </a:cubicBezTo>
                    <a:cubicBezTo>
                      <a:pt x="123" y="434"/>
                      <a:pt x="130" y="415"/>
                      <a:pt x="150" y="395"/>
                    </a:cubicBezTo>
                    <a:cubicBezTo>
                      <a:pt x="180" y="397"/>
                      <a:pt x="191" y="384"/>
                      <a:pt x="220" y="389"/>
                    </a:cubicBezTo>
                    <a:cubicBezTo>
                      <a:pt x="220" y="389"/>
                      <a:pt x="224" y="387"/>
                      <a:pt x="230" y="384"/>
                    </a:cubicBezTo>
                    <a:cubicBezTo>
                      <a:pt x="230" y="372"/>
                      <a:pt x="221" y="366"/>
                      <a:pt x="230" y="358"/>
                    </a:cubicBezTo>
                    <a:cubicBezTo>
                      <a:pt x="237" y="355"/>
                      <a:pt x="242" y="345"/>
                      <a:pt x="230" y="346"/>
                    </a:cubicBezTo>
                    <a:cubicBezTo>
                      <a:pt x="220" y="347"/>
                      <a:pt x="229" y="331"/>
                      <a:pt x="229" y="331"/>
                    </a:cubicBezTo>
                    <a:cubicBezTo>
                      <a:pt x="233" y="325"/>
                      <a:pt x="224" y="299"/>
                      <a:pt x="238" y="288"/>
                    </a:cubicBezTo>
                    <a:cubicBezTo>
                      <a:pt x="249" y="279"/>
                      <a:pt x="254" y="285"/>
                      <a:pt x="265" y="281"/>
                    </a:cubicBezTo>
                    <a:cubicBezTo>
                      <a:pt x="278" y="275"/>
                      <a:pt x="268" y="268"/>
                      <a:pt x="278" y="269"/>
                    </a:cubicBezTo>
                    <a:cubicBezTo>
                      <a:pt x="288" y="270"/>
                      <a:pt x="285" y="255"/>
                      <a:pt x="285" y="255"/>
                    </a:cubicBezTo>
                    <a:cubicBezTo>
                      <a:pt x="283" y="230"/>
                      <a:pt x="303" y="234"/>
                      <a:pt x="303" y="234"/>
                    </a:cubicBezTo>
                    <a:cubicBezTo>
                      <a:pt x="306" y="234"/>
                      <a:pt x="309" y="235"/>
                      <a:pt x="312" y="235"/>
                    </a:cubicBezTo>
                    <a:cubicBezTo>
                      <a:pt x="312" y="235"/>
                      <a:pt x="312" y="235"/>
                      <a:pt x="312" y="235"/>
                    </a:cubicBezTo>
                    <a:cubicBezTo>
                      <a:pt x="312" y="223"/>
                      <a:pt x="312" y="223"/>
                      <a:pt x="312" y="223"/>
                    </a:cubicBezTo>
                    <a:cubicBezTo>
                      <a:pt x="312" y="223"/>
                      <a:pt x="312" y="223"/>
                      <a:pt x="312" y="223"/>
                    </a:cubicBezTo>
                    <a:cubicBezTo>
                      <a:pt x="312" y="223"/>
                      <a:pt x="316" y="208"/>
                      <a:pt x="296" y="207"/>
                    </a:cubicBezTo>
                    <a:cubicBezTo>
                      <a:pt x="296" y="207"/>
                      <a:pt x="283" y="212"/>
                      <a:pt x="279" y="201"/>
                    </a:cubicBezTo>
                    <a:cubicBezTo>
                      <a:pt x="279" y="201"/>
                      <a:pt x="289" y="193"/>
                      <a:pt x="253" y="188"/>
                    </a:cubicBezTo>
                    <a:cubicBezTo>
                      <a:pt x="253" y="188"/>
                      <a:pt x="257" y="172"/>
                      <a:pt x="231" y="149"/>
                    </a:cubicBezTo>
                    <a:cubicBezTo>
                      <a:pt x="231" y="149"/>
                      <a:pt x="233" y="141"/>
                      <a:pt x="215" y="140"/>
                    </a:cubicBezTo>
                    <a:cubicBezTo>
                      <a:pt x="216" y="124"/>
                      <a:pt x="205" y="130"/>
                      <a:pt x="206" y="117"/>
                    </a:cubicBezTo>
                    <a:cubicBezTo>
                      <a:pt x="206" y="117"/>
                      <a:pt x="198" y="113"/>
                      <a:pt x="204" y="96"/>
                    </a:cubicBezTo>
                    <a:cubicBezTo>
                      <a:pt x="211" y="92"/>
                      <a:pt x="198" y="88"/>
                      <a:pt x="202" y="83"/>
                    </a:cubicBezTo>
                    <a:cubicBezTo>
                      <a:pt x="202" y="83"/>
                      <a:pt x="214" y="81"/>
                      <a:pt x="195" y="67"/>
                    </a:cubicBezTo>
                    <a:cubicBezTo>
                      <a:pt x="195" y="67"/>
                      <a:pt x="198" y="54"/>
                      <a:pt x="181" y="54"/>
                    </a:cubicBezTo>
                    <a:cubicBezTo>
                      <a:pt x="181" y="54"/>
                      <a:pt x="159" y="55"/>
                      <a:pt x="172" y="46"/>
                    </a:cubicBezTo>
                    <a:cubicBezTo>
                      <a:pt x="182" y="43"/>
                      <a:pt x="170" y="39"/>
                      <a:pt x="172" y="30"/>
                    </a:cubicBezTo>
                    <a:cubicBezTo>
                      <a:pt x="172" y="30"/>
                      <a:pt x="175" y="11"/>
                      <a:pt x="161" y="18"/>
                    </a:cubicBezTo>
                    <a:cubicBezTo>
                      <a:pt x="161" y="18"/>
                      <a:pt x="151" y="20"/>
                      <a:pt x="153" y="14"/>
                    </a:cubicBezTo>
                    <a:cubicBezTo>
                      <a:pt x="153" y="14"/>
                      <a:pt x="155" y="7"/>
                      <a:pt x="145" y="6"/>
                    </a:cubicBezTo>
                    <a:cubicBezTo>
                      <a:pt x="138" y="11"/>
                      <a:pt x="122" y="9"/>
                      <a:pt x="122" y="9"/>
                    </a:cubicBezTo>
                    <a:cubicBezTo>
                      <a:pt x="111" y="0"/>
                      <a:pt x="106" y="14"/>
                      <a:pt x="106" y="14"/>
                    </a:cubicBezTo>
                    <a:cubicBezTo>
                      <a:pt x="103" y="20"/>
                      <a:pt x="117" y="12"/>
                      <a:pt x="117" y="19"/>
                    </a:cubicBezTo>
                    <a:cubicBezTo>
                      <a:pt x="117" y="28"/>
                      <a:pt x="102" y="33"/>
                      <a:pt x="102" y="33"/>
                    </a:cubicBezTo>
                    <a:cubicBezTo>
                      <a:pt x="84" y="47"/>
                      <a:pt x="84" y="55"/>
                      <a:pt x="84" y="55"/>
                    </a:cubicBezTo>
                    <a:cubicBezTo>
                      <a:pt x="90" y="66"/>
                      <a:pt x="78" y="70"/>
                      <a:pt x="78" y="70"/>
                    </a:cubicBezTo>
                    <a:cubicBezTo>
                      <a:pt x="65" y="76"/>
                      <a:pt x="70" y="87"/>
                      <a:pt x="70" y="87"/>
                    </a:cubicBezTo>
                    <a:cubicBezTo>
                      <a:pt x="64" y="80"/>
                      <a:pt x="58" y="86"/>
                      <a:pt x="58" y="86"/>
                    </a:cubicBezTo>
                    <a:cubicBezTo>
                      <a:pt x="47" y="91"/>
                      <a:pt x="52" y="97"/>
                      <a:pt x="52" y="97"/>
                    </a:cubicBezTo>
                    <a:cubicBezTo>
                      <a:pt x="44" y="97"/>
                      <a:pt x="37" y="91"/>
                      <a:pt x="37" y="91"/>
                    </a:cubicBezTo>
                    <a:cubicBezTo>
                      <a:pt x="34" y="92"/>
                      <a:pt x="33" y="101"/>
                      <a:pt x="28" y="98"/>
                    </a:cubicBezTo>
                    <a:cubicBezTo>
                      <a:pt x="13" y="91"/>
                      <a:pt x="15" y="104"/>
                      <a:pt x="15" y="104"/>
                    </a:cubicBezTo>
                    <a:cubicBezTo>
                      <a:pt x="14" y="113"/>
                      <a:pt x="22" y="110"/>
                      <a:pt x="19" y="127"/>
                    </a:cubicBezTo>
                    <a:cubicBezTo>
                      <a:pt x="19" y="127"/>
                      <a:pt x="19" y="127"/>
                      <a:pt x="19" y="127"/>
                    </a:cubicBezTo>
                    <a:close/>
                  </a:path>
                </a:pathLst>
              </a:custGeom>
              <a:solidFill>
                <a:srgbClr val="EEBB0D"/>
              </a:solidFill>
              <a:ln w="952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</p:grpSp>
        <p:sp>
          <p:nvSpPr>
            <p:cNvPr id="12" name="Oval 147"/>
            <p:cNvSpPr/>
            <p:nvPr/>
          </p:nvSpPr>
          <p:spPr bwMode="auto">
            <a:xfrm>
              <a:off x="5122393" y="2409718"/>
              <a:ext cx="146832" cy="144503"/>
            </a:xfrm>
            <a:prstGeom prst="ellipse">
              <a:avLst/>
            </a:prstGeom>
            <a:solidFill>
              <a:srgbClr val="C0504D">
                <a:lumMod val="75000"/>
              </a:srgbClr>
            </a:solidFill>
            <a:ln w="9525" cap="flat" cmpd="sng" algn="ctr">
              <a:solidFill>
                <a:sysClr val="window" lastClr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0" hangingPunct="0">
                <a:defRPr/>
              </a:pPr>
              <a:endParaRPr lang="uk-UA" sz="1000" u="sng" kern="0" dirty="0">
                <a:solidFill>
                  <a:sysClr val="windowText" lastClr="000000"/>
                </a:solidFill>
                <a:latin typeface="+mn-lt"/>
                <a:ea typeface="MS PGothic" pitchFamily="34" charset="-128"/>
                <a:cs typeface="+mn-cs"/>
              </a:endParaRPr>
            </a:p>
          </p:txBody>
        </p:sp>
        <p:sp>
          <p:nvSpPr>
            <p:cNvPr id="13" name="Freeform 164"/>
            <p:cNvSpPr>
              <a:spLocks noChangeAspect="1"/>
            </p:cNvSpPr>
            <p:nvPr/>
          </p:nvSpPr>
          <p:spPr bwMode="auto">
            <a:xfrm>
              <a:off x="8114102" y="3196462"/>
              <a:ext cx="874874" cy="968716"/>
            </a:xfrm>
            <a:custGeom>
              <a:avLst/>
              <a:gdLst>
                <a:gd name="connsiteX0" fmla="*/ 127000 w 828675"/>
                <a:gd name="connsiteY0" fmla="*/ 885825 h 885825"/>
                <a:gd name="connsiteX1" fmla="*/ 244475 w 828675"/>
                <a:gd name="connsiteY1" fmla="*/ 873125 h 885825"/>
                <a:gd name="connsiteX2" fmla="*/ 234950 w 828675"/>
                <a:gd name="connsiteY2" fmla="*/ 809625 h 885825"/>
                <a:gd name="connsiteX3" fmla="*/ 266700 w 828675"/>
                <a:gd name="connsiteY3" fmla="*/ 774700 h 885825"/>
                <a:gd name="connsiteX4" fmla="*/ 228600 w 828675"/>
                <a:gd name="connsiteY4" fmla="*/ 765175 h 885825"/>
                <a:gd name="connsiteX5" fmla="*/ 247650 w 828675"/>
                <a:gd name="connsiteY5" fmla="*/ 720725 h 885825"/>
                <a:gd name="connsiteX6" fmla="*/ 244475 w 828675"/>
                <a:gd name="connsiteY6" fmla="*/ 622300 h 885825"/>
                <a:gd name="connsiteX7" fmla="*/ 285750 w 828675"/>
                <a:gd name="connsiteY7" fmla="*/ 600075 h 885825"/>
                <a:gd name="connsiteX8" fmla="*/ 361950 w 828675"/>
                <a:gd name="connsiteY8" fmla="*/ 587375 h 885825"/>
                <a:gd name="connsiteX9" fmla="*/ 381000 w 828675"/>
                <a:gd name="connsiteY9" fmla="*/ 561975 h 885825"/>
                <a:gd name="connsiteX10" fmla="*/ 419100 w 828675"/>
                <a:gd name="connsiteY10" fmla="*/ 552450 h 885825"/>
                <a:gd name="connsiteX11" fmla="*/ 412750 w 828675"/>
                <a:gd name="connsiteY11" fmla="*/ 504825 h 885825"/>
                <a:gd name="connsiteX12" fmla="*/ 434975 w 828675"/>
                <a:gd name="connsiteY12" fmla="*/ 454025 h 885825"/>
                <a:gd name="connsiteX13" fmla="*/ 476250 w 828675"/>
                <a:gd name="connsiteY13" fmla="*/ 463550 h 885825"/>
                <a:gd name="connsiteX14" fmla="*/ 774700 w 828675"/>
                <a:gd name="connsiteY14" fmla="*/ 450850 h 885825"/>
                <a:gd name="connsiteX15" fmla="*/ 781050 w 828675"/>
                <a:gd name="connsiteY15" fmla="*/ 304800 h 885825"/>
                <a:gd name="connsiteX16" fmla="*/ 828675 w 828675"/>
                <a:gd name="connsiteY16" fmla="*/ 222250 h 885825"/>
                <a:gd name="connsiteX17" fmla="*/ 774700 w 828675"/>
                <a:gd name="connsiteY17" fmla="*/ 222250 h 885825"/>
                <a:gd name="connsiteX18" fmla="*/ 774700 w 828675"/>
                <a:gd name="connsiteY18" fmla="*/ 209550 h 885825"/>
                <a:gd name="connsiteX19" fmla="*/ 787400 w 828675"/>
                <a:gd name="connsiteY19" fmla="*/ 190500 h 885825"/>
                <a:gd name="connsiteX20" fmla="*/ 768350 w 828675"/>
                <a:gd name="connsiteY20" fmla="*/ 139700 h 885825"/>
                <a:gd name="connsiteX21" fmla="*/ 749300 w 828675"/>
                <a:gd name="connsiteY21" fmla="*/ 101600 h 885825"/>
                <a:gd name="connsiteX22" fmla="*/ 717550 w 828675"/>
                <a:gd name="connsiteY22" fmla="*/ 88900 h 885825"/>
                <a:gd name="connsiteX23" fmla="*/ 698500 w 828675"/>
                <a:gd name="connsiteY23" fmla="*/ 92075 h 885825"/>
                <a:gd name="connsiteX24" fmla="*/ 603250 w 828675"/>
                <a:gd name="connsiteY24" fmla="*/ 69850 h 885825"/>
                <a:gd name="connsiteX25" fmla="*/ 542925 w 828675"/>
                <a:gd name="connsiteY25" fmla="*/ 0 h 885825"/>
                <a:gd name="connsiteX26" fmla="*/ 520700 w 828675"/>
                <a:gd name="connsiteY26" fmla="*/ 47625 h 885825"/>
                <a:gd name="connsiteX27" fmla="*/ 454025 w 828675"/>
                <a:gd name="connsiteY27" fmla="*/ 63500 h 885825"/>
                <a:gd name="connsiteX28" fmla="*/ 419100 w 828675"/>
                <a:gd name="connsiteY28" fmla="*/ 12700 h 885825"/>
                <a:gd name="connsiteX29" fmla="*/ 381000 w 828675"/>
                <a:gd name="connsiteY29" fmla="*/ 44450 h 885825"/>
                <a:gd name="connsiteX30" fmla="*/ 314325 w 828675"/>
                <a:gd name="connsiteY30" fmla="*/ 76200 h 885825"/>
                <a:gd name="connsiteX31" fmla="*/ 276225 w 828675"/>
                <a:gd name="connsiteY31" fmla="*/ 117475 h 885825"/>
                <a:gd name="connsiteX32" fmla="*/ 241300 w 828675"/>
                <a:gd name="connsiteY32" fmla="*/ 203200 h 885825"/>
                <a:gd name="connsiteX33" fmla="*/ 196850 w 828675"/>
                <a:gd name="connsiteY33" fmla="*/ 228600 h 885825"/>
                <a:gd name="connsiteX34" fmla="*/ 149225 w 828675"/>
                <a:gd name="connsiteY34" fmla="*/ 203200 h 885825"/>
                <a:gd name="connsiteX35" fmla="*/ 95250 w 828675"/>
                <a:gd name="connsiteY35" fmla="*/ 247650 h 885825"/>
                <a:gd name="connsiteX36" fmla="*/ 60325 w 828675"/>
                <a:gd name="connsiteY36" fmla="*/ 279400 h 885825"/>
                <a:gd name="connsiteX37" fmla="*/ 85725 w 828675"/>
                <a:gd name="connsiteY37" fmla="*/ 323850 h 885825"/>
                <a:gd name="connsiteX38" fmla="*/ 104775 w 828675"/>
                <a:gd name="connsiteY38" fmla="*/ 349250 h 885825"/>
                <a:gd name="connsiteX39" fmla="*/ 95250 w 828675"/>
                <a:gd name="connsiteY39" fmla="*/ 381000 h 885825"/>
                <a:gd name="connsiteX40" fmla="*/ 85725 w 828675"/>
                <a:gd name="connsiteY40" fmla="*/ 428625 h 885825"/>
                <a:gd name="connsiteX41" fmla="*/ 31750 w 828675"/>
                <a:gd name="connsiteY41" fmla="*/ 444500 h 885825"/>
                <a:gd name="connsiteX42" fmla="*/ 9525 w 828675"/>
                <a:gd name="connsiteY42" fmla="*/ 476250 h 885825"/>
                <a:gd name="connsiteX43" fmla="*/ 0 w 828675"/>
                <a:gd name="connsiteY43" fmla="*/ 520700 h 885825"/>
                <a:gd name="connsiteX44" fmla="*/ 15875 w 828675"/>
                <a:gd name="connsiteY44" fmla="*/ 565150 h 885825"/>
                <a:gd name="connsiteX45" fmla="*/ 28575 w 828675"/>
                <a:gd name="connsiteY45" fmla="*/ 587375 h 885825"/>
                <a:gd name="connsiteX46" fmla="*/ 63500 w 828675"/>
                <a:gd name="connsiteY46" fmla="*/ 584200 h 885825"/>
                <a:gd name="connsiteX47" fmla="*/ 76200 w 828675"/>
                <a:gd name="connsiteY47" fmla="*/ 631825 h 885825"/>
                <a:gd name="connsiteX48" fmla="*/ 92075 w 828675"/>
                <a:gd name="connsiteY48" fmla="*/ 654050 h 885825"/>
                <a:gd name="connsiteX49" fmla="*/ 114300 w 828675"/>
                <a:gd name="connsiteY49" fmla="*/ 692150 h 885825"/>
                <a:gd name="connsiteX50" fmla="*/ 107950 w 828675"/>
                <a:gd name="connsiteY50" fmla="*/ 727075 h 885825"/>
                <a:gd name="connsiteX51" fmla="*/ 133350 w 828675"/>
                <a:gd name="connsiteY51" fmla="*/ 777875 h 885825"/>
                <a:gd name="connsiteX52" fmla="*/ 130175 w 828675"/>
                <a:gd name="connsiteY52" fmla="*/ 828675 h 885825"/>
                <a:gd name="connsiteX53" fmla="*/ 127000 w 828675"/>
                <a:gd name="connsiteY53" fmla="*/ 885825 h 885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828675" h="885825">
                  <a:moveTo>
                    <a:pt x="127000" y="885825"/>
                  </a:moveTo>
                  <a:lnTo>
                    <a:pt x="244475" y="873125"/>
                  </a:lnTo>
                  <a:lnTo>
                    <a:pt x="234950" y="809625"/>
                  </a:lnTo>
                  <a:lnTo>
                    <a:pt x="266700" y="774700"/>
                  </a:lnTo>
                  <a:lnTo>
                    <a:pt x="228600" y="765175"/>
                  </a:lnTo>
                  <a:lnTo>
                    <a:pt x="247650" y="720725"/>
                  </a:lnTo>
                  <a:lnTo>
                    <a:pt x="244475" y="622300"/>
                  </a:lnTo>
                  <a:lnTo>
                    <a:pt x="285750" y="600075"/>
                  </a:lnTo>
                  <a:lnTo>
                    <a:pt x="361950" y="587375"/>
                  </a:lnTo>
                  <a:lnTo>
                    <a:pt x="381000" y="561975"/>
                  </a:lnTo>
                  <a:lnTo>
                    <a:pt x="419100" y="552450"/>
                  </a:lnTo>
                  <a:lnTo>
                    <a:pt x="412750" y="504825"/>
                  </a:lnTo>
                  <a:lnTo>
                    <a:pt x="434975" y="454025"/>
                  </a:lnTo>
                  <a:lnTo>
                    <a:pt x="476250" y="463550"/>
                  </a:lnTo>
                  <a:lnTo>
                    <a:pt x="774700" y="450850"/>
                  </a:lnTo>
                  <a:lnTo>
                    <a:pt x="781050" y="304800"/>
                  </a:lnTo>
                  <a:lnTo>
                    <a:pt x="828675" y="222250"/>
                  </a:lnTo>
                  <a:lnTo>
                    <a:pt x="774700" y="222250"/>
                  </a:lnTo>
                  <a:lnTo>
                    <a:pt x="774700" y="209550"/>
                  </a:lnTo>
                  <a:lnTo>
                    <a:pt x="787400" y="190500"/>
                  </a:lnTo>
                  <a:lnTo>
                    <a:pt x="768350" y="139700"/>
                  </a:lnTo>
                  <a:lnTo>
                    <a:pt x="749300" y="101600"/>
                  </a:lnTo>
                  <a:lnTo>
                    <a:pt x="717550" y="88900"/>
                  </a:lnTo>
                  <a:lnTo>
                    <a:pt x="698500" y="92075"/>
                  </a:lnTo>
                  <a:lnTo>
                    <a:pt x="603250" y="69850"/>
                  </a:lnTo>
                  <a:lnTo>
                    <a:pt x="542925" y="0"/>
                  </a:lnTo>
                  <a:lnTo>
                    <a:pt x="520700" y="47625"/>
                  </a:lnTo>
                  <a:lnTo>
                    <a:pt x="454025" y="63500"/>
                  </a:lnTo>
                  <a:lnTo>
                    <a:pt x="419100" y="12700"/>
                  </a:lnTo>
                  <a:lnTo>
                    <a:pt x="381000" y="44450"/>
                  </a:lnTo>
                  <a:lnTo>
                    <a:pt x="314325" y="76200"/>
                  </a:lnTo>
                  <a:lnTo>
                    <a:pt x="276225" y="117475"/>
                  </a:lnTo>
                  <a:lnTo>
                    <a:pt x="241300" y="203200"/>
                  </a:lnTo>
                  <a:lnTo>
                    <a:pt x="196850" y="228600"/>
                  </a:lnTo>
                  <a:lnTo>
                    <a:pt x="149225" y="203200"/>
                  </a:lnTo>
                  <a:lnTo>
                    <a:pt x="95250" y="247650"/>
                  </a:lnTo>
                  <a:lnTo>
                    <a:pt x="60325" y="279400"/>
                  </a:lnTo>
                  <a:lnTo>
                    <a:pt x="85725" y="323850"/>
                  </a:lnTo>
                  <a:lnTo>
                    <a:pt x="104775" y="349250"/>
                  </a:lnTo>
                  <a:lnTo>
                    <a:pt x="95250" y="381000"/>
                  </a:lnTo>
                  <a:lnTo>
                    <a:pt x="85725" y="428625"/>
                  </a:lnTo>
                  <a:lnTo>
                    <a:pt x="31750" y="444500"/>
                  </a:lnTo>
                  <a:lnTo>
                    <a:pt x="9525" y="476250"/>
                  </a:lnTo>
                  <a:lnTo>
                    <a:pt x="0" y="520700"/>
                  </a:lnTo>
                  <a:lnTo>
                    <a:pt x="15875" y="565150"/>
                  </a:lnTo>
                  <a:lnTo>
                    <a:pt x="28575" y="587375"/>
                  </a:lnTo>
                  <a:lnTo>
                    <a:pt x="63500" y="584200"/>
                  </a:lnTo>
                  <a:lnTo>
                    <a:pt x="76200" y="631825"/>
                  </a:lnTo>
                  <a:lnTo>
                    <a:pt x="92075" y="654050"/>
                  </a:lnTo>
                  <a:lnTo>
                    <a:pt x="114300" y="692150"/>
                  </a:lnTo>
                  <a:lnTo>
                    <a:pt x="107950" y="727075"/>
                  </a:lnTo>
                  <a:lnTo>
                    <a:pt x="133350" y="777875"/>
                  </a:lnTo>
                  <a:lnTo>
                    <a:pt x="130175" y="828675"/>
                  </a:lnTo>
                  <a:lnTo>
                    <a:pt x="127000" y="885825"/>
                  </a:lnTo>
                  <a:close/>
                </a:path>
              </a:pathLst>
            </a:custGeom>
            <a:solidFill>
              <a:sysClr val="window" lastClr="FFFFFF">
                <a:lumMod val="65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0" hangingPunct="0">
                <a:defRPr/>
              </a:pPr>
              <a:endParaRPr lang="uk-UA" sz="1000" u="sng" kern="0" dirty="0">
                <a:solidFill>
                  <a:sysClr val="windowText" lastClr="000000"/>
                </a:solidFill>
                <a:latin typeface="Arial" pitchFamily="34" charset="0"/>
                <a:ea typeface="MS PGothic" pitchFamily="34" charset="-128"/>
                <a:cs typeface="+mn-cs"/>
              </a:endParaRPr>
            </a:p>
          </p:txBody>
        </p:sp>
      </p:grpSp>
      <p:grpSp>
        <p:nvGrpSpPr>
          <p:cNvPr id="10" name="Group 4"/>
          <p:cNvGrpSpPr>
            <a:grpSpLocks noChangeAspect="1"/>
          </p:cNvGrpSpPr>
          <p:nvPr/>
        </p:nvGrpSpPr>
        <p:grpSpPr bwMode="auto">
          <a:xfrm>
            <a:off x="3338409" y="2769838"/>
            <a:ext cx="1182491" cy="1077105"/>
            <a:chOff x="2110" y="986"/>
            <a:chExt cx="2432" cy="2345"/>
          </a:xfrm>
          <a:solidFill>
            <a:srgbClr val="EEBB10"/>
          </a:solidFill>
        </p:grpSpPr>
        <p:sp>
          <p:nvSpPr>
            <p:cNvPr id="62" name="Freeform 6"/>
            <p:cNvSpPr>
              <a:spLocks/>
            </p:cNvSpPr>
            <p:nvPr/>
          </p:nvSpPr>
          <p:spPr bwMode="auto">
            <a:xfrm>
              <a:off x="2578" y="996"/>
              <a:ext cx="572" cy="572"/>
            </a:xfrm>
            <a:custGeom>
              <a:avLst/>
              <a:gdLst>
                <a:gd name="T0" fmla="*/ 286 w 572"/>
                <a:gd name="T1" fmla="*/ 0 h 572"/>
                <a:gd name="T2" fmla="*/ 328 w 572"/>
                <a:gd name="T3" fmla="*/ 3 h 572"/>
                <a:gd name="T4" fmla="*/ 369 w 572"/>
                <a:gd name="T5" fmla="*/ 12 h 572"/>
                <a:gd name="T6" fmla="*/ 406 w 572"/>
                <a:gd name="T7" fmla="*/ 26 h 572"/>
                <a:gd name="T8" fmla="*/ 442 w 572"/>
                <a:gd name="T9" fmla="*/ 47 h 572"/>
                <a:gd name="T10" fmla="*/ 474 w 572"/>
                <a:gd name="T11" fmla="*/ 70 h 572"/>
                <a:gd name="T12" fmla="*/ 502 w 572"/>
                <a:gd name="T13" fmla="*/ 98 h 572"/>
                <a:gd name="T14" fmla="*/ 526 w 572"/>
                <a:gd name="T15" fmla="*/ 130 h 572"/>
                <a:gd name="T16" fmla="*/ 546 w 572"/>
                <a:gd name="T17" fmla="*/ 166 h 572"/>
                <a:gd name="T18" fmla="*/ 560 w 572"/>
                <a:gd name="T19" fmla="*/ 203 h 572"/>
                <a:gd name="T20" fmla="*/ 569 w 572"/>
                <a:gd name="T21" fmla="*/ 244 h 572"/>
                <a:gd name="T22" fmla="*/ 572 w 572"/>
                <a:gd name="T23" fmla="*/ 286 h 572"/>
                <a:gd name="T24" fmla="*/ 569 w 572"/>
                <a:gd name="T25" fmla="*/ 328 h 572"/>
                <a:gd name="T26" fmla="*/ 560 w 572"/>
                <a:gd name="T27" fmla="*/ 369 h 572"/>
                <a:gd name="T28" fmla="*/ 546 w 572"/>
                <a:gd name="T29" fmla="*/ 406 h 572"/>
                <a:gd name="T30" fmla="*/ 526 w 572"/>
                <a:gd name="T31" fmla="*/ 442 h 572"/>
                <a:gd name="T32" fmla="*/ 502 w 572"/>
                <a:gd name="T33" fmla="*/ 473 h 572"/>
                <a:gd name="T34" fmla="*/ 474 w 572"/>
                <a:gd name="T35" fmla="*/ 501 h 572"/>
                <a:gd name="T36" fmla="*/ 442 w 572"/>
                <a:gd name="T37" fmla="*/ 526 h 572"/>
                <a:gd name="T38" fmla="*/ 406 w 572"/>
                <a:gd name="T39" fmla="*/ 546 h 572"/>
                <a:gd name="T40" fmla="*/ 369 w 572"/>
                <a:gd name="T41" fmla="*/ 560 h 572"/>
                <a:gd name="T42" fmla="*/ 328 w 572"/>
                <a:gd name="T43" fmla="*/ 569 h 572"/>
                <a:gd name="T44" fmla="*/ 286 w 572"/>
                <a:gd name="T45" fmla="*/ 572 h 572"/>
                <a:gd name="T46" fmla="*/ 244 w 572"/>
                <a:gd name="T47" fmla="*/ 569 h 572"/>
                <a:gd name="T48" fmla="*/ 204 w 572"/>
                <a:gd name="T49" fmla="*/ 560 h 572"/>
                <a:gd name="T50" fmla="*/ 166 w 572"/>
                <a:gd name="T51" fmla="*/ 546 h 572"/>
                <a:gd name="T52" fmla="*/ 130 w 572"/>
                <a:gd name="T53" fmla="*/ 526 h 572"/>
                <a:gd name="T54" fmla="*/ 99 w 572"/>
                <a:gd name="T55" fmla="*/ 501 h 572"/>
                <a:gd name="T56" fmla="*/ 71 w 572"/>
                <a:gd name="T57" fmla="*/ 473 h 572"/>
                <a:gd name="T58" fmla="*/ 46 w 572"/>
                <a:gd name="T59" fmla="*/ 442 h 572"/>
                <a:gd name="T60" fmla="*/ 27 w 572"/>
                <a:gd name="T61" fmla="*/ 406 h 572"/>
                <a:gd name="T62" fmla="*/ 12 w 572"/>
                <a:gd name="T63" fmla="*/ 369 h 572"/>
                <a:gd name="T64" fmla="*/ 3 w 572"/>
                <a:gd name="T65" fmla="*/ 328 h 572"/>
                <a:gd name="T66" fmla="*/ 0 w 572"/>
                <a:gd name="T67" fmla="*/ 286 h 572"/>
                <a:gd name="T68" fmla="*/ 3 w 572"/>
                <a:gd name="T69" fmla="*/ 244 h 572"/>
                <a:gd name="T70" fmla="*/ 12 w 572"/>
                <a:gd name="T71" fmla="*/ 203 h 572"/>
                <a:gd name="T72" fmla="*/ 27 w 572"/>
                <a:gd name="T73" fmla="*/ 166 h 572"/>
                <a:gd name="T74" fmla="*/ 46 w 572"/>
                <a:gd name="T75" fmla="*/ 130 h 572"/>
                <a:gd name="T76" fmla="*/ 71 w 572"/>
                <a:gd name="T77" fmla="*/ 98 h 572"/>
                <a:gd name="T78" fmla="*/ 99 w 572"/>
                <a:gd name="T79" fmla="*/ 70 h 572"/>
                <a:gd name="T80" fmla="*/ 130 w 572"/>
                <a:gd name="T81" fmla="*/ 47 h 572"/>
                <a:gd name="T82" fmla="*/ 166 w 572"/>
                <a:gd name="T83" fmla="*/ 26 h 572"/>
                <a:gd name="T84" fmla="*/ 204 w 572"/>
                <a:gd name="T85" fmla="*/ 12 h 572"/>
                <a:gd name="T86" fmla="*/ 244 w 572"/>
                <a:gd name="T87" fmla="*/ 3 h 572"/>
                <a:gd name="T88" fmla="*/ 286 w 572"/>
                <a:gd name="T89" fmla="*/ 0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72" h="572">
                  <a:moveTo>
                    <a:pt x="286" y="0"/>
                  </a:moveTo>
                  <a:lnTo>
                    <a:pt x="328" y="3"/>
                  </a:lnTo>
                  <a:lnTo>
                    <a:pt x="369" y="12"/>
                  </a:lnTo>
                  <a:lnTo>
                    <a:pt x="406" y="26"/>
                  </a:lnTo>
                  <a:lnTo>
                    <a:pt x="442" y="47"/>
                  </a:lnTo>
                  <a:lnTo>
                    <a:pt x="474" y="70"/>
                  </a:lnTo>
                  <a:lnTo>
                    <a:pt x="502" y="98"/>
                  </a:lnTo>
                  <a:lnTo>
                    <a:pt x="526" y="130"/>
                  </a:lnTo>
                  <a:lnTo>
                    <a:pt x="546" y="166"/>
                  </a:lnTo>
                  <a:lnTo>
                    <a:pt x="560" y="203"/>
                  </a:lnTo>
                  <a:lnTo>
                    <a:pt x="569" y="244"/>
                  </a:lnTo>
                  <a:lnTo>
                    <a:pt x="572" y="286"/>
                  </a:lnTo>
                  <a:lnTo>
                    <a:pt x="569" y="328"/>
                  </a:lnTo>
                  <a:lnTo>
                    <a:pt x="560" y="369"/>
                  </a:lnTo>
                  <a:lnTo>
                    <a:pt x="546" y="406"/>
                  </a:lnTo>
                  <a:lnTo>
                    <a:pt x="526" y="442"/>
                  </a:lnTo>
                  <a:lnTo>
                    <a:pt x="502" y="473"/>
                  </a:lnTo>
                  <a:lnTo>
                    <a:pt x="474" y="501"/>
                  </a:lnTo>
                  <a:lnTo>
                    <a:pt x="442" y="526"/>
                  </a:lnTo>
                  <a:lnTo>
                    <a:pt x="406" y="546"/>
                  </a:lnTo>
                  <a:lnTo>
                    <a:pt x="369" y="560"/>
                  </a:lnTo>
                  <a:lnTo>
                    <a:pt x="328" y="569"/>
                  </a:lnTo>
                  <a:lnTo>
                    <a:pt x="286" y="572"/>
                  </a:lnTo>
                  <a:lnTo>
                    <a:pt x="244" y="569"/>
                  </a:lnTo>
                  <a:lnTo>
                    <a:pt x="204" y="560"/>
                  </a:lnTo>
                  <a:lnTo>
                    <a:pt x="166" y="546"/>
                  </a:lnTo>
                  <a:lnTo>
                    <a:pt x="130" y="526"/>
                  </a:lnTo>
                  <a:lnTo>
                    <a:pt x="99" y="501"/>
                  </a:lnTo>
                  <a:lnTo>
                    <a:pt x="71" y="473"/>
                  </a:lnTo>
                  <a:lnTo>
                    <a:pt x="46" y="442"/>
                  </a:lnTo>
                  <a:lnTo>
                    <a:pt x="27" y="406"/>
                  </a:lnTo>
                  <a:lnTo>
                    <a:pt x="12" y="369"/>
                  </a:lnTo>
                  <a:lnTo>
                    <a:pt x="3" y="328"/>
                  </a:lnTo>
                  <a:lnTo>
                    <a:pt x="0" y="286"/>
                  </a:lnTo>
                  <a:lnTo>
                    <a:pt x="3" y="244"/>
                  </a:lnTo>
                  <a:lnTo>
                    <a:pt x="12" y="203"/>
                  </a:lnTo>
                  <a:lnTo>
                    <a:pt x="27" y="166"/>
                  </a:lnTo>
                  <a:lnTo>
                    <a:pt x="46" y="130"/>
                  </a:lnTo>
                  <a:lnTo>
                    <a:pt x="71" y="98"/>
                  </a:lnTo>
                  <a:lnTo>
                    <a:pt x="99" y="70"/>
                  </a:lnTo>
                  <a:lnTo>
                    <a:pt x="130" y="47"/>
                  </a:lnTo>
                  <a:lnTo>
                    <a:pt x="166" y="26"/>
                  </a:lnTo>
                  <a:lnTo>
                    <a:pt x="204" y="12"/>
                  </a:lnTo>
                  <a:lnTo>
                    <a:pt x="244" y="3"/>
                  </a:lnTo>
                  <a:lnTo>
                    <a:pt x="28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7"/>
            <p:cNvSpPr>
              <a:spLocks/>
            </p:cNvSpPr>
            <p:nvPr/>
          </p:nvSpPr>
          <p:spPr bwMode="auto">
            <a:xfrm>
              <a:off x="2110" y="986"/>
              <a:ext cx="1534" cy="2345"/>
            </a:xfrm>
            <a:custGeom>
              <a:avLst/>
              <a:gdLst>
                <a:gd name="T0" fmla="*/ 172 w 1534"/>
                <a:gd name="T1" fmla="*/ 10 h 2345"/>
                <a:gd name="T2" fmla="*/ 226 w 1534"/>
                <a:gd name="T3" fmla="*/ 61 h 2345"/>
                <a:gd name="T4" fmla="*/ 245 w 1534"/>
                <a:gd name="T5" fmla="*/ 145 h 2345"/>
                <a:gd name="T6" fmla="*/ 262 w 1534"/>
                <a:gd name="T7" fmla="*/ 254 h 2345"/>
                <a:gd name="T8" fmla="*/ 281 w 1534"/>
                <a:gd name="T9" fmla="*/ 348 h 2345"/>
                <a:gd name="T10" fmla="*/ 301 w 1534"/>
                <a:gd name="T11" fmla="*/ 398 h 2345"/>
                <a:gd name="T12" fmla="*/ 345 w 1534"/>
                <a:gd name="T13" fmla="*/ 445 h 2345"/>
                <a:gd name="T14" fmla="*/ 413 w 1534"/>
                <a:gd name="T15" fmla="*/ 510 h 2345"/>
                <a:gd name="T16" fmla="*/ 496 w 1534"/>
                <a:gd name="T17" fmla="*/ 587 h 2345"/>
                <a:gd name="T18" fmla="*/ 977 w 1534"/>
                <a:gd name="T19" fmla="*/ 642 h 2345"/>
                <a:gd name="T20" fmla="*/ 1067 w 1534"/>
                <a:gd name="T21" fmla="*/ 561 h 2345"/>
                <a:gd name="T22" fmla="*/ 1146 w 1534"/>
                <a:gd name="T23" fmla="*/ 486 h 2345"/>
                <a:gd name="T24" fmla="*/ 1207 w 1534"/>
                <a:gd name="T25" fmla="*/ 426 h 2345"/>
                <a:gd name="T26" fmla="*/ 1240 w 1534"/>
                <a:gd name="T27" fmla="*/ 388 h 2345"/>
                <a:gd name="T28" fmla="*/ 1260 w 1534"/>
                <a:gd name="T29" fmla="*/ 320 h 2345"/>
                <a:gd name="T30" fmla="*/ 1278 w 1534"/>
                <a:gd name="T31" fmla="*/ 217 h 2345"/>
                <a:gd name="T32" fmla="*/ 1293 w 1534"/>
                <a:gd name="T33" fmla="*/ 109 h 2345"/>
                <a:gd name="T34" fmla="*/ 1323 w 1534"/>
                <a:gd name="T35" fmla="*/ 40 h 2345"/>
                <a:gd name="T36" fmla="*/ 1388 w 1534"/>
                <a:gd name="T37" fmla="*/ 3 h 2345"/>
                <a:gd name="T38" fmla="*/ 1449 w 1534"/>
                <a:gd name="T39" fmla="*/ 5 h 2345"/>
                <a:gd name="T40" fmla="*/ 1508 w 1534"/>
                <a:gd name="T41" fmla="*/ 45 h 2345"/>
                <a:gd name="T42" fmla="*/ 1534 w 1534"/>
                <a:gd name="T43" fmla="*/ 109 h 2345"/>
                <a:gd name="T44" fmla="*/ 1531 w 1534"/>
                <a:gd name="T45" fmla="*/ 166 h 2345"/>
                <a:gd name="T46" fmla="*/ 1520 w 1534"/>
                <a:gd name="T47" fmla="*/ 248 h 2345"/>
                <a:gd name="T48" fmla="*/ 1503 w 1534"/>
                <a:gd name="T49" fmla="*/ 349 h 2345"/>
                <a:gd name="T50" fmla="*/ 1478 w 1534"/>
                <a:gd name="T51" fmla="*/ 448 h 2345"/>
                <a:gd name="T52" fmla="*/ 1454 w 1534"/>
                <a:gd name="T53" fmla="*/ 504 h 2345"/>
                <a:gd name="T54" fmla="*/ 1443 w 1534"/>
                <a:gd name="T55" fmla="*/ 522 h 2345"/>
                <a:gd name="T56" fmla="*/ 1422 w 1534"/>
                <a:gd name="T57" fmla="*/ 551 h 2345"/>
                <a:gd name="T58" fmla="*/ 1382 w 1534"/>
                <a:gd name="T59" fmla="*/ 595 h 2345"/>
                <a:gd name="T60" fmla="*/ 1317 w 1534"/>
                <a:gd name="T61" fmla="*/ 660 h 2345"/>
                <a:gd name="T62" fmla="*/ 1220 w 1534"/>
                <a:gd name="T63" fmla="*/ 751 h 2345"/>
                <a:gd name="T64" fmla="*/ 1140 w 1534"/>
                <a:gd name="T65" fmla="*/ 822 h 2345"/>
                <a:gd name="T66" fmla="*/ 1076 w 1534"/>
                <a:gd name="T67" fmla="*/ 879 h 2345"/>
                <a:gd name="T68" fmla="*/ 1048 w 1534"/>
                <a:gd name="T69" fmla="*/ 2219 h 2345"/>
                <a:gd name="T70" fmla="*/ 1026 w 1534"/>
                <a:gd name="T71" fmla="*/ 2289 h 2345"/>
                <a:gd name="T72" fmla="*/ 970 w 1534"/>
                <a:gd name="T73" fmla="*/ 2336 h 2345"/>
                <a:gd name="T74" fmla="*/ 895 w 1534"/>
                <a:gd name="T75" fmla="*/ 2343 h 2345"/>
                <a:gd name="T76" fmla="*/ 832 w 1534"/>
                <a:gd name="T77" fmla="*/ 2309 h 2345"/>
                <a:gd name="T78" fmla="*/ 797 w 1534"/>
                <a:gd name="T79" fmla="*/ 2244 h 2345"/>
                <a:gd name="T80" fmla="*/ 714 w 1534"/>
                <a:gd name="T81" fmla="*/ 1517 h 2345"/>
                <a:gd name="T82" fmla="*/ 704 w 1534"/>
                <a:gd name="T83" fmla="*/ 2268 h 2345"/>
                <a:gd name="T84" fmla="*/ 659 w 1534"/>
                <a:gd name="T85" fmla="*/ 2324 h 2345"/>
                <a:gd name="T86" fmla="*/ 588 w 1534"/>
                <a:gd name="T87" fmla="*/ 2345 h 2345"/>
                <a:gd name="T88" fmla="*/ 517 w 1534"/>
                <a:gd name="T89" fmla="*/ 2324 h 2345"/>
                <a:gd name="T90" fmla="*/ 471 w 1534"/>
                <a:gd name="T91" fmla="*/ 2268 h 2345"/>
                <a:gd name="T92" fmla="*/ 461 w 1534"/>
                <a:gd name="T93" fmla="*/ 882 h 2345"/>
                <a:gd name="T94" fmla="*/ 396 w 1534"/>
                <a:gd name="T95" fmla="*/ 824 h 2345"/>
                <a:gd name="T96" fmla="*/ 314 w 1534"/>
                <a:gd name="T97" fmla="*/ 751 h 2345"/>
                <a:gd name="T98" fmla="*/ 217 w 1534"/>
                <a:gd name="T99" fmla="*/ 660 h 2345"/>
                <a:gd name="T100" fmla="*/ 152 w 1534"/>
                <a:gd name="T101" fmla="*/ 595 h 2345"/>
                <a:gd name="T102" fmla="*/ 112 w 1534"/>
                <a:gd name="T103" fmla="*/ 551 h 2345"/>
                <a:gd name="T104" fmla="*/ 91 w 1534"/>
                <a:gd name="T105" fmla="*/ 522 h 2345"/>
                <a:gd name="T106" fmla="*/ 80 w 1534"/>
                <a:gd name="T107" fmla="*/ 504 h 2345"/>
                <a:gd name="T108" fmla="*/ 56 w 1534"/>
                <a:gd name="T109" fmla="*/ 448 h 2345"/>
                <a:gd name="T110" fmla="*/ 32 w 1534"/>
                <a:gd name="T111" fmla="*/ 349 h 2345"/>
                <a:gd name="T112" fmla="*/ 14 w 1534"/>
                <a:gd name="T113" fmla="*/ 248 h 2345"/>
                <a:gd name="T114" fmla="*/ 3 w 1534"/>
                <a:gd name="T115" fmla="*/ 166 h 2345"/>
                <a:gd name="T116" fmla="*/ 0 w 1534"/>
                <a:gd name="T117" fmla="*/ 109 h 2345"/>
                <a:gd name="T118" fmla="*/ 26 w 1534"/>
                <a:gd name="T119" fmla="*/ 45 h 2345"/>
                <a:gd name="T120" fmla="*/ 85 w 1534"/>
                <a:gd name="T121" fmla="*/ 5 h 2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34" h="2345">
                  <a:moveTo>
                    <a:pt x="121" y="0"/>
                  </a:moveTo>
                  <a:lnTo>
                    <a:pt x="147" y="2"/>
                  </a:lnTo>
                  <a:lnTo>
                    <a:pt x="172" y="10"/>
                  </a:lnTo>
                  <a:lnTo>
                    <a:pt x="193" y="23"/>
                  </a:lnTo>
                  <a:lnTo>
                    <a:pt x="211" y="40"/>
                  </a:lnTo>
                  <a:lnTo>
                    <a:pt x="226" y="61"/>
                  </a:lnTo>
                  <a:lnTo>
                    <a:pt x="236" y="84"/>
                  </a:lnTo>
                  <a:lnTo>
                    <a:pt x="241" y="109"/>
                  </a:lnTo>
                  <a:lnTo>
                    <a:pt x="245" y="145"/>
                  </a:lnTo>
                  <a:lnTo>
                    <a:pt x="250" y="181"/>
                  </a:lnTo>
                  <a:lnTo>
                    <a:pt x="255" y="217"/>
                  </a:lnTo>
                  <a:lnTo>
                    <a:pt x="262" y="254"/>
                  </a:lnTo>
                  <a:lnTo>
                    <a:pt x="268" y="288"/>
                  </a:lnTo>
                  <a:lnTo>
                    <a:pt x="274" y="320"/>
                  </a:lnTo>
                  <a:lnTo>
                    <a:pt x="281" y="348"/>
                  </a:lnTo>
                  <a:lnTo>
                    <a:pt x="287" y="371"/>
                  </a:lnTo>
                  <a:lnTo>
                    <a:pt x="294" y="388"/>
                  </a:lnTo>
                  <a:lnTo>
                    <a:pt x="301" y="398"/>
                  </a:lnTo>
                  <a:lnTo>
                    <a:pt x="313" y="411"/>
                  </a:lnTo>
                  <a:lnTo>
                    <a:pt x="327" y="426"/>
                  </a:lnTo>
                  <a:lnTo>
                    <a:pt x="345" y="445"/>
                  </a:lnTo>
                  <a:lnTo>
                    <a:pt x="366" y="465"/>
                  </a:lnTo>
                  <a:lnTo>
                    <a:pt x="388" y="486"/>
                  </a:lnTo>
                  <a:lnTo>
                    <a:pt x="413" y="510"/>
                  </a:lnTo>
                  <a:lnTo>
                    <a:pt x="439" y="534"/>
                  </a:lnTo>
                  <a:lnTo>
                    <a:pt x="467" y="561"/>
                  </a:lnTo>
                  <a:lnTo>
                    <a:pt x="496" y="587"/>
                  </a:lnTo>
                  <a:lnTo>
                    <a:pt x="526" y="614"/>
                  </a:lnTo>
                  <a:lnTo>
                    <a:pt x="557" y="642"/>
                  </a:lnTo>
                  <a:lnTo>
                    <a:pt x="977" y="642"/>
                  </a:lnTo>
                  <a:lnTo>
                    <a:pt x="1009" y="614"/>
                  </a:lnTo>
                  <a:lnTo>
                    <a:pt x="1038" y="587"/>
                  </a:lnTo>
                  <a:lnTo>
                    <a:pt x="1067" y="561"/>
                  </a:lnTo>
                  <a:lnTo>
                    <a:pt x="1096" y="534"/>
                  </a:lnTo>
                  <a:lnTo>
                    <a:pt x="1122" y="510"/>
                  </a:lnTo>
                  <a:lnTo>
                    <a:pt x="1146" y="486"/>
                  </a:lnTo>
                  <a:lnTo>
                    <a:pt x="1168" y="465"/>
                  </a:lnTo>
                  <a:lnTo>
                    <a:pt x="1190" y="445"/>
                  </a:lnTo>
                  <a:lnTo>
                    <a:pt x="1207" y="426"/>
                  </a:lnTo>
                  <a:lnTo>
                    <a:pt x="1221" y="411"/>
                  </a:lnTo>
                  <a:lnTo>
                    <a:pt x="1233" y="398"/>
                  </a:lnTo>
                  <a:lnTo>
                    <a:pt x="1240" y="388"/>
                  </a:lnTo>
                  <a:lnTo>
                    <a:pt x="1247" y="371"/>
                  </a:lnTo>
                  <a:lnTo>
                    <a:pt x="1253" y="348"/>
                  </a:lnTo>
                  <a:lnTo>
                    <a:pt x="1260" y="320"/>
                  </a:lnTo>
                  <a:lnTo>
                    <a:pt x="1266" y="288"/>
                  </a:lnTo>
                  <a:lnTo>
                    <a:pt x="1272" y="254"/>
                  </a:lnTo>
                  <a:lnTo>
                    <a:pt x="1278" y="217"/>
                  </a:lnTo>
                  <a:lnTo>
                    <a:pt x="1284" y="181"/>
                  </a:lnTo>
                  <a:lnTo>
                    <a:pt x="1289" y="145"/>
                  </a:lnTo>
                  <a:lnTo>
                    <a:pt x="1293" y="109"/>
                  </a:lnTo>
                  <a:lnTo>
                    <a:pt x="1298" y="84"/>
                  </a:lnTo>
                  <a:lnTo>
                    <a:pt x="1308" y="61"/>
                  </a:lnTo>
                  <a:lnTo>
                    <a:pt x="1323" y="40"/>
                  </a:lnTo>
                  <a:lnTo>
                    <a:pt x="1341" y="23"/>
                  </a:lnTo>
                  <a:lnTo>
                    <a:pt x="1363" y="10"/>
                  </a:lnTo>
                  <a:lnTo>
                    <a:pt x="1388" y="3"/>
                  </a:lnTo>
                  <a:lnTo>
                    <a:pt x="1414" y="0"/>
                  </a:lnTo>
                  <a:lnTo>
                    <a:pt x="1426" y="0"/>
                  </a:lnTo>
                  <a:lnTo>
                    <a:pt x="1449" y="5"/>
                  </a:lnTo>
                  <a:lnTo>
                    <a:pt x="1472" y="14"/>
                  </a:lnTo>
                  <a:lnTo>
                    <a:pt x="1491" y="28"/>
                  </a:lnTo>
                  <a:lnTo>
                    <a:pt x="1508" y="45"/>
                  </a:lnTo>
                  <a:lnTo>
                    <a:pt x="1521" y="64"/>
                  </a:lnTo>
                  <a:lnTo>
                    <a:pt x="1530" y="86"/>
                  </a:lnTo>
                  <a:lnTo>
                    <a:pt x="1534" y="109"/>
                  </a:lnTo>
                  <a:lnTo>
                    <a:pt x="1534" y="133"/>
                  </a:lnTo>
                  <a:lnTo>
                    <a:pt x="1533" y="147"/>
                  </a:lnTo>
                  <a:lnTo>
                    <a:pt x="1531" y="166"/>
                  </a:lnTo>
                  <a:lnTo>
                    <a:pt x="1528" y="189"/>
                  </a:lnTo>
                  <a:lnTo>
                    <a:pt x="1525" y="217"/>
                  </a:lnTo>
                  <a:lnTo>
                    <a:pt x="1520" y="248"/>
                  </a:lnTo>
                  <a:lnTo>
                    <a:pt x="1515" y="280"/>
                  </a:lnTo>
                  <a:lnTo>
                    <a:pt x="1509" y="314"/>
                  </a:lnTo>
                  <a:lnTo>
                    <a:pt x="1503" y="349"/>
                  </a:lnTo>
                  <a:lnTo>
                    <a:pt x="1495" y="383"/>
                  </a:lnTo>
                  <a:lnTo>
                    <a:pt x="1487" y="416"/>
                  </a:lnTo>
                  <a:lnTo>
                    <a:pt x="1478" y="448"/>
                  </a:lnTo>
                  <a:lnTo>
                    <a:pt x="1468" y="476"/>
                  </a:lnTo>
                  <a:lnTo>
                    <a:pt x="1456" y="500"/>
                  </a:lnTo>
                  <a:lnTo>
                    <a:pt x="1454" y="504"/>
                  </a:lnTo>
                  <a:lnTo>
                    <a:pt x="1451" y="509"/>
                  </a:lnTo>
                  <a:lnTo>
                    <a:pt x="1448" y="515"/>
                  </a:lnTo>
                  <a:lnTo>
                    <a:pt x="1443" y="522"/>
                  </a:lnTo>
                  <a:lnTo>
                    <a:pt x="1438" y="530"/>
                  </a:lnTo>
                  <a:lnTo>
                    <a:pt x="1431" y="540"/>
                  </a:lnTo>
                  <a:lnTo>
                    <a:pt x="1422" y="551"/>
                  </a:lnTo>
                  <a:lnTo>
                    <a:pt x="1411" y="564"/>
                  </a:lnTo>
                  <a:lnTo>
                    <a:pt x="1398" y="578"/>
                  </a:lnTo>
                  <a:lnTo>
                    <a:pt x="1382" y="595"/>
                  </a:lnTo>
                  <a:lnTo>
                    <a:pt x="1363" y="614"/>
                  </a:lnTo>
                  <a:lnTo>
                    <a:pt x="1341" y="636"/>
                  </a:lnTo>
                  <a:lnTo>
                    <a:pt x="1317" y="660"/>
                  </a:lnTo>
                  <a:lnTo>
                    <a:pt x="1289" y="687"/>
                  </a:lnTo>
                  <a:lnTo>
                    <a:pt x="1256" y="717"/>
                  </a:lnTo>
                  <a:lnTo>
                    <a:pt x="1220" y="751"/>
                  </a:lnTo>
                  <a:lnTo>
                    <a:pt x="1193" y="776"/>
                  </a:lnTo>
                  <a:lnTo>
                    <a:pt x="1166" y="799"/>
                  </a:lnTo>
                  <a:lnTo>
                    <a:pt x="1140" y="822"/>
                  </a:lnTo>
                  <a:lnTo>
                    <a:pt x="1117" y="844"/>
                  </a:lnTo>
                  <a:lnTo>
                    <a:pt x="1096" y="863"/>
                  </a:lnTo>
                  <a:lnTo>
                    <a:pt x="1076" y="879"/>
                  </a:lnTo>
                  <a:lnTo>
                    <a:pt x="1060" y="893"/>
                  </a:lnTo>
                  <a:lnTo>
                    <a:pt x="1047" y="904"/>
                  </a:lnTo>
                  <a:lnTo>
                    <a:pt x="1048" y="2219"/>
                  </a:lnTo>
                  <a:lnTo>
                    <a:pt x="1045" y="2244"/>
                  </a:lnTo>
                  <a:lnTo>
                    <a:pt x="1038" y="2268"/>
                  </a:lnTo>
                  <a:lnTo>
                    <a:pt x="1026" y="2289"/>
                  </a:lnTo>
                  <a:lnTo>
                    <a:pt x="1011" y="2309"/>
                  </a:lnTo>
                  <a:lnTo>
                    <a:pt x="991" y="2324"/>
                  </a:lnTo>
                  <a:lnTo>
                    <a:pt x="970" y="2336"/>
                  </a:lnTo>
                  <a:lnTo>
                    <a:pt x="947" y="2343"/>
                  </a:lnTo>
                  <a:lnTo>
                    <a:pt x="921" y="2345"/>
                  </a:lnTo>
                  <a:lnTo>
                    <a:pt x="895" y="2343"/>
                  </a:lnTo>
                  <a:lnTo>
                    <a:pt x="872" y="2336"/>
                  </a:lnTo>
                  <a:lnTo>
                    <a:pt x="850" y="2324"/>
                  </a:lnTo>
                  <a:lnTo>
                    <a:pt x="832" y="2309"/>
                  </a:lnTo>
                  <a:lnTo>
                    <a:pt x="817" y="2289"/>
                  </a:lnTo>
                  <a:lnTo>
                    <a:pt x="804" y="2268"/>
                  </a:lnTo>
                  <a:lnTo>
                    <a:pt x="797" y="2244"/>
                  </a:lnTo>
                  <a:lnTo>
                    <a:pt x="794" y="2219"/>
                  </a:lnTo>
                  <a:lnTo>
                    <a:pt x="794" y="1517"/>
                  </a:lnTo>
                  <a:lnTo>
                    <a:pt x="714" y="1517"/>
                  </a:lnTo>
                  <a:lnTo>
                    <a:pt x="714" y="2219"/>
                  </a:lnTo>
                  <a:lnTo>
                    <a:pt x="711" y="2244"/>
                  </a:lnTo>
                  <a:lnTo>
                    <a:pt x="704" y="2268"/>
                  </a:lnTo>
                  <a:lnTo>
                    <a:pt x="692" y="2289"/>
                  </a:lnTo>
                  <a:lnTo>
                    <a:pt x="677" y="2309"/>
                  </a:lnTo>
                  <a:lnTo>
                    <a:pt x="659" y="2324"/>
                  </a:lnTo>
                  <a:lnTo>
                    <a:pt x="637" y="2336"/>
                  </a:lnTo>
                  <a:lnTo>
                    <a:pt x="613" y="2343"/>
                  </a:lnTo>
                  <a:lnTo>
                    <a:pt x="588" y="2345"/>
                  </a:lnTo>
                  <a:lnTo>
                    <a:pt x="562" y="2343"/>
                  </a:lnTo>
                  <a:lnTo>
                    <a:pt x="539" y="2336"/>
                  </a:lnTo>
                  <a:lnTo>
                    <a:pt x="517" y="2324"/>
                  </a:lnTo>
                  <a:lnTo>
                    <a:pt x="498" y="2309"/>
                  </a:lnTo>
                  <a:lnTo>
                    <a:pt x="483" y="2289"/>
                  </a:lnTo>
                  <a:lnTo>
                    <a:pt x="471" y="2268"/>
                  </a:lnTo>
                  <a:lnTo>
                    <a:pt x="464" y="2244"/>
                  </a:lnTo>
                  <a:lnTo>
                    <a:pt x="461" y="2219"/>
                  </a:lnTo>
                  <a:lnTo>
                    <a:pt x="461" y="882"/>
                  </a:lnTo>
                  <a:lnTo>
                    <a:pt x="441" y="865"/>
                  </a:lnTo>
                  <a:lnTo>
                    <a:pt x="420" y="846"/>
                  </a:lnTo>
                  <a:lnTo>
                    <a:pt x="396" y="824"/>
                  </a:lnTo>
                  <a:lnTo>
                    <a:pt x="370" y="801"/>
                  </a:lnTo>
                  <a:lnTo>
                    <a:pt x="342" y="776"/>
                  </a:lnTo>
                  <a:lnTo>
                    <a:pt x="314" y="751"/>
                  </a:lnTo>
                  <a:lnTo>
                    <a:pt x="278" y="717"/>
                  </a:lnTo>
                  <a:lnTo>
                    <a:pt x="245" y="687"/>
                  </a:lnTo>
                  <a:lnTo>
                    <a:pt x="217" y="660"/>
                  </a:lnTo>
                  <a:lnTo>
                    <a:pt x="193" y="636"/>
                  </a:lnTo>
                  <a:lnTo>
                    <a:pt x="171" y="614"/>
                  </a:lnTo>
                  <a:lnTo>
                    <a:pt x="152" y="595"/>
                  </a:lnTo>
                  <a:lnTo>
                    <a:pt x="136" y="578"/>
                  </a:lnTo>
                  <a:lnTo>
                    <a:pt x="123" y="564"/>
                  </a:lnTo>
                  <a:lnTo>
                    <a:pt x="112" y="551"/>
                  </a:lnTo>
                  <a:lnTo>
                    <a:pt x="103" y="540"/>
                  </a:lnTo>
                  <a:lnTo>
                    <a:pt x="96" y="530"/>
                  </a:lnTo>
                  <a:lnTo>
                    <a:pt x="91" y="522"/>
                  </a:lnTo>
                  <a:lnTo>
                    <a:pt x="86" y="515"/>
                  </a:lnTo>
                  <a:lnTo>
                    <a:pt x="83" y="509"/>
                  </a:lnTo>
                  <a:lnTo>
                    <a:pt x="80" y="504"/>
                  </a:lnTo>
                  <a:lnTo>
                    <a:pt x="78" y="500"/>
                  </a:lnTo>
                  <a:lnTo>
                    <a:pt x="66" y="476"/>
                  </a:lnTo>
                  <a:lnTo>
                    <a:pt x="56" y="448"/>
                  </a:lnTo>
                  <a:lnTo>
                    <a:pt x="47" y="416"/>
                  </a:lnTo>
                  <a:lnTo>
                    <a:pt x="39" y="383"/>
                  </a:lnTo>
                  <a:lnTo>
                    <a:pt x="32" y="349"/>
                  </a:lnTo>
                  <a:lnTo>
                    <a:pt x="25" y="314"/>
                  </a:lnTo>
                  <a:lnTo>
                    <a:pt x="19" y="280"/>
                  </a:lnTo>
                  <a:lnTo>
                    <a:pt x="14" y="248"/>
                  </a:lnTo>
                  <a:lnTo>
                    <a:pt x="10" y="217"/>
                  </a:lnTo>
                  <a:lnTo>
                    <a:pt x="6" y="189"/>
                  </a:lnTo>
                  <a:lnTo>
                    <a:pt x="3" y="166"/>
                  </a:lnTo>
                  <a:lnTo>
                    <a:pt x="1" y="147"/>
                  </a:lnTo>
                  <a:lnTo>
                    <a:pt x="0" y="133"/>
                  </a:lnTo>
                  <a:lnTo>
                    <a:pt x="0" y="109"/>
                  </a:lnTo>
                  <a:lnTo>
                    <a:pt x="5" y="86"/>
                  </a:lnTo>
                  <a:lnTo>
                    <a:pt x="14" y="64"/>
                  </a:lnTo>
                  <a:lnTo>
                    <a:pt x="26" y="45"/>
                  </a:lnTo>
                  <a:lnTo>
                    <a:pt x="43" y="28"/>
                  </a:lnTo>
                  <a:lnTo>
                    <a:pt x="62" y="14"/>
                  </a:lnTo>
                  <a:lnTo>
                    <a:pt x="85" y="5"/>
                  </a:lnTo>
                  <a:lnTo>
                    <a:pt x="109" y="0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11"/>
            <p:cNvSpPr>
              <a:spLocks/>
            </p:cNvSpPr>
            <p:nvPr/>
          </p:nvSpPr>
          <p:spPr bwMode="auto">
            <a:xfrm>
              <a:off x="3504" y="1538"/>
              <a:ext cx="434" cy="435"/>
            </a:xfrm>
            <a:custGeom>
              <a:avLst/>
              <a:gdLst>
                <a:gd name="T0" fmla="*/ 217 w 434"/>
                <a:gd name="T1" fmla="*/ 0 h 435"/>
                <a:gd name="T2" fmla="*/ 252 w 434"/>
                <a:gd name="T3" fmla="*/ 3 h 435"/>
                <a:gd name="T4" fmla="*/ 286 w 434"/>
                <a:gd name="T5" fmla="*/ 11 h 435"/>
                <a:gd name="T6" fmla="*/ 317 w 434"/>
                <a:gd name="T7" fmla="*/ 24 h 435"/>
                <a:gd name="T8" fmla="*/ 345 w 434"/>
                <a:gd name="T9" fmla="*/ 42 h 435"/>
                <a:gd name="T10" fmla="*/ 371 w 434"/>
                <a:gd name="T11" fmla="*/ 63 h 435"/>
                <a:gd name="T12" fmla="*/ 393 w 434"/>
                <a:gd name="T13" fmla="*/ 89 h 435"/>
                <a:gd name="T14" fmla="*/ 410 w 434"/>
                <a:gd name="T15" fmla="*/ 118 h 435"/>
                <a:gd name="T16" fmla="*/ 423 w 434"/>
                <a:gd name="T17" fmla="*/ 149 h 435"/>
                <a:gd name="T18" fmla="*/ 431 w 434"/>
                <a:gd name="T19" fmla="*/ 183 h 435"/>
                <a:gd name="T20" fmla="*/ 434 w 434"/>
                <a:gd name="T21" fmla="*/ 218 h 435"/>
                <a:gd name="T22" fmla="*/ 431 w 434"/>
                <a:gd name="T23" fmla="*/ 252 h 435"/>
                <a:gd name="T24" fmla="*/ 423 w 434"/>
                <a:gd name="T25" fmla="*/ 287 h 435"/>
                <a:gd name="T26" fmla="*/ 410 w 434"/>
                <a:gd name="T27" fmla="*/ 317 h 435"/>
                <a:gd name="T28" fmla="*/ 393 w 434"/>
                <a:gd name="T29" fmla="*/ 346 h 435"/>
                <a:gd name="T30" fmla="*/ 371 w 434"/>
                <a:gd name="T31" fmla="*/ 371 h 435"/>
                <a:gd name="T32" fmla="*/ 345 w 434"/>
                <a:gd name="T33" fmla="*/ 393 h 435"/>
                <a:gd name="T34" fmla="*/ 317 w 434"/>
                <a:gd name="T35" fmla="*/ 411 h 435"/>
                <a:gd name="T36" fmla="*/ 286 w 434"/>
                <a:gd name="T37" fmla="*/ 424 h 435"/>
                <a:gd name="T38" fmla="*/ 252 w 434"/>
                <a:gd name="T39" fmla="*/ 432 h 435"/>
                <a:gd name="T40" fmla="*/ 217 w 434"/>
                <a:gd name="T41" fmla="*/ 435 h 435"/>
                <a:gd name="T42" fmla="*/ 182 w 434"/>
                <a:gd name="T43" fmla="*/ 432 h 435"/>
                <a:gd name="T44" fmla="*/ 148 w 434"/>
                <a:gd name="T45" fmla="*/ 424 h 435"/>
                <a:gd name="T46" fmla="*/ 117 w 434"/>
                <a:gd name="T47" fmla="*/ 411 h 435"/>
                <a:gd name="T48" fmla="*/ 89 w 434"/>
                <a:gd name="T49" fmla="*/ 393 h 435"/>
                <a:gd name="T50" fmla="*/ 63 w 434"/>
                <a:gd name="T51" fmla="*/ 371 h 435"/>
                <a:gd name="T52" fmla="*/ 41 w 434"/>
                <a:gd name="T53" fmla="*/ 346 h 435"/>
                <a:gd name="T54" fmla="*/ 24 w 434"/>
                <a:gd name="T55" fmla="*/ 317 h 435"/>
                <a:gd name="T56" fmla="*/ 11 w 434"/>
                <a:gd name="T57" fmla="*/ 287 h 435"/>
                <a:gd name="T58" fmla="*/ 2 w 434"/>
                <a:gd name="T59" fmla="*/ 252 h 435"/>
                <a:gd name="T60" fmla="*/ 0 w 434"/>
                <a:gd name="T61" fmla="*/ 218 h 435"/>
                <a:gd name="T62" fmla="*/ 2 w 434"/>
                <a:gd name="T63" fmla="*/ 183 h 435"/>
                <a:gd name="T64" fmla="*/ 11 w 434"/>
                <a:gd name="T65" fmla="*/ 149 h 435"/>
                <a:gd name="T66" fmla="*/ 24 w 434"/>
                <a:gd name="T67" fmla="*/ 118 h 435"/>
                <a:gd name="T68" fmla="*/ 41 w 434"/>
                <a:gd name="T69" fmla="*/ 89 h 435"/>
                <a:gd name="T70" fmla="*/ 63 w 434"/>
                <a:gd name="T71" fmla="*/ 63 h 435"/>
                <a:gd name="T72" fmla="*/ 89 w 434"/>
                <a:gd name="T73" fmla="*/ 42 h 435"/>
                <a:gd name="T74" fmla="*/ 117 w 434"/>
                <a:gd name="T75" fmla="*/ 24 h 435"/>
                <a:gd name="T76" fmla="*/ 148 w 434"/>
                <a:gd name="T77" fmla="*/ 11 h 435"/>
                <a:gd name="T78" fmla="*/ 182 w 434"/>
                <a:gd name="T79" fmla="*/ 3 h 435"/>
                <a:gd name="T80" fmla="*/ 217 w 434"/>
                <a:gd name="T81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34" h="435">
                  <a:moveTo>
                    <a:pt x="217" y="0"/>
                  </a:moveTo>
                  <a:lnTo>
                    <a:pt x="252" y="3"/>
                  </a:lnTo>
                  <a:lnTo>
                    <a:pt x="286" y="11"/>
                  </a:lnTo>
                  <a:lnTo>
                    <a:pt x="317" y="24"/>
                  </a:lnTo>
                  <a:lnTo>
                    <a:pt x="345" y="42"/>
                  </a:lnTo>
                  <a:lnTo>
                    <a:pt x="371" y="63"/>
                  </a:lnTo>
                  <a:lnTo>
                    <a:pt x="393" y="89"/>
                  </a:lnTo>
                  <a:lnTo>
                    <a:pt x="410" y="118"/>
                  </a:lnTo>
                  <a:lnTo>
                    <a:pt x="423" y="149"/>
                  </a:lnTo>
                  <a:lnTo>
                    <a:pt x="431" y="183"/>
                  </a:lnTo>
                  <a:lnTo>
                    <a:pt x="434" y="218"/>
                  </a:lnTo>
                  <a:lnTo>
                    <a:pt x="431" y="252"/>
                  </a:lnTo>
                  <a:lnTo>
                    <a:pt x="423" y="287"/>
                  </a:lnTo>
                  <a:lnTo>
                    <a:pt x="410" y="317"/>
                  </a:lnTo>
                  <a:lnTo>
                    <a:pt x="393" y="346"/>
                  </a:lnTo>
                  <a:lnTo>
                    <a:pt x="371" y="371"/>
                  </a:lnTo>
                  <a:lnTo>
                    <a:pt x="345" y="393"/>
                  </a:lnTo>
                  <a:lnTo>
                    <a:pt x="317" y="411"/>
                  </a:lnTo>
                  <a:lnTo>
                    <a:pt x="286" y="424"/>
                  </a:lnTo>
                  <a:lnTo>
                    <a:pt x="252" y="432"/>
                  </a:lnTo>
                  <a:lnTo>
                    <a:pt x="217" y="435"/>
                  </a:lnTo>
                  <a:lnTo>
                    <a:pt x="182" y="432"/>
                  </a:lnTo>
                  <a:lnTo>
                    <a:pt x="148" y="424"/>
                  </a:lnTo>
                  <a:lnTo>
                    <a:pt x="117" y="411"/>
                  </a:lnTo>
                  <a:lnTo>
                    <a:pt x="89" y="393"/>
                  </a:lnTo>
                  <a:lnTo>
                    <a:pt x="63" y="371"/>
                  </a:lnTo>
                  <a:lnTo>
                    <a:pt x="41" y="346"/>
                  </a:lnTo>
                  <a:lnTo>
                    <a:pt x="24" y="317"/>
                  </a:lnTo>
                  <a:lnTo>
                    <a:pt x="11" y="287"/>
                  </a:lnTo>
                  <a:lnTo>
                    <a:pt x="2" y="252"/>
                  </a:lnTo>
                  <a:lnTo>
                    <a:pt x="0" y="218"/>
                  </a:lnTo>
                  <a:lnTo>
                    <a:pt x="2" y="183"/>
                  </a:lnTo>
                  <a:lnTo>
                    <a:pt x="11" y="149"/>
                  </a:lnTo>
                  <a:lnTo>
                    <a:pt x="24" y="118"/>
                  </a:lnTo>
                  <a:lnTo>
                    <a:pt x="41" y="89"/>
                  </a:lnTo>
                  <a:lnTo>
                    <a:pt x="63" y="63"/>
                  </a:lnTo>
                  <a:lnTo>
                    <a:pt x="89" y="42"/>
                  </a:lnTo>
                  <a:lnTo>
                    <a:pt x="117" y="24"/>
                  </a:lnTo>
                  <a:lnTo>
                    <a:pt x="148" y="11"/>
                  </a:lnTo>
                  <a:lnTo>
                    <a:pt x="182" y="3"/>
                  </a:lnTo>
                  <a:lnTo>
                    <a:pt x="21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12"/>
            <p:cNvSpPr>
              <a:spLocks/>
            </p:cNvSpPr>
            <p:nvPr/>
          </p:nvSpPr>
          <p:spPr bwMode="auto">
            <a:xfrm>
              <a:off x="3330" y="1951"/>
              <a:ext cx="1212" cy="1317"/>
            </a:xfrm>
            <a:custGeom>
              <a:avLst/>
              <a:gdLst>
                <a:gd name="T0" fmla="*/ 1005 w 1212"/>
                <a:gd name="T1" fmla="*/ 3 h 1317"/>
                <a:gd name="T2" fmla="*/ 1049 w 1212"/>
                <a:gd name="T3" fmla="*/ 31 h 1317"/>
                <a:gd name="T4" fmla="*/ 1211 w 1212"/>
                <a:gd name="T5" fmla="*/ 408 h 1317"/>
                <a:gd name="T6" fmla="*/ 1197 w 1212"/>
                <a:gd name="T7" fmla="*/ 465 h 1317"/>
                <a:gd name="T8" fmla="*/ 1151 w 1212"/>
                <a:gd name="T9" fmla="*/ 494 h 1317"/>
                <a:gd name="T10" fmla="*/ 1101 w 1212"/>
                <a:gd name="T11" fmla="*/ 488 h 1317"/>
                <a:gd name="T12" fmla="*/ 1064 w 1212"/>
                <a:gd name="T13" fmla="*/ 449 h 1317"/>
                <a:gd name="T14" fmla="*/ 1031 w 1212"/>
                <a:gd name="T15" fmla="*/ 1063 h 1317"/>
                <a:gd name="T16" fmla="*/ 992 w 1212"/>
                <a:gd name="T17" fmla="*/ 1113 h 1317"/>
                <a:gd name="T18" fmla="*/ 927 w 1212"/>
                <a:gd name="T19" fmla="*/ 1121 h 1317"/>
                <a:gd name="T20" fmla="*/ 876 w 1212"/>
                <a:gd name="T21" fmla="*/ 1082 h 1317"/>
                <a:gd name="T22" fmla="*/ 864 w 1212"/>
                <a:gd name="T23" fmla="*/ 606 h 1317"/>
                <a:gd name="T24" fmla="*/ 826 w 1212"/>
                <a:gd name="T25" fmla="*/ 1063 h 1317"/>
                <a:gd name="T26" fmla="*/ 787 w 1212"/>
                <a:gd name="T27" fmla="*/ 1113 h 1317"/>
                <a:gd name="T28" fmla="*/ 722 w 1212"/>
                <a:gd name="T29" fmla="*/ 1121 h 1317"/>
                <a:gd name="T30" fmla="*/ 671 w 1212"/>
                <a:gd name="T31" fmla="*/ 1082 h 1317"/>
                <a:gd name="T32" fmla="*/ 660 w 1212"/>
                <a:gd name="T33" fmla="*/ 582 h 1317"/>
                <a:gd name="T34" fmla="*/ 610 w 1212"/>
                <a:gd name="T35" fmla="*/ 479 h 1317"/>
                <a:gd name="T36" fmla="*/ 607 w 1212"/>
                <a:gd name="T37" fmla="*/ 1245 h 1317"/>
                <a:gd name="T38" fmla="*/ 574 w 1212"/>
                <a:gd name="T39" fmla="*/ 1297 h 1317"/>
                <a:gd name="T40" fmla="*/ 514 w 1212"/>
                <a:gd name="T41" fmla="*/ 1317 h 1317"/>
                <a:gd name="T42" fmla="*/ 456 w 1212"/>
                <a:gd name="T43" fmla="*/ 1297 h 1317"/>
                <a:gd name="T44" fmla="*/ 422 w 1212"/>
                <a:gd name="T45" fmla="*/ 1245 h 1317"/>
                <a:gd name="T46" fmla="*/ 380 w 1212"/>
                <a:gd name="T47" fmla="*/ 729 h 1317"/>
                <a:gd name="T48" fmla="*/ 370 w 1212"/>
                <a:gd name="T49" fmla="*/ 1265 h 1317"/>
                <a:gd name="T50" fmla="*/ 326 w 1212"/>
                <a:gd name="T51" fmla="*/ 1308 h 1317"/>
                <a:gd name="T52" fmla="*/ 263 w 1212"/>
                <a:gd name="T53" fmla="*/ 1315 h 1317"/>
                <a:gd name="T54" fmla="*/ 210 w 1212"/>
                <a:gd name="T55" fmla="*/ 1282 h 1317"/>
                <a:gd name="T56" fmla="*/ 189 w 1212"/>
                <a:gd name="T57" fmla="*/ 1222 h 1317"/>
                <a:gd name="T58" fmla="*/ 155 w 1212"/>
                <a:gd name="T59" fmla="*/ 577 h 1317"/>
                <a:gd name="T60" fmla="*/ 106 w 1212"/>
                <a:gd name="T61" fmla="*/ 608 h 1317"/>
                <a:gd name="T62" fmla="*/ 51 w 1212"/>
                <a:gd name="T63" fmla="*/ 604 h 1317"/>
                <a:gd name="T64" fmla="*/ 13 w 1212"/>
                <a:gd name="T65" fmla="*/ 572 h 1317"/>
                <a:gd name="T66" fmla="*/ 1 w 1212"/>
                <a:gd name="T67" fmla="*/ 512 h 1317"/>
                <a:gd name="T68" fmla="*/ 183 w 1212"/>
                <a:gd name="T69" fmla="*/ 88 h 1317"/>
                <a:gd name="T70" fmla="*/ 229 w 1212"/>
                <a:gd name="T71" fmla="*/ 56 h 1317"/>
                <a:gd name="T72" fmla="*/ 264 w 1212"/>
                <a:gd name="T73" fmla="*/ 53 h 1317"/>
                <a:gd name="T74" fmla="*/ 322 w 1212"/>
                <a:gd name="T75" fmla="*/ 53 h 1317"/>
                <a:gd name="T76" fmla="*/ 404 w 1212"/>
                <a:gd name="T77" fmla="*/ 53 h 1317"/>
                <a:gd name="T78" fmla="*/ 486 w 1212"/>
                <a:gd name="T79" fmla="*/ 53 h 1317"/>
                <a:gd name="T80" fmla="*/ 544 w 1212"/>
                <a:gd name="T81" fmla="*/ 53 h 1317"/>
                <a:gd name="T82" fmla="*/ 576 w 1212"/>
                <a:gd name="T83" fmla="*/ 55 h 1317"/>
                <a:gd name="T84" fmla="*/ 624 w 1212"/>
                <a:gd name="T85" fmla="*/ 84 h 1317"/>
                <a:gd name="T86" fmla="*/ 661 w 1212"/>
                <a:gd name="T87" fmla="*/ 18 h 1317"/>
                <a:gd name="T88" fmla="*/ 711 w 1212"/>
                <a:gd name="T89" fmla="*/ 0 h 1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12" h="1317">
                  <a:moveTo>
                    <a:pt x="711" y="0"/>
                  </a:moveTo>
                  <a:lnTo>
                    <a:pt x="988" y="0"/>
                  </a:lnTo>
                  <a:lnTo>
                    <a:pt x="1005" y="3"/>
                  </a:lnTo>
                  <a:lnTo>
                    <a:pt x="1022" y="9"/>
                  </a:lnTo>
                  <a:lnTo>
                    <a:pt x="1036" y="18"/>
                  </a:lnTo>
                  <a:lnTo>
                    <a:pt x="1049" y="31"/>
                  </a:lnTo>
                  <a:lnTo>
                    <a:pt x="1057" y="46"/>
                  </a:lnTo>
                  <a:lnTo>
                    <a:pt x="1206" y="389"/>
                  </a:lnTo>
                  <a:lnTo>
                    <a:pt x="1211" y="408"/>
                  </a:lnTo>
                  <a:lnTo>
                    <a:pt x="1212" y="428"/>
                  </a:lnTo>
                  <a:lnTo>
                    <a:pt x="1207" y="447"/>
                  </a:lnTo>
                  <a:lnTo>
                    <a:pt x="1197" y="465"/>
                  </a:lnTo>
                  <a:lnTo>
                    <a:pt x="1183" y="479"/>
                  </a:lnTo>
                  <a:lnTo>
                    <a:pt x="1165" y="490"/>
                  </a:lnTo>
                  <a:lnTo>
                    <a:pt x="1151" y="494"/>
                  </a:lnTo>
                  <a:lnTo>
                    <a:pt x="1135" y="496"/>
                  </a:lnTo>
                  <a:lnTo>
                    <a:pt x="1117" y="494"/>
                  </a:lnTo>
                  <a:lnTo>
                    <a:pt x="1101" y="488"/>
                  </a:lnTo>
                  <a:lnTo>
                    <a:pt x="1086" y="478"/>
                  </a:lnTo>
                  <a:lnTo>
                    <a:pt x="1073" y="465"/>
                  </a:lnTo>
                  <a:lnTo>
                    <a:pt x="1064" y="449"/>
                  </a:lnTo>
                  <a:lnTo>
                    <a:pt x="1034" y="378"/>
                  </a:lnTo>
                  <a:lnTo>
                    <a:pt x="1034" y="1039"/>
                  </a:lnTo>
                  <a:lnTo>
                    <a:pt x="1031" y="1063"/>
                  </a:lnTo>
                  <a:lnTo>
                    <a:pt x="1022" y="1082"/>
                  </a:lnTo>
                  <a:lnTo>
                    <a:pt x="1009" y="1099"/>
                  </a:lnTo>
                  <a:lnTo>
                    <a:pt x="992" y="1113"/>
                  </a:lnTo>
                  <a:lnTo>
                    <a:pt x="971" y="1121"/>
                  </a:lnTo>
                  <a:lnTo>
                    <a:pt x="949" y="1124"/>
                  </a:lnTo>
                  <a:lnTo>
                    <a:pt x="927" y="1121"/>
                  </a:lnTo>
                  <a:lnTo>
                    <a:pt x="907" y="1113"/>
                  </a:lnTo>
                  <a:lnTo>
                    <a:pt x="889" y="1099"/>
                  </a:lnTo>
                  <a:lnTo>
                    <a:pt x="876" y="1082"/>
                  </a:lnTo>
                  <a:lnTo>
                    <a:pt x="867" y="1063"/>
                  </a:lnTo>
                  <a:lnTo>
                    <a:pt x="864" y="1039"/>
                  </a:lnTo>
                  <a:lnTo>
                    <a:pt x="864" y="606"/>
                  </a:lnTo>
                  <a:lnTo>
                    <a:pt x="829" y="606"/>
                  </a:lnTo>
                  <a:lnTo>
                    <a:pt x="829" y="1039"/>
                  </a:lnTo>
                  <a:lnTo>
                    <a:pt x="826" y="1063"/>
                  </a:lnTo>
                  <a:lnTo>
                    <a:pt x="818" y="1082"/>
                  </a:lnTo>
                  <a:lnTo>
                    <a:pt x="805" y="1099"/>
                  </a:lnTo>
                  <a:lnTo>
                    <a:pt x="787" y="1113"/>
                  </a:lnTo>
                  <a:lnTo>
                    <a:pt x="767" y="1121"/>
                  </a:lnTo>
                  <a:lnTo>
                    <a:pt x="745" y="1124"/>
                  </a:lnTo>
                  <a:lnTo>
                    <a:pt x="722" y="1121"/>
                  </a:lnTo>
                  <a:lnTo>
                    <a:pt x="701" y="1113"/>
                  </a:lnTo>
                  <a:lnTo>
                    <a:pt x="684" y="1099"/>
                  </a:lnTo>
                  <a:lnTo>
                    <a:pt x="671" y="1082"/>
                  </a:lnTo>
                  <a:lnTo>
                    <a:pt x="663" y="1063"/>
                  </a:lnTo>
                  <a:lnTo>
                    <a:pt x="660" y="1039"/>
                  </a:lnTo>
                  <a:lnTo>
                    <a:pt x="660" y="582"/>
                  </a:lnTo>
                  <a:lnTo>
                    <a:pt x="652" y="571"/>
                  </a:lnTo>
                  <a:lnTo>
                    <a:pt x="645" y="559"/>
                  </a:lnTo>
                  <a:lnTo>
                    <a:pt x="610" y="479"/>
                  </a:lnTo>
                  <a:lnTo>
                    <a:pt x="609" y="479"/>
                  </a:lnTo>
                  <a:lnTo>
                    <a:pt x="609" y="1222"/>
                  </a:lnTo>
                  <a:lnTo>
                    <a:pt x="607" y="1245"/>
                  </a:lnTo>
                  <a:lnTo>
                    <a:pt x="600" y="1265"/>
                  </a:lnTo>
                  <a:lnTo>
                    <a:pt x="589" y="1282"/>
                  </a:lnTo>
                  <a:lnTo>
                    <a:pt x="574" y="1297"/>
                  </a:lnTo>
                  <a:lnTo>
                    <a:pt x="557" y="1308"/>
                  </a:lnTo>
                  <a:lnTo>
                    <a:pt x="537" y="1315"/>
                  </a:lnTo>
                  <a:lnTo>
                    <a:pt x="514" y="1317"/>
                  </a:lnTo>
                  <a:lnTo>
                    <a:pt x="493" y="1315"/>
                  </a:lnTo>
                  <a:lnTo>
                    <a:pt x="473" y="1308"/>
                  </a:lnTo>
                  <a:lnTo>
                    <a:pt x="456" y="1297"/>
                  </a:lnTo>
                  <a:lnTo>
                    <a:pt x="441" y="1282"/>
                  </a:lnTo>
                  <a:lnTo>
                    <a:pt x="429" y="1265"/>
                  </a:lnTo>
                  <a:lnTo>
                    <a:pt x="422" y="1245"/>
                  </a:lnTo>
                  <a:lnTo>
                    <a:pt x="419" y="1222"/>
                  </a:lnTo>
                  <a:lnTo>
                    <a:pt x="419" y="729"/>
                  </a:lnTo>
                  <a:lnTo>
                    <a:pt x="380" y="729"/>
                  </a:lnTo>
                  <a:lnTo>
                    <a:pt x="380" y="1222"/>
                  </a:lnTo>
                  <a:lnTo>
                    <a:pt x="377" y="1245"/>
                  </a:lnTo>
                  <a:lnTo>
                    <a:pt x="370" y="1265"/>
                  </a:lnTo>
                  <a:lnTo>
                    <a:pt x="359" y="1282"/>
                  </a:lnTo>
                  <a:lnTo>
                    <a:pt x="344" y="1297"/>
                  </a:lnTo>
                  <a:lnTo>
                    <a:pt x="326" y="1308"/>
                  </a:lnTo>
                  <a:lnTo>
                    <a:pt x="306" y="1315"/>
                  </a:lnTo>
                  <a:lnTo>
                    <a:pt x="284" y="1317"/>
                  </a:lnTo>
                  <a:lnTo>
                    <a:pt x="263" y="1315"/>
                  </a:lnTo>
                  <a:lnTo>
                    <a:pt x="242" y="1308"/>
                  </a:lnTo>
                  <a:lnTo>
                    <a:pt x="225" y="1297"/>
                  </a:lnTo>
                  <a:lnTo>
                    <a:pt x="210" y="1282"/>
                  </a:lnTo>
                  <a:lnTo>
                    <a:pt x="199" y="1265"/>
                  </a:lnTo>
                  <a:lnTo>
                    <a:pt x="192" y="1245"/>
                  </a:lnTo>
                  <a:lnTo>
                    <a:pt x="189" y="1222"/>
                  </a:lnTo>
                  <a:lnTo>
                    <a:pt x="189" y="504"/>
                  </a:lnTo>
                  <a:lnTo>
                    <a:pt x="166" y="559"/>
                  </a:lnTo>
                  <a:lnTo>
                    <a:pt x="155" y="577"/>
                  </a:lnTo>
                  <a:lnTo>
                    <a:pt x="141" y="591"/>
                  </a:lnTo>
                  <a:lnTo>
                    <a:pt x="125" y="602"/>
                  </a:lnTo>
                  <a:lnTo>
                    <a:pt x="106" y="608"/>
                  </a:lnTo>
                  <a:lnTo>
                    <a:pt x="86" y="611"/>
                  </a:lnTo>
                  <a:lnTo>
                    <a:pt x="69" y="609"/>
                  </a:lnTo>
                  <a:lnTo>
                    <a:pt x="51" y="604"/>
                  </a:lnTo>
                  <a:lnTo>
                    <a:pt x="37" y="596"/>
                  </a:lnTo>
                  <a:lnTo>
                    <a:pt x="24" y="585"/>
                  </a:lnTo>
                  <a:lnTo>
                    <a:pt x="13" y="572"/>
                  </a:lnTo>
                  <a:lnTo>
                    <a:pt x="6" y="557"/>
                  </a:lnTo>
                  <a:lnTo>
                    <a:pt x="0" y="534"/>
                  </a:lnTo>
                  <a:lnTo>
                    <a:pt x="1" y="512"/>
                  </a:lnTo>
                  <a:lnTo>
                    <a:pt x="7" y="490"/>
                  </a:lnTo>
                  <a:lnTo>
                    <a:pt x="173" y="106"/>
                  </a:lnTo>
                  <a:lnTo>
                    <a:pt x="183" y="88"/>
                  </a:lnTo>
                  <a:lnTo>
                    <a:pt x="196" y="74"/>
                  </a:lnTo>
                  <a:lnTo>
                    <a:pt x="211" y="63"/>
                  </a:lnTo>
                  <a:lnTo>
                    <a:pt x="229" y="56"/>
                  </a:lnTo>
                  <a:lnTo>
                    <a:pt x="251" y="53"/>
                  </a:lnTo>
                  <a:lnTo>
                    <a:pt x="255" y="53"/>
                  </a:lnTo>
                  <a:lnTo>
                    <a:pt x="264" y="53"/>
                  </a:lnTo>
                  <a:lnTo>
                    <a:pt x="279" y="53"/>
                  </a:lnTo>
                  <a:lnTo>
                    <a:pt x="299" y="53"/>
                  </a:lnTo>
                  <a:lnTo>
                    <a:pt x="322" y="53"/>
                  </a:lnTo>
                  <a:lnTo>
                    <a:pt x="348" y="53"/>
                  </a:lnTo>
                  <a:lnTo>
                    <a:pt x="376" y="53"/>
                  </a:lnTo>
                  <a:lnTo>
                    <a:pt x="404" y="53"/>
                  </a:lnTo>
                  <a:lnTo>
                    <a:pt x="433" y="53"/>
                  </a:lnTo>
                  <a:lnTo>
                    <a:pt x="461" y="53"/>
                  </a:lnTo>
                  <a:lnTo>
                    <a:pt x="486" y="53"/>
                  </a:lnTo>
                  <a:lnTo>
                    <a:pt x="509" y="53"/>
                  </a:lnTo>
                  <a:lnTo>
                    <a:pt x="529" y="53"/>
                  </a:lnTo>
                  <a:lnTo>
                    <a:pt x="544" y="53"/>
                  </a:lnTo>
                  <a:lnTo>
                    <a:pt x="554" y="53"/>
                  </a:lnTo>
                  <a:lnTo>
                    <a:pt x="558" y="53"/>
                  </a:lnTo>
                  <a:lnTo>
                    <a:pt x="576" y="55"/>
                  </a:lnTo>
                  <a:lnTo>
                    <a:pt x="594" y="61"/>
                  </a:lnTo>
                  <a:lnTo>
                    <a:pt x="610" y="72"/>
                  </a:lnTo>
                  <a:lnTo>
                    <a:pt x="624" y="84"/>
                  </a:lnTo>
                  <a:lnTo>
                    <a:pt x="640" y="46"/>
                  </a:lnTo>
                  <a:lnTo>
                    <a:pt x="649" y="31"/>
                  </a:lnTo>
                  <a:lnTo>
                    <a:pt x="661" y="18"/>
                  </a:lnTo>
                  <a:lnTo>
                    <a:pt x="676" y="9"/>
                  </a:lnTo>
                  <a:lnTo>
                    <a:pt x="692" y="3"/>
                  </a:lnTo>
                  <a:lnTo>
                    <a:pt x="7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13"/>
            <p:cNvSpPr>
              <a:spLocks/>
            </p:cNvSpPr>
            <p:nvPr/>
          </p:nvSpPr>
          <p:spPr bwMode="auto">
            <a:xfrm>
              <a:off x="3976" y="1537"/>
              <a:ext cx="387" cy="387"/>
            </a:xfrm>
            <a:custGeom>
              <a:avLst/>
              <a:gdLst>
                <a:gd name="T0" fmla="*/ 193 w 387"/>
                <a:gd name="T1" fmla="*/ 0 h 387"/>
                <a:gd name="T2" fmla="*/ 228 w 387"/>
                <a:gd name="T3" fmla="*/ 3 h 387"/>
                <a:gd name="T4" fmla="*/ 261 w 387"/>
                <a:gd name="T5" fmla="*/ 12 h 387"/>
                <a:gd name="T6" fmla="*/ 291 w 387"/>
                <a:gd name="T7" fmla="*/ 26 h 387"/>
                <a:gd name="T8" fmla="*/ 317 w 387"/>
                <a:gd name="T9" fmla="*/ 45 h 387"/>
                <a:gd name="T10" fmla="*/ 342 w 387"/>
                <a:gd name="T11" fmla="*/ 68 h 387"/>
                <a:gd name="T12" fmla="*/ 360 w 387"/>
                <a:gd name="T13" fmla="*/ 96 h 387"/>
                <a:gd name="T14" fmla="*/ 375 w 387"/>
                <a:gd name="T15" fmla="*/ 125 h 387"/>
                <a:gd name="T16" fmla="*/ 384 w 387"/>
                <a:gd name="T17" fmla="*/ 158 h 387"/>
                <a:gd name="T18" fmla="*/ 387 w 387"/>
                <a:gd name="T19" fmla="*/ 193 h 387"/>
                <a:gd name="T20" fmla="*/ 384 w 387"/>
                <a:gd name="T21" fmla="*/ 228 h 387"/>
                <a:gd name="T22" fmla="*/ 375 w 387"/>
                <a:gd name="T23" fmla="*/ 260 h 387"/>
                <a:gd name="T24" fmla="*/ 360 w 387"/>
                <a:gd name="T25" fmla="*/ 291 h 387"/>
                <a:gd name="T26" fmla="*/ 342 w 387"/>
                <a:gd name="T27" fmla="*/ 317 h 387"/>
                <a:gd name="T28" fmla="*/ 317 w 387"/>
                <a:gd name="T29" fmla="*/ 340 h 387"/>
                <a:gd name="T30" fmla="*/ 291 w 387"/>
                <a:gd name="T31" fmla="*/ 359 h 387"/>
                <a:gd name="T32" fmla="*/ 261 w 387"/>
                <a:gd name="T33" fmla="*/ 374 h 387"/>
                <a:gd name="T34" fmla="*/ 228 w 387"/>
                <a:gd name="T35" fmla="*/ 383 h 387"/>
                <a:gd name="T36" fmla="*/ 193 w 387"/>
                <a:gd name="T37" fmla="*/ 387 h 387"/>
                <a:gd name="T38" fmla="*/ 159 w 387"/>
                <a:gd name="T39" fmla="*/ 383 h 387"/>
                <a:gd name="T40" fmla="*/ 126 w 387"/>
                <a:gd name="T41" fmla="*/ 374 h 387"/>
                <a:gd name="T42" fmla="*/ 96 w 387"/>
                <a:gd name="T43" fmla="*/ 359 h 387"/>
                <a:gd name="T44" fmla="*/ 69 w 387"/>
                <a:gd name="T45" fmla="*/ 340 h 387"/>
                <a:gd name="T46" fmla="*/ 45 w 387"/>
                <a:gd name="T47" fmla="*/ 317 h 387"/>
                <a:gd name="T48" fmla="*/ 26 w 387"/>
                <a:gd name="T49" fmla="*/ 291 h 387"/>
                <a:gd name="T50" fmla="*/ 12 w 387"/>
                <a:gd name="T51" fmla="*/ 260 h 387"/>
                <a:gd name="T52" fmla="*/ 3 w 387"/>
                <a:gd name="T53" fmla="*/ 228 h 387"/>
                <a:gd name="T54" fmla="*/ 0 w 387"/>
                <a:gd name="T55" fmla="*/ 193 h 387"/>
                <a:gd name="T56" fmla="*/ 3 w 387"/>
                <a:gd name="T57" fmla="*/ 158 h 387"/>
                <a:gd name="T58" fmla="*/ 12 w 387"/>
                <a:gd name="T59" fmla="*/ 125 h 387"/>
                <a:gd name="T60" fmla="*/ 26 w 387"/>
                <a:gd name="T61" fmla="*/ 96 h 387"/>
                <a:gd name="T62" fmla="*/ 45 w 387"/>
                <a:gd name="T63" fmla="*/ 68 h 387"/>
                <a:gd name="T64" fmla="*/ 69 w 387"/>
                <a:gd name="T65" fmla="*/ 45 h 387"/>
                <a:gd name="T66" fmla="*/ 96 w 387"/>
                <a:gd name="T67" fmla="*/ 26 h 387"/>
                <a:gd name="T68" fmla="*/ 126 w 387"/>
                <a:gd name="T69" fmla="*/ 12 h 387"/>
                <a:gd name="T70" fmla="*/ 159 w 387"/>
                <a:gd name="T71" fmla="*/ 3 h 387"/>
                <a:gd name="T72" fmla="*/ 193 w 387"/>
                <a:gd name="T73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87" h="387">
                  <a:moveTo>
                    <a:pt x="193" y="0"/>
                  </a:moveTo>
                  <a:lnTo>
                    <a:pt x="228" y="3"/>
                  </a:lnTo>
                  <a:lnTo>
                    <a:pt x="261" y="12"/>
                  </a:lnTo>
                  <a:lnTo>
                    <a:pt x="291" y="26"/>
                  </a:lnTo>
                  <a:lnTo>
                    <a:pt x="317" y="45"/>
                  </a:lnTo>
                  <a:lnTo>
                    <a:pt x="342" y="68"/>
                  </a:lnTo>
                  <a:lnTo>
                    <a:pt x="360" y="96"/>
                  </a:lnTo>
                  <a:lnTo>
                    <a:pt x="375" y="125"/>
                  </a:lnTo>
                  <a:lnTo>
                    <a:pt x="384" y="158"/>
                  </a:lnTo>
                  <a:lnTo>
                    <a:pt x="387" y="193"/>
                  </a:lnTo>
                  <a:lnTo>
                    <a:pt x="384" y="228"/>
                  </a:lnTo>
                  <a:lnTo>
                    <a:pt x="375" y="260"/>
                  </a:lnTo>
                  <a:lnTo>
                    <a:pt x="360" y="291"/>
                  </a:lnTo>
                  <a:lnTo>
                    <a:pt x="342" y="317"/>
                  </a:lnTo>
                  <a:lnTo>
                    <a:pt x="317" y="340"/>
                  </a:lnTo>
                  <a:lnTo>
                    <a:pt x="291" y="359"/>
                  </a:lnTo>
                  <a:lnTo>
                    <a:pt x="261" y="374"/>
                  </a:lnTo>
                  <a:lnTo>
                    <a:pt x="228" y="383"/>
                  </a:lnTo>
                  <a:lnTo>
                    <a:pt x="193" y="387"/>
                  </a:lnTo>
                  <a:lnTo>
                    <a:pt x="159" y="383"/>
                  </a:lnTo>
                  <a:lnTo>
                    <a:pt x="126" y="374"/>
                  </a:lnTo>
                  <a:lnTo>
                    <a:pt x="96" y="359"/>
                  </a:lnTo>
                  <a:lnTo>
                    <a:pt x="69" y="340"/>
                  </a:lnTo>
                  <a:lnTo>
                    <a:pt x="45" y="317"/>
                  </a:lnTo>
                  <a:lnTo>
                    <a:pt x="26" y="291"/>
                  </a:lnTo>
                  <a:lnTo>
                    <a:pt x="12" y="260"/>
                  </a:lnTo>
                  <a:lnTo>
                    <a:pt x="3" y="228"/>
                  </a:lnTo>
                  <a:lnTo>
                    <a:pt x="0" y="193"/>
                  </a:lnTo>
                  <a:lnTo>
                    <a:pt x="3" y="158"/>
                  </a:lnTo>
                  <a:lnTo>
                    <a:pt x="12" y="125"/>
                  </a:lnTo>
                  <a:lnTo>
                    <a:pt x="26" y="96"/>
                  </a:lnTo>
                  <a:lnTo>
                    <a:pt x="45" y="68"/>
                  </a:lnTo>
                  <a:lnTo>
                    <a:pt x="69" y="45"/>
                  </a:lnTo>
                  <a:lnTo>
                    <a:pt x="96" y="26"/>
                  </a:lnTo>
                  <a:lnTo>
                    <a:pt x="126" y="12"/>
                  </a:lnTo>
                  <a:lnTo>
                    <a:pt x="159" y="3"/>
                  </a:lnTo>
                  <a:lnTo>
                    <a:pt x="19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7" name="Плюс 66"/>
          <p:cNvSpPr/>
          <p:nvPr/>
        </p:nvSpPr>
        <p:spPr bwMode="auto">
          <a:xfrm>
            <a:off x="2497176" y="3043486"/>
            <a:ext cx="546061" cy="474070"/>
          </a:xfrm>
          <a:prstGeom prst="mathPlus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uk-UA" sz="1000" b="0" i="0" u="sng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68" name="Равно 67"/>
          <p:cNvSpPr/>
          <p:nvPr/>
        </p:nvSpPr>
        <p:spPr bwMode="auto">
          <a:xfrm>
            <a:off x="4470099" y="3112795"/>
            <a:ext cx="706953" cy="385856"/>
          </a:xfrm>
          <a:prstGeom prst="mathEqual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uk-UA" sz="1000" b="0" i="0" u="sng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MS PGothic" pitchFamily="34" charset="-128"/>
            </a:endParaRPr>
          </a:p>
        </p:txBody>
      </p:sp>
      <p:grpSp>
        <p:nvGrpSpPr>
          <p:cNvPr id="11" name="Group 12"/>
          <p:cNvGrpSpPr>
            <a:grpSpLocks noChangeAspect="1"/>
          </p:cNvGrpSpPr>
          <p:nvPr/>
        </p:nvGrpSpPr>
        <p:grpSpPr bwMode="auto">
          <a:xfrm>
            <a:off x="5475985" y="2757407"/>
            <a:ext cx="1463555" cy="1178605"/>
            <a:chOff x="1743" y="1165"/>
            <a:chExt cx="2273" cy="1983"/>
          </a:xfrm>
          <a:solidFill>
            <a:srgbClr val="EEBB10"/>
          </a:solidFill>
        </p:grpSpPr>
        <p:sp>
          <p:nvSpPr>
            <p:cNvPr id="70" name="Freeform 14"/>
            <p:cNvSpPr>
              <a:spLocks/>
            </p:cNvSpPr>
            <p:nvPr/>
          </p:nvSpPr>
          <p:spPr bwMode="auto">
            <a:xfrm>
              <a:off x="3259" y="1447"/>
              <a:ext cx="311" cy="637"/>
            </a:xfrm>
            <a:custGeom>
              <a:avLst/>
              <a:gdLst>
                <a:gd name="T0" fmla="*/ 358 w 623"/>
                <a:gd name="T1" fmla="*/ 4 h 1274"/>
                <a:gd name="T2" fmla="*/ 389 w 623"/>
                <a:gd name="T3" fmla="*/ 50 h 1274"/>
                <a:gd name="T4" fmla="*/ 391 w 623"/>
                <a:gd name="T5" fmla="*/ 146 h 1274"/>
                <a:gd name="T6" fmla="*/ 396 w 623"/>
                <a:gd name="T7" fmla="*/ 150 h 1274"/>
                <a:gd name="T8" fmla="*/ 412 w 623"/>
                <a:gd name="T9" fmla="*/ 153 h 1274"/>
                <a:gd name="T10" fmla="*/ 471 w 623"/>
                <a:gd name="T11" fmla="*/ 165 h 1274"/>
                <a:gd name="T12" fmla="*/ 542 w 623"/>
                <a:gd name="T13" fmla="*/ 185 h 1274"/>
                <a:gd name="T14" fmla="*/ 582 w 623"/>
                <a:gd name="T15" fmla="*/ 212 h 1274"/>
                <a:gd name="T16" fmla="*/ 558 w 623"/>
                <a:gd name="T17" fmla="*/ 306 h 1274"/>
                <a:gd name="T18" fmla="*/ 528 w 623"/>
                <a:gd name="T19" fmla="*/ 335 h 1274"/>
                <a:gd name="T20" fmla="*/ 491 w 623"/>
                <a:gd name="T21" fmla="*/ 331 h 1274"/>
                <a:gd name="T22" fmla="*/ 463 w 623"/>
                <a:gd name="T23" fmla="*/ 319 h 1274"/>
                <a:gd name="T24" fmla="*/ 394 w 623"/>
                <a:gd name="T25" fmla="*/ 300 h 1274"/>
                <a:gd name="T26" fmla="*/ 299 w 623"/>
                <a:gd name="T27" fmla="*/ 296 h 1274"/>
                <a:gd name="T28" fmla="*/ 232 w 623"/>
                <a:gd name="T29" fmla="*/ 322 h 1274"/>
                <a:gd name="T30" fmla="*/ 200 w 623"/>
                <a:gd name="T31" fmla="*/ 365 h 1274"/>
                <a:gd name="T32" fmla="*/ 196 w 623"/>
                <a:gd name="T33" fmla="*/ 416 h 1274"/>
                <a:gd name="T34" fmla="*/ 222 w 623"/>
                <a:gd name="T35" fmla="*/ 465 h 1274"/>
                <a:gd name="T36" fmla="*/ 292 w 623"/>
                <a:gd name="T37" fmla="*/ 511 h 1274"/>
                <a:gd name="T38" fmla="*/ 424 w 623"/>
                <a:gd name="T39" fmla="*/ 569 h 1274"/>
                <a:gd name="T40" fmla="*/ 549 w 623"/>
                <a:gd name="T41" fmla="*/ 651 h 1274"/>
                <a:gd name="T42" fmla="*/ 612 w 623"/>
                <a:gd name="T43" fmla="*/ 756 h 1274"/>
                <a:gd name="T44" fmla="*/ 620 w 623"/>
                <a:gd name="T45" fmla="*/ 884 h 1274"/>
                <a:gd name="T46" fmla="*/ 573 w 623"/>
                <a:gd name="T47" fmla="*/ 998 h 1274"/>
                <a:gd name="T48" fmla="*/ 477 w 623"/>
                <a:gd name="T49" fmla="*/ 1081 h 1274"/>
                <a:gd name="T50" fmla="*/ 387 w 623"/>
                <a:gd name="T51" fmla="*/ 1113 h 1274"/>
                <a:gd name="T52" fmla="*/ 382 w 623"/>
                <a:gd name="T53" fmla="*/ 1117 h 1274"/>
                <a:gd name="T54" fmla="*/ 380 w 623"/>
                <a:gd name="T55" fmla="*/ 1224 h 1274"/>
                <a:gd name="T56" fmla="*/ 349 w 623"/>
                <a:gd name="T57" fmla="*/ 1271 h 1274"/>
                <a:gd name="T58" fmla="*/ 263 w 623"/>
                <a:gd name="T59" fmla="*/ 1271 h 1274"/>
                <a:gd name="T60" fmla="*/ 232 w 623"/>
                <a:gd name="T61" fmla="*/ 1224 h 1274"/>
                <a:gd name="T62" fmla="*/ 230 w 623"/>
                <a:gd name="T63" fmla="*/ 1122 h 1274"/>
                <a:gd name="T64" fmla="*/ 223 w 623"/>
                <a:gd name="T65" fmla="*/ 1118 h 1274"/>
                <a:gd name="T66" fmla="*/ 203 w 623"/>
                <a:gd name="T67" fmla="*/ 1115 h 1274"/>
                <a:gd name="T68" fmla="*/ 131 w 623"/>
                <a:gd name="T69" fmla="*/ 1100 h 1274"/>
                <a:gd name="T70" fmla="*/ 47 w 623"/>
                <a:gd name="T71" fmla="*/ 1074 h 1274"/>
                <a:gd name="T72" fmla="*/ 3 w 623"/>
                <a:gd name="T73" fmla="*/ 1042 h 1274"/>
                <a:gd name="T74" fmla="*/ 26 w 623"/>
                <a:gd name="T75" fmla="*/ 947 h 1274"/>
                <a:gd name="T76" fmla="*/ 57 w 623"/>
                <a:gd name="T77" fmla="*/ 919 h 1274"/>
                <a:gd name="T78" fmla="*/ 85 w 623"/>
                <a:gd name="T79" fmla="*/ 919 h 1274"/>
                <a:gd name="T80" fmla="*/ 105 w 623"/>
                <a:gd name="T81" fmla="*/ 927 h 1274"/>
                <a:gd name="T82" fmla="*/ 157 w 623"/>
                <a:gd name="T83" fmla="*/ 946 h 1274"/>
                <a:gd name="T84" fmla="*/ 230 w 623"/>
                <a:gd name="T85" fmla="*/ 967 h 1274"/>
                <a:gd name="T86" fmla="*/ 318 w 623"/>
                <a:gd name="T87" fmla="*/ 969 h 1274"/>
                <a:gd name="T88" fmla="*/ 405 w 623"/>
                <a:gd name="T89" fmla="*/ 928 h 1274"/>
                <a:gd name="T90" fmla="*/ 438 w 623"/>
                <a:gd name="T91" fmla="*/ 851 h 1274"/>
                <a:gd name="T92" fmla="*/ 411 w 623"/>
                <a:gd name="T93" fmla="*/ 777 h 1274"/>
                <a:gd name="T94" fmla="*/ 324 w 623"/>
                <a:gd name="T95" fmla="*/ 716 h 1274"/>
                <a:gd name="T96" fmla="*/ 205 w 623"/>
                <a:gd name="T97" fmla="*/ 665 h 1274"/>
                <a:gd name="T98" fmla="*/ 106 w 623"/>
                <a:gd name="T99" fmla="*/ 607 h 1274"/>
                <a:gd name="T100" fmla="*/ 36 w 623"/>
                <a:gd name="T101" fmla="*/ 526 h 1274"/>
                <a:gd name="T102" fmla="*/ 10 w 623"/>
                <a:gd name="T103" fmla="*/ 416 h 1274"/>
                <a:gd name="T104" fmla="*/ 37 w 623"/>
                <a:gd name="T105" fmla="*/ 300 h 1274"/>
                <a:gd name="T106" fmla="*/ 113 w 623"/>
                <a:gd name="T107" fmla="*/ 211 h 1274"/>
                <a:gd name="T108" fmla="*/ 232 w 623"/>
                <a:gd name="T109" fmla="*/ 157 h 1274"/>
                <a:gd name="T110" fmla="*/ 238 w 623"/>
                <a:gd name="T111" fmla="*/ 154 h 1274"/>
                <a:gd name="T112" fmla="*/ 243 w 623"/>
                <a:gd name="T113" fmla="*/ 146 h 1274"/>
                <a:gd name="T114" fmla="*/ 258 w 623"/>
                <a:gd name="T115" fmla="*/ 14 h 1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23" h="1274">
                  <a:moveTo>
                    <a:pt x="294" y="0"/>
                  </a:moveTo>
                  <a:lnTo>
                    <a:pt x="338" y="0"/>
                  </a:lnTo>
                  <a:lnTo>
                    <a:pt x="358" y="4"/>
                  </a:lnTo>
                  <a:lnTo>
                    <a:pt x="375" y="14"/>
                  </a:lnTo>
                  <a:lnTo>
                    <a:pt x="386" y="30"/>
                  </a:lnTo>
                  <a:lnTo>
                    <a:pt x="389" y="50"/>
                  </a:lnTo>
                  <a:lnTo>
                    <a:pt x="390" y="140"/>
                  </a:lnTo>
                  <a:lnTo>
                    <a:pt x="390" y="145"/>
                  </a:lnTo>
                  <a:lnTo>
                    <a:pt x="391" y="146"/>
                  </a:lnTo>
                  <a:lnTo>
                    <a:pt x="393" y="147"/>
                  </a:lnTo>
                  <a:lnTo>
                    <a:pt x="394" y="149"/>
                  </a:lnTo>
                  <a:lnTo>
                    <a:pt x="396" y="150"/>
                  </a:lnTo>
                  <a:lnTo>
                    <a:pt x="397" y="150"/>
                  </a:lnTo>
                  <a:lnTo>
                    <a:pt x="401" y="150"/>
                  </a:lnTo>
                  <a:lnTo>
                    <a:pt x="412" y="153"/>
                  </a:lnTo>
                  <a:lnTo>
                    <a:pt x="429" y="156"/>
                  </a:lnTo>
                  <a:lnTo>
                    <a:pt x="448" y="160"/>
                  </a:lnTo>
                  <a:lnTo>
                    <a:pt x="471" y="165"/>
                  </a:lnTo>
                  <a:lnTo>
                    <a:pt x="495" y="171"/>
                  </a:lnTo>
                  <a:lnTo>
                    <a:pt x="520" y="178"/>
                  </a:lnTo>
                  <a:lnTo>
                    <a:pt x="542" y="185"/>
                  </a:lnTo>
                  <a:lnTo>
                    <a:pt x="562" y="193"/>
                  </a:lnTo>
                  <a:lnTo>
                    <a:pt x="573" y="200"/>
                  </a:lnTo>
                  <a:lnTo>
                    <a:pt x="582" y="212"/>
                  </a:lnTo>
                  <a:lnTo>
                    <a:pt x="586" y="226"/>
                  </a:lnTo>
                  <a:lnTo>
                    <a:pt x="583" y="242"/>
                  </a:lnTo>
                  <a:lnTo>
                    <a:pt x="558" y="306"/>
                  </a:lnTo>
                  <a:lnTo>
                    <a:pt x="551" y="318"/>
                  </a:lnTo>
                  <a:lnTo>
                    <a:pt x="540" y="328"/>
                  </a:lnTo>
                  <a:lnTo>
                    <a:pt x="528" y="335"/>
                  </a:lnTo>
                  <a:lnTo>
                    <a:pt x="514" y="336"/>
                  </a:lnTo>
                  <a:lnTo>
                    <a:pt x="502" y="335"/>
                  </a:lnTo>
                  <a:lnTo>
                    <a:pt x="491" y="331"/>
                  </a:lnTo>
                  <a:lnTo>
                    <a:pt x="488" y="329"/>
                  </a:lnTo>
                  <a:lnTo>
                    <a:pt x="478" y="325"/>
                  </a:lnTo>
                  <a:lnTo>
                    <a:pt x="463" y="319"/>
                  </a:lnTo>
                  <a:lnTo>
                    <a:pt x="444" y="313"/>
                  </a:lnTo>
                  <a:lnTo>
                    <a:pt x="420" y="306"/>
                  </a:lnTo>
                  <a:lnTo>
                    <a:pt x="394" y="300"/>
                  </a:lnTo>
                  <a:lnTo>
                    <a:pt x="364" y="296"/>
                  </a:lnTo>
                  <a:lnTo>
                    <a:pt x="331" y="295"/>
                  </a:lnTo>
                  <a:lnTo>
                    <a:pt x="299" y="296"/>
                  </a:lnTo>
                  <a:lnTo>
                    <a:pt x="273" y="302"/>
                  </a:lnTo>
                  <a:lnTo>
                    <a:pt x="251" y="311"/>
                  </a:lnTo>
                  <a:lnTo>
                    <a:pt x="232" y="322"/>
                  </a:lnTo>
                  <a:lnTo>
                    <a:pt x="218" y="335"/>
                  </a:lnTo>
                  <a:lnTo>
                    <a:pt x="207" y="350"/>
                  </a:lnTo>
                  <a:lnTo>
                    <a:pt x="200" y="365"/>
                  </a:lnTo>
                  <a:lnTo>
                    <a:pt x="194" y="381"/>
                  </a:lnTo>
                  <a:lnTo>
                    <a:pt x="193" y="398"/>
                  </a:lnTo>
                  <a:lnTo>
                    <a:pt x="196" y="416"/>
                  </a:lnTo>
                  <a:lnTo>
                    <a:pt x="200" y="434"/>
                  </a:lnTo>
                  <a:lnTo>
                    <a:pt x="208" y="450"/>
                  </a:lnTo>
                  <a:lnTo>
                    <a:pt x="222" y="465"/>
                  </a:lnTo>
                  <a:lnTo>
                    <a:pt x="240" y="481"/>
                  </a:lnTo>
                  <a:lnTo>
                    <a:pt x="263" y="496"/>
                  </a:lnTo>
                  <a:lnTo>
                    <a:pt x="292" y="511"/>
                  </a:lnTo>
                  <a:lnTo>
                    <a:pt x="327" y="527"/>
                  </a:lnTo>
                  <a:lnTo>
                    <a:pt x="369" y="544"/>
                  </a:lnTo>
                  <a:lnTo>
                    <a:pt x="424" y="569"/>
                  </a:lnTo>
                  <a:lnTo>
                    <a:pt x="473" y="595"/>
                  </a:lnTo>
                  <a:lnTo>
                    <a:pt x="514" y="622"/>
                  </a:lnTo>
                  <a:lnTo>
                    <a:pt x="549" y="651"/>
                  </a:lnTo>
                  <a:lnTo>
                    <a:pt x="576" y="684"/>
                  </a:lnTo>
                  <a:lnTo>
                    <a:pt x="597" y="719"/>
                  </a:lnTo>
                  <a:lnTo>
                    <a:pt x="612" y="756"/>
                  </a:lnTo>
                  <a:lnTo>
                    <a:pt x="620" y="796"/>
                  </a:lnTo>
                  <a:lnTo>
                    <a:pt x="623" y="840"/>
                  </a:lnTo>
                  <a:lnTo>
                    <a:pt x="620" y="884"/>
                  </a:lnTo>
                  <a:lnTo>
                    <a:pt x="611" y="925"/>
                  </a:lnTo>
                  <a:lnTo>
                    <a:pt x="595" y="963"/>
                  </a:lnTo>
                  <a:lnTo>
                    <a:pt x="573" y="998"/>
                  </a:lnTo>
                  <a:lnTo>
                    <a:pt x="546" y="1030"/>
                  </a:lnTo>
                  <a:lnTo>
                    <a:pt x="514" y="1058"/>
                  </a:lnTo>
                  <a:lnTo>
                    <a:pt x="477" y="1081"/>
                  </a:lnTo>
                  <a:lnTo>
                    <a:pt x="434" y="1099"/>
                  </a:lnTo>
                  <a:lnTo>
                    <a:pt x="389" y="1113"/>
                  </a:lnTo>
                  <a:lnTo>
                    <a:pt x="387" y="1113"/>
                  </a:lnTo>
                  <a:lnTo>
                    <a:pt x="386" y="1114"/>
                  </a:lnTo>
                  <a:lnTo>
                    <a:pt x="383" y="1115"/>
                  </a:lnTo>
                  <a:lnTo>
                    <a:pt x="382" y="1117"/>
                  </a:lnTo>
                  <a:lnTo>
                    <a:pt x="380" y="1120"/>
                  </a:lnTo>
                  <a:lnTo>
                    <a:pt x="380" y="1124"/>
                  </a:lnTo>
                  <a:lnTo>
                    <a:pt x="380" y="1224"/>
                  </a:lnTo>
                  <a:lnTo>
                    <a:pt x="376" y="1244"/>
                  </a:lnTo>
                  <a:lnTo>
                    <a:pt x="365" y="1260"/>
                  </a:lnTo>
                  <a:lnTo>
                    <a:pt x="349" y="1271"/>
                  </a:lnTo>
                  <a:lnTo>
                    <a:pt x="329" y="1274"/>
                  </a:lnTo>
                  <a:lnTo>
                    <a:pt x="283" y="1274"/>
                  </a:lnTo>
                  <a:lnTo>
                    <a:pt x="263" y="1271"/>
                  </a:lnTo>
                  <a:lnTo>
                    <a:pt x="247" y="1260"/>
                  </a:lnTo>
                  <a:lnTo>
                    <a:pt x="236" y="1244"/>
                  </a:lnTo>
                  <a:lnTo>
                    <a:pt x="232" y="1224"/>
                  </a:lnTo>
                  <a:lnTo>
                    <a:pt x="232" y="1129"/>
                  </a:lnTo>
                  <a:lnTo>
                    <a:pt x="232" y="1125"/>
                  </a:lnTo>
                  <a:lnTo>
                    <a:pt x="230" y="1122"/>
                  </a:lnTo>
                  <a:lnTo>
                    <a:pt x="227" y="1121"/>
                  </a:lnTo>
                  <a:lnTo>
                    <a:pt x="226" y="1120"/>
                  </a:lnTo>
                  <a:lnTo>
                    <a:pt x="223" y="1118"/>
                  </a:lnTo>
                  <a:lnTo>
                    <a:pt x="222" y="1118"/>
                  </a:lnTo>
                  <a:lnTo>
                    <a:pt x="216" y="1118"/>
                  </a:lnTo>
                  <a:lnTo>
                    <a:pt x="203" y="1115"/>
                  </a:lnTo>
                  <a:lnTo>
                    <a:pt x="183" y="1111"/>
                  </a:lnTo>
                  <a:lnTo>
                    <a:pt x="158" y="1106"/>
                  </a:lnTo>
                  <a:lnTo>
                    <a:pt x="131" y="1100"/>
                  </a:lnTo>
                  <a:lnTo>
                    <a:pt x="103" y="1092"/>
                  </a:lnTo>
                  <a:lnTo>
                    <a:pt x="74" y="1084"/>
                  </a:lnTo>
                  <a:lnTo>
                    <a:pt x="47" y="1074"/>
                  </a:lnTo>
                  <a:lnTo>
                    <a:pt x="23" y="1063"/>
                  </a:lnTo>
                  <a:lnTo>
                    <a:pt x="12" y="1055"/>
                  </a:lnTo>
                  <a:lnTo>
                    <a:pt x="3" y="1042"/>
                  </a:lnTo>
                  <a:lnTo>
                    <a:pt x="0" y="1029"/>
                  </a:lnTo>
                  <a:lnTo>
                    <a:pt x="3" y="1012"/>
                  </a:lnTo>
                  <a:lnTo>
                    <a:pt x="26" y="947"/>
                  </a:lnTo>
                  <a:lnTo>
                    <a:pt x="33" y="935"/>
                  </a:lnTo>
                  <a:lnTo>
                    <a:pt x="44" y="925"/>
                  </a:lnTo>
                  <a:lnTo>
                    <a:pt x="57" y="919"/>
                  </a:lnTo>
                  <a:lnTo>
                    <a:pt x="72" y="916"/>
                  </a:lnTo>
                  <a:lnTo>
                    <a:pt x="79" y="917"/>
                  </a:lnTo>
                  <a:lnTo>
                    <a:pt x="85" y="919"/>
                  </a:lnTo>
                  <a:lnTo>
                    <a:pt x="92" y="921"/>
                  </a:lnTo>
                  <a:lnTo>
                    <a:pt x="96" y="923"/>
                  </a:lnTo>
                  <a:lnTo>
                    <a:pt x="105" y="927"/>
                  </a:lnTo>
                  <a:lnTo>
                    <a:pt x="119" y="932"/>
                  </a:lnTo>
                  <a:lnTo>
                    <a:pt x="136" y="939"/>
                  </a:lnTo>
                  <a:lnTo>
                    <a:pt x="157" y="946"/>
                  </a:lnTo>
                  <a:lnTo>
                    <a:pt x="181" y="954"/>
                  </a:lnTo>
                  <a:lnTo>
                    <a:pt x="205" y="961"/>
                  </a:lnTo>
                  <a:lnTo>
                    <a:pt x="230" y="967"/>
                  </a:lnTo>
                  <a:lnTo>
                    <a:pt x="256" y="971"/>
                  </a:lnTo>
                  <a:lnTo>
                    <a:pt x="280" y="972"/>
                  </a:lnTo>
                  <a:lnTo>
                    <a:pt x="318" y="969"/>
                  </a:lnTo>
                  <a:lnTo>
                    <a:pt x="353" y="960"/>
                  </a:lnTo>
                  <a:lnTo>
                    <a:pt x="382" y="946"/>
                  </a:lnTo>
                  <a:lnTo>
                    <a:pt x="405" y="928"/>
                  </a:lnTo>
                  <a:lnTo>
                    <a:pt x="423" y="906"/>
                  </a:lnTo>
                  <a:lnTo>
                    <a:pt x="434" y="880"/>
                  </a:lnTo>
                  <a:lnTo>
                    <a:pt x="438" y="851"/>
                  </a:lnTo>
                  <a:lnTo>
                    <a:pt x="436" y="824"/>
                  </a:lnTo>
                  <a:lnTo>
                    <a:pt x="426" y="800"/>
                  </a:lnTo>
                  <a:lnTo>
                    <a:pt x="411" y="777"/>
                  </a:lnTo>
                  <a:lnTo>
                    <a:pt x="390" y="756"/>
                  </a:lnTo>
                  <a:lnTo>
                    <a:pt x="361" y="735"/>
                  </a:lnTo>
                  <a:lnTo>
                    <a:pt x="324" y="716"/>
                  </a:lnTo>
                  <a:lnTo>
                    <a:pt x="280" y="697"/>
                  </a:lnTo>
                  <a:lnTo>
                    <a:pt x="243" y="682"/>
                  </a:lnTo>
                  <a:lnTo>
                    <a:pt x="205" y="665"/>
                  </a:lnTo>
                  <a:lnTo>
                    <a:pt x="170" y="647"/>
                  </a:lnTo>
                  <a:lnTo>
                    <a:pt x="136" y="628"/>
                  </a:lnTo>
                  <a:lnTo>
                    <a:pt x="106" y="607"/>
                  </a:lnTo>
                  <a:lnTo>
                    <a:pt x="79" y="583"/>
                  </a:lnTo>
                  <a:lnTo>
                    <a:pt x="55" y="556"/>
                  </a:lnTo>
                  <a:lnTo>
                    <a:pt x="36" y="526"/>
                  </a:lnTo>
                  <a:lnTo>
                    <a:pt x="22" y="493"/>
                  </a:lnTo>
                  <a:lnTo>
                    <a:pt x="12" y="456"/>
                  </a:lnTo>
                  <a:lnTo>
                    <a:pt x="10" y="416"/>
                  </a:lnTo>
                  <a:lnTo>
                    <a:pt x="12" y="375"/>
                  </a:lnTo>
                  <a:lnTo>
                    <a:pt x="22" y="336"/>
                  </a:lnTo>
                  <a:lnTo>
                    <a:pt x="37" y="300"/>
                  </a:lnTo>
                  <a:lnTo>
                    <a:pt x="58" y="267"/>
                  </a:lnTo>
                  <a:lnTo>
                    <a:pt x="83" y="237"/>
                  </a:lnTo>
                  <a:lnTo>
                    <a:pt x="113" y="211"/>
                  </a:lnTo>
                  <a:lnTo>
                    <a:pt x="149" y="189"/>
                  </a:lnTo>
                  <a:lnTo>
                    <a:pt x="187" y="171"/>
                  </a:lnTo>
                  <a:lnTo>
                    <a:pt x="232" y="157"/>
                  </a:lnTo>
                  <a:lnTo>
                    <a:pt x="233" y="157"/>
                  </a:lnTo>
                  <a:lnTo>
                    <a:pt x="236" y="156"/>
                  </a:lnTo>
                  <a:lnTo>
                    <a:pt x="238" y="154"/>
                  </a:lnTo>
                  <a:lnTo>
                    <a:pt x="240" y="151"/>
                  </a:lnTo>
                  <a:lnTo>
                    <a:pt x="243" y="149"/>
                  </a:lnTo>
                  <a:lnTo>
                    <a:pt x="243" y="146"/>
                  </a:lnTo>
                  <a:lnTo>
                    <a:pt x="243" y="50"/>
                  </a:lnTo>
                  <a:lnTo>
                    <a:pt x="247" y="30"/>
                  </a:lnTo>
                  <a:lnTo>
                    <a:pt x="258" y="14"/>
                  </a:lnTo>
                  <a:lnTo>
                    <a:pt x="274" y="4"/>
                  </a:lnTo>
                  <a:lnTo>
                    <a:pt x="29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96497"/>
                </a:solidFill>
                <a:latin typeface="Calibri" pitchFamily="34" charset="0"/>
              </a:endParaRPr>
            </a:p>
          </p:txBody>
        </p:sp>
        <p:sp>
          <p:nvSpPr>
            <p:cNvPr id="71" name="Freeform 15"/>
            <p:cNvSpPr>
              <a:spLocks noEditPoints="1"/>
            </p:cNvSpPr>
            <p:nvPr/>
          </p:nvSpPr>
          <p:spPr bwMode="auto">
            <a:xfrm>
              <a:off x="2814" y="1165"/>
              <a:ext cx="1202" cy="1201"/>
            </a:xfrm>
            <a:custGeom>
              <a:avLst/>
              <a:gdLst>
                <a:gd name="T0" fmla="*/ 1026 w 2403"/>
                <a:gd name="T1" fmla="*/ 296 h 2403"/>
                <a:gd name="T2" fmla="*/ 785 w 2403"/>
                <a:gd name="T3" fmla="*/ 379 h 2403"/>
                <a:gd name="T4" fmla="*/ 579 w 2403"/>
                <a:gd name="T5" fmla="*/ 521 h 2403"/>
                <a:gd name="T6" fmla="*/ 419 w 2403"/>
                <a:gd name="T7" fmla="*/ 712 h 2403"/>
                <a:gd name="T8" fmla="*/ 315 w 2403"/>
                <a:gd name="T9" fmla="*/ 942 h 2403"/>
                <a:gd name="T10" fmla="*/ 278 w 2403"/>
                <a:gd name="T11" fmla="*/ 1203 h 2403"/>
                <a:gd name="T12" fmla="*/ 315 w 2403"/>
                <a:gd name="T13" fmla="*/ 1461 h 2403"/>
                <a:gd name="T14" fmla="*/ 419 w 2403"/>
                <a:gd name="T15" fmla="*/ 1691 h 2403"/>
                <a:gd name="T16" fmla="*/ 579 w 2403"/>
                <a:gd name="T17" fmla="*/ 1883 h 2403"/>
                <a:gd name="T18" fmla="*/ 785 w 2403"/>
                <a:gd name="T19" fmla="*/ 2026 h 2403"/>
                <a:gd name="T20" fmla="*/ 1026 w 2403"/>
                <a:gd name="T21" fmla="*/ 2107 h 2403"/>
                <a:gd name="T22" fmla="*/ 1291 w 2403"/>
                <a:gd name="T23" fmla="*/ 2120 h 2403"/>
                <a:gd name="T24" fmla="*/ 1542 w 2403"/>
                <a:gd name="T25" fmla="*/ 2061 h 2403"/>
                <a:gd name="T26" fmla="*/ 1760 w 2403"/>
                <a:gd name="T27" fmla="*/ 1937 h 2403"/>
                <a:gd name="T28" fmla="*/ 1936 w 2403"/>
                <a:gd name="T29" fmla="*/ 1760 h 2403"/>
                <a:gd name="T30" fmla="*/ 2060 w 2403"/>
                <a:gd name="T31" fmla="*/ 1541 h 2403"/>
                <a:gd name="T32" fmla="*/ 2121 w 2403"/>
                <a:gd name="T33" fmla="*/ 1291 h 2403"/>
                <a:gd name="T34" fmla="*/ 2108 w 2403"/>
                <a:gd name="T35" fmla="*/ 1026 h 2403"/>
                <a:gd name="T36" fmla="*/ 2026 w 2403"/>
                <a:gd name="T37" fmla="*/ 785 h 2403"/>
                <a:gd name="T38" fmla="*/ 1884 w 2403"/>
                <a:gd name="T39" fmla="*/ 580 h 2403"/>
                <a:gd name="T40" fmla="*/ 1692 w 2403"/>
                <a:gd name="T41" fmla="*/ 420 h 2403"/>
                <a:gd name="T42" fmla="*/ 1461 w 2403"/>
                <a:gd name="T43" fmla="*/ 316 h 2403"/>
                <a:gd name="T44" fmla="*/ 1201 w 2403"/>
                <a:gd name="T45" fmla="*/ 280 h 2403"/>
                <a:gd name="T46" fmla="*/ 1396 w 2403"/>
                <a:gd name="T47" fmla="*/ 17 h 2403"/>
                <a:gd name="T48" fmla="*/ 1669 w 2403"/>
                <a:gd name="T49" fmla="*/ 95 h 2403"/>
                <a:gd name="T50" fmla="*/ 1911 w 2403"/>
                <a:gd name="T51" fmla="*/ 233 h 2403"/>
                <a:gd name="T52" fmla="*/ 2114 w 2403"/>
                <a:gd name="T53" fmla="*/ 420 h 2403"/>
                <a:gd name="T54" fmla="*/ 2270 w 2403"/>
                <a:gd name="T55" fmla="*/ 650 h 2403"/>
                <a:gd name="T56" fmla="*/ 2369 w 2403"/>
                <a:gd name="T57" fmla="*/ 913 h 2403"/>
                <a:gd name="T58" fmla="*/ 2403 w 2403"/>
                <a:gd name="T59" fmla="*/ 1203 h 2403"/>
                <a:gd name="T60" fmla="*/ 2369 w 2403"/>
                <a:gd name="T61" fmla="*/ 1490 h 2403"/>
                <a:gd name="T62" fmla="*/ 2270 w 2403"/>
                <a:gd name="T63" fmla="*/ 1753 h 2403"/>
                <a:gd name="T64" fmla="*/ 2114 w 2403"/>
                <a:gd name="T65" fmla="*/ 1983 h 2403"/>
                <a:gd name="T66" fmla="*/ 1911 w 2403"/>
                <a:gd name="T67" fmla="*/ 2171 h 2403"/>
                <a:gd name="T68" fmla="*/ 1669 w 2403"/>
                <a:gd name="T69" fmla="*/ 2308 h 2403"/>
                <a:gd name="T70" fmla="*/ 1396 w 2403"/>
                <a:gd name="T71" fmla="*/ 2387 h 2403"/>
                <a:gd name="T72" fmla="*/ 1102 w 2403"/>
                <a:gd name="T73" fmla="*/ 2399 h 2403"/>
                <a:gd name="T74" fmla="*/ 821 w 2403"/>
                <a:gd name="T75" fmla="*/ 2341 h 2403"/>
                <a:gd name="T76" fmla="*/ 569 w 2403"/>
                <a:gd name="T77" fmla="*/ 2223 h 2403"/>
                <a:gd name="T78" fmla="*/ 351 w 2403"/>
                <a:gd name="T79" fmla="*/ 2051 h 2403"/>
                <a:gd name="T80" fmla="*/ 180 w 2403"/>
                <a:gd name="T81" fmla="*/ 1835 h 2403"/>
                <a:gd name="T82" fmla="*/ 60 w 2403"/>
                <a:gd name="T83" fmla="*/ 1581 h 2403"/>
                <a:gd name="T84" fmla="*/ 4 w 2403"/>
                <a:gd name="T85" fmla="*/ 1300 h 2403"/>
                <a:gd name="T86" fmla="*/ 15 w 2403"/>
                <a:gd name="T87" fmla="*/ 1007 h 2403"/>
                <a:gd name="T88" fmla="*/ 93 w 2403"/>
                <a:gd name="T89" fmla="*/ 734 h 2403"/>
                <a:gd name="T90" fmla="*/ 231 w 2403"/>
                <a:gd name="T91" fmla="*/ 492 h 2403"/>
                <a:gd name="T92" fmla="*/ 419 w 2403"/>
                <a:gd name="T93" fmla="*/ 290 h 2403"/>
                <a:gd name="T94" fmla="*/ 649 w 2403"/>
                <a:gd name="T95" fmla="*/ 135 h 2403"/>
                <a:gd name="T96" fmla="*/ 912 w 2403"/>
                <a:gd name="T97" fmla="*/ 36 h 2403"/>
                <a:gd name="T98" fmla="*/ 1201 w 2403"/>
                <a:gd name="T99" fmla="*/ 0 h 2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403" h="2403">
                  <a:moveTo>
                    <a:pt x="1201" y="280"/>
                  </a:moveTo>
                  <a:lnTo>
                    <a:pt x="1112" y="284"/>
                  </a:lnTo>
                  <a:lnTo>
                    <a:pt x="1026" y="296"/>
                  </a:lnTo>
                  <a:lnTo>
                    <a:pt x="942" y="316"/>
                  </a:lnTo>
                  <a:lnTo>
                    <a:pt x="861" y="343"/>
                  </a:lnTo>
                  <a:lnTo>
                    <a:pt x="785" y="379"/>
                  </a:lnTo>
                  <a:lnTo>
                    <a:pt x="711" y="420"/>
                  </a:lnTo>
                  <a:lnTo>
                    <a:pt x="643" y="467"/>
                  </a:lnTo>
                  <a:lnTo>
                    <a:pt x="579" y="521"/>
                  </a:lnTo>
                  <a:lnTo>
                    <a:pt x="519" y="580"/>
                  </a:lnTo>
                  <a:lnTo>
                    <a:pt x="467" y="643"/>
                  </a:lnTo>
                  <a:lnTo>
                    <a:pt x="419" y="712"/>
                  </a:lnTo>
                  <a:lnTo>
                    <a:pt x="377" y="785"/>
                  </a:lnTo>
                  <a:lnTo>
                    <a:pt x="343" y="862"/>
                  </a:lnTo>
                  <a:lnTo>
                    <a:pt x="315" y="942"/>
                  </a:lnTo>
                  <a:lnTo>
                    <a:pt x="295" y="1026"/>
                  </a:lnTo>
                  <a:lnTo>
                    <a:pt x="282" y="1113"/>
                  </a:lnTo>
                  <a:lnTo>
                    <a:pt x="278" y="1203"/>
                  </a:lnTo>
                  <a:lnTo>
                    <a:pt x="282" y="1291"/>
                  </a:lnTo>
                  <a:lnTo>
                    <a:pt x="295" y="1377"/>
                  </a:lnTo>
                  <a:lnTo>
                    <a:pt x="315" y="1461"/>
                  </a:lnTo>
                  <a:lnTo>
                    <a:pt x="343" y="1541"/>
                  </a:lnTo>
                  <a:lnTo>
                    <a:pt x="377" y="1618"/>
                  </a:lnTo>
                  <a:lnTo>
                    <a:pt x="419" y="1691"/>
                  </a:lnTo>
                  <a:lnTo>
                    <a:pt x="467" y="1760"/>
                  </a:lnTo>
                  <a:lnTo>
                    <a:pt x="519" y="1824"/>
                  </a:lnTo>
                  <a:lnTo>
                    <a:pt x="579" y="1883"/>
                  </a:lnTo>
                  <a:lnTo>
                    <a:pt x="643" y="1937"/>
                  </a:lnTo>
                  <a:lnTo>
                    <a:pt x="711" y="1985"/>
                  </a:lnTo>
                  <a:lnTo>
                    <a:pt x="785" y="2026"/>
                  </a:lnTo>
                  <a:lnTo>
                    <a:pt x="861" y="2061"/>
                  </a:lnTo>
                  <a:lnTo>
                    <a:pt x="942" y="2088"/>
                  </a:lnTo>
                  <a:lnTo>
                    <a:pt x="1026" y="2107"/>
                  </a:lnTo>
                  <a:lnTo>
                    <a:pt x="1112" y="2120"/>
                  </a:lnTo>
                  <a:lnTo>
                    <a:pt x="1201" y="2125"/>
                  </a:lnTo>
                  <a:lnTo>
                    <a:pt x="1291" y="2120"/>
                  </a:lnTo>
                  <a:lnTo>
                    <a:pt x="1376" y="2107"/>
                  </a:lnTo>
                  <a:lnTo>
                    <a:pt x="1461" y="2088"/>
                  </a:lnTo>
                  <a:lnTo>
                    <a:pt x="1542" y="2061"/>
                  </a:lnTo>
                  <a:lnTo>
                    <a:pt x="1618" y="2026"/>
                  </a:lnTo>
                  <a:lnTo>
                    <a:pt x="1692" y="1985"/>
                  </a:lnTo>
                  <a:lnTo>
                    <a:pt x="1760" y="1937"/>
                  </a:lnTo>
                  <a:lnTo>
                    <a:pt x="1824" y="1883"/>
                  </a:lnTo>
                  <a:lnTo>
                    <a:pt x="1884" y="1824"/>
                  </a:lnTo>
                  <a:lnTo>
                    <a:pt x="1936" y="1760"/>
                  </a:lnTo>
                  <a:lnTo>
                    <a:pt x="1984" y="1691"/>
                  </a:lnTo>
                  <a:lnTo>
                    <a:pt x="2026" y="1618"/>
                  </a:lnTo>
                  <a:lnTo>
                    <a:pt x="2060" y="1541"/>
                  </a:lnTo>
                  <a:lnTo>
                    <a:pt x="2088" y="1461"/>
                  </a:lnTo>
                  <a:lnTo>
                    <a:pt x="2108" y="1377"/>
                  </a:lnTo>
                  <a:lnTo>
                    <a:pt x="2121" y="1291"/>
                  </a:lnTo>
                  <a:lnTo>
                    <a:pt x="2125" y="1203"/>
                  </a:lnTo>
                  <a:lnTo>
                    <a:pt x="2121" y="1113"/>
                  </a:lnTo>
                  <a:lnTo>
                    <a:pt x="2108" y="1026"/>
                  </a:lnTo>
                  <a:lnTo>
                    <a:pt x="2088" y="942"/>
                  </a:lnTo>
                  <a:lnTo>
                    <a:pt x="2060" y="862"/>
                  </a:lnTo>
                  <a:lnTo>
                    <a:pt x="2026" y="785"/>
                  </a:lnTo>
                  <a:lnTo>
                    <a:pt x="1984" y="712"/>
                  </a:lnTo>
                  <a:lnTo>
                    <a:pt x="1936" y="643"/>
                  </a:lnTo>
                  <a:lnTo>
                    <a:pt x="1884" y="580"/>
                  </a:lnTo>
                  <a:lnTo>
                    <a:pt x="1824" y="521"/>
                  </a:lnTo>
                  <a:lnTo>
                    <a:pt x="1760" y="467"/>
                  </a:lnTo>
                  <a:lnTo>
                    <a:pt x="1692" y="420"/>
                  </a:lnTo>
                  <a:lnTo>
                    <a:pt x="1618" y="379"/>
                  </a:lnTo>
                  <a:lnTo>
                    <a:pt x="1542" y="343"/>
                  </a:lnTo>
                  <a:lnTo>
                    <a:pt x="1461" y="316"/>
                  </a:lnTo>
                  <a:lnTo>
                    <a:pt x="1376" y="296"/>
                  </a:lnTo>
                  <a:lnTo>
                    <a:pt x="1291" y="284"/>
                  </a:lnTo>
                  <a:lnTo>
                    <a:pt x="1201" y="280"/>
                  </a:lnTo>
                  <a:close/>
                  <a:moveTo>
                    <a:pt x="1201" y="0"/>
                  </a:moveTo>
                  <a:lnTo>
                    <a:pt x="1301" y="5"/>
                  </a:lnTo>
                  <a:lnTo>
                    <a:pt x="1396" y="17"/>
                  </a:lnTo>
                  <a:lnTo>
                    <a:pt x="1491" y="36"/>
                  </a:lnTo>
                  <a:lnTo>
                    <a:pt x="1582" y="62"/>
                  </a:lnTo>
                  <a:lnTo>
                    <a:pt x="1669" y="95"/>
                  </a:lnTo>
                  <a:lnTo>
                    <a:pt x="1754" y="135"/>
                  </a:lnTo>
                  <a:lnTo>
                    <a:pt x="1834" y="181"/>
                  </a:lnTo>
                  <a:lnTo>
                    <a:pt x="1911" y="233"/>
                  </a:lnTo>
                  <a:lnTo>
                    <a:pt x="1984" y="290"/>
                  </a:lnTo>
                  <a:lnTo>
                    <a:pt x="2052" y="353"/>
                  </a:lnTo>
                  <a:lnTo>
                    <a:pt x="2114" y="420"/>
                  </a:lnTo>
                  <a:lnTo>
                    <a:pt x="2172" y="492"/>
                  </a:lnTo>
                  <a:lnTo>
                    <a:pt x="2223" y="569"/>
                  </a:lnTo>
                  <a:lnTo>
                    <a:pt x="2270" y="650"/>
                  </a:lnTo>
                  <a:lnTo>
                    <a:pt x="2310" y="734"/>
                  </a:lnTo>
                  <a:lnTo>
                    <a:pt x="2343" y="823"/>
                  </a:lnTo>
                  <a:lnTo>
                    <a:pt x="2369" y="913"/>
                  </a:lnTo>
                  <a:lnTo>
                    <a:pt x="2388" y="1007"/>
                  </a:lnTo>
                  <a:lnTo>
                    <a:pt x="2399" y="1103"/>
                  </a:lnTo>
                  <a:lnTo>
                    <a:pt x="2403" y="1203"/>
                  </a:lnTo>
                  <a:lnTo>
                    <a:pt x="2399" y="1300"/>
                  </a:lnTo>
                  <a:lnTo>
                    <a:pt x="2388" y="1397"/>
                  </a:lnTo>
                  <a:lnTo>
                    <a:pt x="2369" y="1490"/>
                  </a:lnTo>
                  <a:lnTo>
                    <a:pt x="2343" y="1581"/>
                  </a:lnTo>
                  <a:lnTo>
                    <a:pt x="2310" y="1669"/>
                  </a:lnTo>
                  <a:lnTo>
                    <a:pt x="2270" y="1753"/>
                  </a:lnTo>
                  <a:lnTo>
                    <a:pt x="2223" y="1835"/>
                  </a:lnTo>
                  <a:lnTo>
                    <a:pt x="2172" y="1912"/>
                  </a:lnTo>
                  <a:lnTo>
                    <a:pt x="2114" y="1983"/>
                  </a:lnTo>
                  <a:lnTo>
                    <a:pt x="2052" y="2051"/>
                  </a:lnTo>
                  <a:lnTo>
                    <a:pt x="1984" y="2114"/>
                  </a:lnTo>
                  <a:lnTo>
                    <a:pt x="1911" y="2171"/>
                  </a:lnTo>
                  <a:lnTo>
                    <a:pt x="1834" y="2223"/>
                  </a:lnTo>
                  <a:lnTo>
                    <a:pt x="1754" y="2268"/>
                  </a:lnTo>
                  <a:lnTo>
                    <a:pt x="1669" y="2308"/>
                  </a:lnTo>
                  <a:lnTo>
                    <a:pt x="1582" y="2341"/>
                  </a:lnTo>
                  <a:lnTo>
                    <a:pt x="1491" y="2368"/>
                  </a:lnTo>
                  <a:lnTo>
                    <a:pt x="1396" y="2387"/>
                  </a:lnTo>
                  <a:lnTo>
                    <a:pt x="1301" y="2399"/>
                  </a:lnTo>
                  <a:lnTo>
                    <a:pt x="1201" y="2403"/>
                  </a:lnTo>
                  <a:lnTo>
                    <a:pt x="1102" y="2399"/>
                  </a:lnTo>
                  <a:lnTo>
                    <a:pt x="1007" y="2387"/>
                  </a:lnTo>
                  <a:lnTo>
                    <a:pt x="912" y="2368"/>
                  </a:lnTo>
                  <a:lnTo>
                    <a:pt x="821" y="2341"/>
                  </a:lnTo>
                  <a:lnTo>
                    <a:pt x="734" y="2308"/>
                  </a:lnTo>
                  <a:lnTo>
                    <a:pt x="649" y="2268"/>
                  </a:lnTo>
                  <a:lnTo>
                    <a:pt x="569" y="2223"/>
                  </a:lnTo>
                  <a:lnTo>
                    <a:pt x="492" y="2171"/>
                  </a:lnTo>
                  <a:lnTo>
                    <a:pt x="419" y="2114"/>
                  </a:lnTo>
                  <a:lnTo>
                    <a:pt x="351" y="2051"/>
                  </a:lnTo>
                  <a:lnTo>
                    <a:pt x="289" y="1983"/>
                  </a:lnTo>
                  <a:lnTo>
                    <a:pt x="231" y="1912"/>
                  </a:lnTo>
                  <a:lnTo>
                    <a:pt x="180" y="1835"/>
                  </a:lnTo>
                  <a:lnTo>
                    <a:pt x="133" y="1753"/>
                  </a:lnTo>
                  <a:lnTo>
                    <a:pt x="93" y="1669"/>
                  </a:lnTo>
                  <a:lnTo>
                    <a:pt x="60" y="1581"/>
                  </a:lnTo>
                  <a:lnTo>
                    <a:pt x="34" y="1490"/>
                  </a:lnTo>
                  <a:lnTo>
                    <a:pt x="15" y="1397"/>
                  </a:lnTo>
                  <a:lnTo>
                    <a:pt x="4" y="1300"/>
                  </a:lnTo>
                  <a:lnTo>
                    <a:pt x="0" y="1203"/>
                  </a:lnTo>
                  <a:lnTo>
                    <a:pt x="4" y="1103"/>
                  </a:lnTo>
                  <a:lnTo>
                    <a:pt x="15" y="1007"/>
                  </a:lnTo>
                  <a:lnTo>
                    <a:pt x="34" y="913"/>
                  </a:lnTo>
                  <a:lnTo>
                    <a:pt x="60" y="823"/>
                  </a:lnTo>
                  <a:lnTo>
                    <a:pt x="93" y="734"/>
                  </a:lnTo>
                  <a:lnTo>
                    <a:pt x="133" y="650"/>
                  </a:lnTo>
                  <a:lnTo>
                    <a:pt x="180" y="569"/>
                  </a:lnTo>
                  <a:lnTo>
                    <a:pt x="231" y="492"/>
                  </a:lnTo>
                  <a:lnTo>
                    <a:pt x="289" y="420"/>
                  </a:lnTo>
                  <a:lnTo>
                    <a:pt x="351" y="353"/>
                  </a:lnTo>
                  <a:lnTo>
                    <a:pt x="419" y="290"/>
                  </a:lnTo>
                  <a:lnTo>
                    <a:pt x="492" y="233"/>
                  </a:lnTo>
                  <a:lnTo>
                    <a:pt x="569" y="181"/>
                  </a:lnTo>
                  <a:lnTo>
                    <a:pt x="649" y="135"/>
                  </a:lnTo>
                  <a:lnTo>
                    <a:pt x="734" y="95"/>
                  </a:lnTo>
                  <a:lnTo>
                    <a:pt x="821" y="62"/>
                  </a:lnTo>
                  <a:lnTo>
                    <a:pt x="912" y="36"/>
                  </a:lnTo>
                  <a:lnTo>
                    <a:pt x="1007" y="17"/>
                  </a:lnTo>
                  <a:lnTo>
                    <a:pt x="1102" y="5"/>
                  </a:lnTo>
                  <a:lnTo>
                    <a:pt x="12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96497"/>
                </a:solidFill>
                <a:latin typeface="Calibri" pitchFamily="34" charset="0"/>
              </a:endParaRPr>
            </a:p>
          </p:txBody>
        </p:sp>
        <p:sp>
          <p:nvSpPr>
            <p:cNvPr id="72" name="Freeform 16"/>
            <p:cNvSpPr>
              <a:spLocks/>
            </p:cNvSpPr>
            <p:nvPr/>
          </p:nvSpPr>
          <p:spPr bwMode="auto">
            <a:xfrm>
              <a:off x="2367" y="2423"/>
              <a:ext cx="1647" cy="725"/>
            </a:xfrm>
            <a:custGeom>
              <a:avLst/>
              <a:gdLst>
                <a:gd name="T0" fmla="*/ 1042 w 3293"/>
                <a:gd name="T1" fmla="*/ 18 h 1448"/>
                <a:gd name="T2" fmla="*/ 1294 w 3293"/>
                <a:gd name="T3" fmla="*/ 74 h 1448"/>
                <a:gd name="T4" fmla="*/ 1565 w 3293"/>
                <a:gd name="T5" fmla="*/ 150 h 1448"/>
                <a:gd name="T6" fmla="*/ 1817 w 3293"/>
                <a:gd name="T7" fmla="*/ 230 h 1448"/>
                <a:gd name="T8" fmla="*/ 2012 w 3293"/>
                <a:gd name="T9" fmla="*/ 292 h 1448"/>
                <a:gd name="T10" fmla="*/ 2119 w 3293"/>
                <a:gd name="T11" fmla="*/ 323 h 1448"/>
                <a:gd name="T12" fmla="*/ 2185 w 3293"/>
                <a:gd name="T13" fmla="*/ 389 h 1448"/>
                <a:gd name="T14" fmla="*/ 2194 w 3293"/>
                <a:gd name="T15" fmla="*/ 486 h 1448"/>
                <a:gd name="T16" fmla="*/ 2129 w 3293"/>
                <a:gd name="T17" fmla="*/ 582 h 1448"/>
                <a:gd name="T18" fmla="*/ 1976 w 3293"/>
                <a:gd name="T19" fmla="*/ 641 h 1448"/>
                <a:gd name="T20" fmla="*/ 1775 w 3293"/>
                <a:gd name="T21" fmla="*/ 653 h 1448"/>
                <a:gd name="T22" fmla="*/ 1567 w 3293"/>
                <a:gd name="T23" fmla="*/ 632 h 1448"/>
                <a:gd name="T24" fmla="*/ 1381 w 3293"/>
                <a:gd name="T25" fmla="*/ 600 h 1448"/>
                <a:gd name="T26" fmla="*/ 1247 w 3293"/>
                <a:gd name="T27" fmla="*/ 577 h 1448"/>
                <a:gd name="T28" fmla="*/ 1196 w 3293"/>
                <a:gd name="T29" fmla="*/ 585 h 1448"/>
                <a:gd name="T30" fmla="*/ 1266 w 3293"/>
                <a:gd name="T31" fmla="*/ 669 h 1448"/>
                <a:gd name="T32" fmla="*/ 1444 w 3293"/>
                <a:gd name="T33" fmla="*/ 739 h 1448"/>
                <a:gd name="T34" fmla="*/ 1681 w 3293"/>
                <a:gd name="T35" fmla="*/ 786 h 1448"/>
                <a:gd name="T36" fmla="*/ 1929 w 3293"/>
                <a:gd name="T37" fmla="*/ 804 h 1448"/>
                <a:gd name="T38" fmla="*/ 2225 w 3293"/>
                <a:gd name="T39" fmla="*/ 770 h 1448"/>
                <a:gd name="T40" fmla="*/ 2730 w 3293"/>
                <a:gd name="T41" fmla="*/ 618 h 1448"/>
                <a:gd name="T42" fmla="*/ 3090 w 3293"/>
                <a:gd name="T43" fmla="*/ 450 h 1448"/>
                <a:gd name="T44" fmla="*/ 3219 w 3293"/>
                <a:gd name="T45" fmla="*/ 461 h 1448"/>
                <a:gd name="T46" fmla="*/ 3289 w 3293"/>
                <a:gd name="T47" fmla="*/ 563 h 1448"/>
                <a:gd name="T48" fmla="*/ 3258 w 3293"/>
                <a:gd name="T49" fmla="*/ 717 h 1448"/>
                <a:gd name="T50" fmla="*/ 3138 w 3293"/>
                <a:gd name="T51" fmla="*/ 845 h 1448"/>
                <a:gd name="T52" fmla="*/ 2972 w 3293"/>
                <a:gd name="T53" fmla="*/ 960 h 1448"/>
                <a:gd name="T54" fmla="*/ 2749 w 3293"/>
                <a:gd name="T55" fmla="*/ 1099 h 1448"/>
                <a:gd name="T56" fmla="*/ 2501 w 3293"/>
                <a:gd name="T57" fmla="*/ 1238 h 1448"/>
                <a:gd name="T58" fmla="*/ 2264 w 3293"/>
                <a:gd name="T59" fmla="*/ 1356 h 1448"/>
                <a:gd name="T60" fmla="*/ 2072 w 3293"/>
                <a:gd name="T61" fmla="*/ 1433 h 1448"/>
                <a:gd name="T62" fmla="*/ 1939 w 3293"/>
                <a:gd name="T63" fmla="*/ 1448 h 1448"/>
                <a:gd name="T64" fmla="*/ 1717 w 3293"/>
                <a:gd name="T65" fmla="*/ 1429 h 1448"/>
                <a:gd name="T66" fmla="*/ 1426 w 3293"/>
                <a:gd name="T67" fmla="*/ 1391 h 1448"/>
                <a:gd name="T68" fmla="*/ 1105 w 3293"/>
                <a:gd name="T69" fmla="*/ 1341 h 1448"/>
                <a:gd name="T70" fmla="*/ 796 w 3293"/>
                <a:gd name="T71" fmla="*/ 1289 h 1448"/>
                <a:gd name="T72" fmla="*/ 541 w 3293"/>
                <a:gd name="T73" fmla="*/ 1242 h 1448"/>
                <a:gd name="T74" fmla="*/ 380 w 3293"/>
                <a:gd name="T75" fmla="*/ 1212 h 1448"/>
                <a:gd name="T76" fmla="*/ 246 w 3293"/>
                <a:gd name="T77" fmla="*/ 1216 h 1448"/>
                <a:gd name="T78" fmla="*/ 107 w 3293"/>
                <a:gd name="T79" fmla="*/ 1296 h 1448"/>
                <a:gd name="T80" fmla="*/ 34 w 3293"/>
                <a:gd name="T81" fmla="*/ 1341 h 1448"/>
                <a:gd name="T82" fmla="*/ 7 w 3293"/>
                <a:gd name="T83" fmla="*/ 1316 h 1448"/>
                <a:gd name="T84" fmla="*/ 0 w 3293"/>
                <a:gd name="T85" fmla="*/ 1290 h 1448"/>
                <a:gd name="T86" fmla="*/ 22 w 3293"/>
                <a:gd name="T87" fmla="*/ 955 h 1448"/>
                <a:gd name="T88" fmla="*/ 46 w 3293"/>
                <a:gd name="T89" fmla="*/ 567 h 1448"/>
                <a:gd name="T90" fmla="*/ 69 w 3293"/>
                <a:gd name="T91" fmla="*/ 220 h 1448"/>
                <a:gd name="T92" fmla="*/ 92 w 3293"/>
                <a:gd name="T93" fmla="*/ 106 h 1448"/>
                <a:gd name="T94" fmla="*/ 157 w 3293"/>
                <a:gd name="T95" fmla="*/ 87 h 1448"/>
                <a:gd name="T96" fmla="*/ 330 w 3293"/>
                <a:gd name="T97" fmla="*/ 59 h 1448"/>
                <a:gd name="T98" fmla="*/ 576 w 3293"/>
                <a:gd name="T99" fmla="*/ 25 h 1448"/>
                <a:gd name="T100" fmla="*/ 803 w 3293"/>
                <a:gd name="T101" fmla="*/ 3 h 1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293" h="1448">
                  <a:moveTo>
                    <a:pt x="889" y="0"/>
                  </a:moveTo>
                  <a:lnTo>
                    <a:pt x="935" y="3"/>
                  </a:lnTo>
                  <a:lnTo>
                    <a:pt x="986" y="9"/>
                  </a:lnTo>
                  <a:lnTo>
                    <a:pt x="1042" y="18"/>
                  </a:lnTo>
                  <a:lnTo>
                    <a:pt x="1101" y="29"/>
                  </a:lnTo>
                  <a:lnTo>
                    <a:pt x="1163" y="42"/>
                  </a:lnTo>
                  <a:lnTo>
                    <a:pt x="1228" y="58"/>
                  </a:lnTo>
                  <a:lnTo>
                    <a:pt x="1294" y="74"/>
                  </a:lnTo>
                  <a:lnTo>
                    <a:pt x="1361" y="92"/>
                  </a:lnTo>
                  <a:lnTo>
                    <a:pt x="1430" y="111"/>
                  </a:lnTo>
                  <a:lnTo>
                    <a:pt x="1498" y="131"/>
                  </a:lnTo>
                  <a:lnTo>
                    <a:pt x="1565" y="150"/>
                  </a:lnTo>
                  <a:lnTo>
                    <a:pt x="1631" y="171"/>
                  </a:lnTo>
                  <a:lnTo>
                    <a:pt x="1696" y="191"/>
                  </a:lnTo>
                  <a:lnTo>
                    <a:pt x="1758" y="210"/>
                  </a:lnTo>
                  <a:lnTo>
                    <a:pt x="1817" y="230"/>
                  </a:lnTo>
                  <a:lnTo>
                    <a:pt x="1873" y="248"/>
                  </a:lnTo>
                  <a:lnTo>
                    <a:pt x="1924" y="264"/>
                  </a:lnTo>
                  <a:lnTo>
                    <a:pt x="1970" y="278"/>
                  </a:lnTo>
                  <a:lnTo>
                    <a:pt x="2012" y="292"/>
                  </a:lnTo>
                  <a:lnTo>
                    <a:pt x="2046" y="301"/>
                  </a:lnTo>
                  <a:lnTo>
                    <a:pt x="2075" y="310"/>
                  </a:lnTo>
                  <a:lnTo>
                    <a:pt x="2097" y="315"/>
                  </a:lnTo>
                  <a:lnTo>
                    <a:pt x="2119" y="323"/>
                  </a:lnTo>
                  <a:lnTo>
                    <a:pt x="2140" y="336"/>
                  </a:lnTo>
                  <a:lnTo>
                    <a:pt x="2158" y="351"/>
                  </a:lnTo>
                  <a:lnTo>
                    <a:pt x="2173" y="369"/>
                  </a:lnTo>
                  <a:lnTo>
                    <a:pt x="2185" y="389"/>
                  </a:lnTo>
                  <a:lnTo>
                    <a:pt x="2192" y="412"/>
                  </a:lnTo>
                  <a:lnTo>
                    <a:pt x="2198" y="436"/>
                  </a:lnTo>
                  <a:lnTo>
                    <a:pt x="2198" y="461"/>
                  </a:lnTo>
                  <a:lnTo>
                    <a:pt x="2194" y="486"/>
                  </a:lnTo>
                  <a:lnTo>
                    <a:pt x="2184" y="512"/>
                  </a:lnTo>
                  <a:lnTo>
                    <a:pt x="2172" y="537"/>
                  </a:lnTo>
                  <a:lnTo>
                    <a:pt x="2152" y="560"/>
                  </a:lnTo>
                  <a:lnTo>
                    <a:pt x="2129" y="582"/>
                  </a:lnTo>
                  <a:lnTo>
                    <a:pt x="2099" y="602"/>
                  </a:lnTo>
                  <a:lnTo>
                    <a:pt x="2063" y="618"/>
                  </a:lnTo>
                  <a:lnTo>
                    <a:pt x="2021" y="632"/>
                  </a:lnTo>
                  <a:lnTo>
                    <a:pt x="1976" y="641"/>
                  </a:lnTo>
                  <a:lnTo>
                    <a:pt x="1928" y="648"/>
                  </a:lnTo>
                  <a:lnTo>
                    <a:pt x="1878" y="653"/>
                  </a:lnTo>
                  <a:lnTo>
                    <a:pt x="1827" y="654"/>
                  </a:lnTo>
                  <a:lnTo>
                    <a:pt x="1775" y="653"/>
                  </a:lnTo>
                  <a:lnTo>
                    <a:pt x="1722" y="650"/>
                  </a:lnTo>
                  <a:lnTo>
                    <a:pt x="1669" y="646"/>
                  </a:lnTo>
                  <a:lnTo>
                    <a:pt x="1618" y="639"/>
                  </a:lnTo>
                  <a:lnTo>
                    <a:pt x="1567" y="632"/>
                  </a:lnTo>
                  <a:lnTo>
                    <a:pt x="1516" y="624"/>
                  </a:lnTo>
                  <a:lnTo>
                    <a:pt x="1469" y="615"/>
                  </a:lnTo>
                  <a:lnTo>
                    <a:pt x="1423" y="607"/>
                  </a:lnTo>
                  <a:lnTo>
                    <a:pt x="1381" y="600"/>
                  </a:lnTo>
                  <a:lnTo>
                    <a:pt x="1341" y="592"/>
                  </a:lnTo>
                  <a:lnTo>
                    <a:pt x="1305" y="586"/>
                  </a:lnTo>
                  <a:lnTo>
                    <a:pt x="1273" y="581"/>
                  </a:lnTo>
                  <a:lnTo>
                    <a:pt x="1247" y="577"/>
                  </a:lnTo>
                  <a:lnTo>
                    <a:pt x="1225" y="575"/>
                  </a:lnTo>
                  <a:lnTo>
                    <a:pt x="1210" y="575"/>
                  </a:lnTo>
                  <a:lnTo>
                    <a:pt x="1199" y="580"/>
                  </a:lnTo>
                  <a:lnTo>
                    <a:pt x="1196" y="585"/>
                  </a:lnTo>
                  <a:lnTo>
                    <a:pt x="1200" y="607"/>
                  </a:lnTo>
                  <a:lnTo>
                    <a:pt x="1214" y="628"/>
                  </a:lnTo>
                  <a:lnTo>
                    <a:pt x="1236" y="648"/>
                  </a:lnTo>
                  <a:lnTo>
                    <a:pt x="1266" y="669"/>
                  </a:lnTo>
                  <a:lnTo>
                    <a:pt x="1302" y="688"/>
                  </a:lnTo>
                  <a:lnTo>
                    <a:pt x="1345" y="706"/>
                  </a:lnTo>
                  <a:lnTo>
                    <a:pt x="1392" y="723"/>
                  </a:lnTo>
                  <a:lnTo>
                    <a:pt x="1444" y="739"/>
                  </a:lnTo>
                  <a:lnTo>
                    <a:pt x="1499" y="753"/>
                  </a:lnTo>
                  <a:lnTo>
                    <a:pt x="1558" y="765"/>
                  </a:lnTo>
                  <a:lnTo>
                    <a:pt x="1619" y="776"/>
                  </a:lnTo>
                  <a:lnTo>
                    <a:pt x="1681" y="786"/>
                  </a:lnTo>
                  <a:lnTo>
                    <a:pt x="1744" y="794"/>
                  </a:lnTo>
                  <a:lnTo>
                    <a:pt x="1806" y="800"/>
                  </a:lnTo>
                  <a:lnTo>
                    <a:pt x="1868" y="803"/>
                  </a:lnTo>
                  <a:lnTo>
                    <a:pt x="1929" y="804"/>
                  </a:lnTo>
                  <a:lnTo>
                    <a:pt x="1988" y="803"/>
                  </a:lnTo>
                  <a:lnTo>
                    <a:pt x="2043" y="800"/>
                  </a:lnTo>
                  <a:lnTo>
                    <a:pt x="2094" y="793"/>
                  </a:lnTo>
                  <a:lnTo>
                    <a:pt x="2225" y="770"/>
                  </a:lnTo>
                  <a:lnTo>
                    <a:pt x="2356" y="739"/>
                  </a:lnTo>
                  <a:lnTo>
                    <a:pt x="2484" y="703"/>
                  </a:lnTo>
                  <a:lnTo>
                    <a:pt x="2609" y="662"/>
                  </a:lnTo>
                  <a:lnTo>
                    <a:pt x="2730" y="618"/>
                  </a:lnTo>
                  <a:lnTo>
                    <a:pt x="2844" y="570"/>
                  </a:lnTo>
                  <a:lnTo>
                    <a:pt x="2952" y="519"/>
                  </a:lnTo>
                  <a:lnTo>
                    <a:pt x="3052" y="467"/>
                  </a:lnTo>
                  <a:lnTo>
                    <a:pt x="3090" y="450"/>
                  </a:lnTo>
                  <a:lnTo>
                    <a:pt x="3125" y="443"/>
                  </a:lnTo>
                  <a:lnTo>
                    <a:pt x="3158" y="442"/>
                  </a:lnTo>
                  <a:lnTo>
                    <a:pt x="3190" y="449"/>
                  </a:lnTo>
                  <a:lnTo>
                    <a:pt x="3219" y="461"/>
                  </a:lnTo>
                  <a:lnTo>
                    <a:pt x="3244" y="479"/>
                  </a:lnTo>
                  <a:lnTo>
                    <a:pt x="3265" y="502"/>
                  </a:lnTo>
                  <a:lnTo>
                    <a:pt x="3280" y="531"/>
                  </a:lnTo>
                  <a:lnTo>
                    <a:pt x="3289" y="563"/>
                  </a:lnTo>
                  <a:lnTo>
                    <a:pt x="3293" y="597"/>
                  </a:lnTo>
                  <a:lnTo>
                    <a:pt x="3289" y="636"/>
                  </a:lnTo>
                  <a:lnTo>
                    <a:pt x="3277" y="676"/>
                  </a:lnTo>
                  <a:lnTo>
                    <a:pt x="3258" y="717"/>
                  </a:lnTo>
                  <a:lnTo>
                    <a:pt x="3227" y="760"/>
                  </a:lnTo>
                  <a:lnTo>
                    <a:pt x="3189" y="803"/>
                  </a:lnTo>
                  <a:lnTo>
                    <a:pt x="3167" y="822"/>
                  </a:lnTo>
                  <a:lnTo>
                    <a:pt x="3138" y="845"/>
                  </a:lnTo>
                  <a:lnTo>
                    <a:pt x="3105" y="870"/>
                  </a:lnTo>
                  <a:lnTo>
                    <a:pt x="3065" y="898"/>
                  </a:lnTo>
                  <a:lnTo>
                    <a:pt x="3021" y="928"/>
                  </a:lnTo>
                  <a:lnTo>
                    <a:pt x="2972" y="960"/>
                  </a:lnTo>
                  <a:lnTo>
                    <a:pt x="2921" y="994"/>
                  </a:lnTo>
                  <a:lnTo>
                    <a:pt x="2866" y="1027"/>
                  </a:lnTo>
                  <a:lnTo>
                    <a:pt x="2808" y="1063"/>
                  </a:lnTo>
                  <a:lnTo>
                    <a:pt x="2749" y="1099"/>
                  </a:lnTo>
                  <a:lnTo>
                    <a:pt x="2688" y="1134"/>
                  </a:lnTo>
                  <a:lnTo>
                    <a:pt x="2626" y="1169"/>
                  </a:lnTo>
                  <a:lnTo>
                    <a:pt x="2563" y="1203"/>
                  </a:lnTo>
                  <a:lnTo>
                    <a:pt x="2501" y="1238"/>
                  </a:lnTo>
                  <a:lnTo>
                    <a:pt x="2439" y="1271"/>
                  </a:lnTo>
                  <a:lnTo>
                    <a:pt x="2380" y="1301"/>
                  </a:lnTo>
                  <a:lnTo>
                    <a:pt x="2320" y="1330"/>
                  </a:lnTo>
                  <a:lnTo>
                    <a:pt x="2264" y="1356"/>
                  </a:lnTo>
                  <a:lnTo>
                    <a:pt x="2210" y="1381"/>
                  </a:lnTo>
                  <a:lnTo>
                    <a:pt x="2161" y="1402"/>
                  </a:lnTo>
                  <a:lnTo>
                    <a:pt x="2114" y="1420"/>
                  </a:lnTo>
                  <a:lnTo>
                    <a:pt x="2072" y="1433"/>
                  </a:lnTo>
                  <a:lnTo>
                    <a:pt x="2035" y="1443"/>
                  </a:lnTo>
                  <a:lnTo>
                    <a:pt x="2010" y="1447"/>
                  </a:lnTo>
                  <a:lnTo>
                    <a:pt x="1979" y="1448"/>
                  </a:lnTo>
                  <a:lnTo>
                    <a:pt x="1939" y="1448"/>
                  </a:lnTo>
                  <a:lnTo>
                    <a:pt x="1892" y="1446"/>
                  </a:lnTo>
                  <a:lnTo>
                    <a:pt x="1840" y="1442"/>
                  </a:lnTo>
                  <a:lnTo>
                    <a:pt x="1780" y="1436"/>
                  </a:lnTo>
                  <a:lnTo>
                    <a:pt x="1717" y="1429"/>
                  </a:lnTo>
                  <a:lnTo>
                    <a:pt x="1649" y="1421"/>
                  </a:lnTo>
                  <a:lnTo>
                    <a:pt x="1578" y="1413"/>
                  </a:lnTo>
                  <a:lnTo>
                    <a:pt x="1503" y="1402"/>
                  </a:lnTo>
                  <a:lnTo>
                    <a:pt x="1426" y="1391"/>
                  </a:lnTo>
                  <a:lnTo>
                    <a:pt x="1346" y="1380"/>
                  </a:lnTo>
                  <a:lnTo>
                    <a:pt x="1266" y="1367"/>
                  </a:lnTo>
                  <a:lnTo>
                    <a:pt x="1186" y="1355"/>
                  </a:lnTo>
                  <a:lnTo>
                    <a:pt x="1105" y="1341"/>
                  </a:lnTo>
                  <a:lnTo>
                    <a:pt x="1025" y="1329"/>
                  </a:lnTo>
                  <a:lnTo>
                    <a:pt x="946" y="1315"/>
                  </a:lnTo>
                  <a:lnTo>
                    <a:pt x="871" y="1301"/>
                  </a:lnTo>
                  <a:lnTo>
                    <a:pt x="796" y="1289"/>
                  </a:lnTo>
                  <a:lnTo>
                    <a:pt x="726" y="1276"/>
                  </a:lnTo>
                  <a:lnTo>
                    <a:pt x="660" y="1264"/>
                  </a:lnTo>
                  <a:lnTo>
                    <a:pt x="598" y="1253"/>
                  </a:lnTo>
                  <a:lnTo>
                    <a:pt x="541" y="1242"/>
                  </a:lnTo>
                  <a:lnTo>
                    <a:pt x="490" y="1232"/>
                  </a:lnTo>
                  <a:lnTo>
                    <a:pt x="446" y="1224"/>
                  </a:lnTo>
                  <a:lnTo>
                    <a:pt x="409" y="1217"/>
                  </a:lnTo>
                  <a:lnTo>
                    <a:pt x="380" y="1212"/>
                  </a:lnTo>
                  <a:lnTo>
                    <a:pt x="359" y="1206"/>
                  </a:lnTo>
                  <a:lnTo>
                    <a:pt x="322" y="1202"/>
                  </a:lnTo>
                  <a:lnTo>
                    <a:pt x="284" y="1206"/>
                  </a:lnTo>
                  <a:lnTo>
                    <a:pt x="246" y="1216"/>
                  </a:lnTo>
                  <a:lnTo>
                    <a:pt x="210" y="1231"/>
                  </a:lnTo>
                  <a:lnTo>
                    <a:pt x="175" y="1250"/>
                  </a:lnTo>
                  <a:lnTo>
                    <a:pt x="140" y="1272"/>
                  </a:lnTo>
                  <a:lnTo>
                    <a:pt x="107" y="1296"/>
                  </a:lnTo>
                  <a:lnTo>
                    <a:pt x="78" y="1320"/>
                  </a:lnTo>
                  <a:lnTo>
                    <a:pt x="60" y="1333"/>
                  </a:lnTo>
                  <a:lnTo>
                    <a:pt x="45" y="1340"/>
                  </a:lnTo>
                  <a:lnTo>
                    <a:pt x="34" y="1341"/>
                  </a:lnTo>
                  <a:lnTo>
                    <a:pt x="24" y="1338"/>
                  </a:lnTo>
                  <a:lnTo>
                    <a:pt x="16" y="1333"/>
                  </a:lnTo>
                  <a:lnTo>
                    <a:pt x="11" y="1326"/>
                  </a:lnTo>
                  <a:lnTo>
                    <a:pt x="7" y="1316"/>
                  </a:lnTo>
                  <a:lnTo>
                    <a:pt x="2" y="1308"/>
                  </a:lnTo>
                  <a:lnTo>
                    <a:pt x="1" y="1300"/>
                  </a:lnTo>
                  <a:lnTo>
                    <a:pt x="1" y="1293"/>
                  </a:lnTo>
                  <a:lnTo>
                    <a:pt x="0" y="1290"/>
                  </a:lnTo>
                  <a:lnTo>
                    <a:pt x="5" y="1217"/>
                  </a:lnTo>
                  <a:lnTo>
                    <a:pt x="11" y="1136"/>
                  </a:lnTo>
                  <a:lnTo>
                    <a:pt x="16" y="1049"/>
                  </a:lnTo>
                  <a:lnTo>
                    <a:pt x="22" y="955"/>
                  </a:lnTo>
                  <a:lnTo>
                    <a:pt x="29" y="860"/>
                  </a:lnTo>
                  <a:lnTo>
                    <a:pt x="34" y="763"/>
                  </a:lnTo>
                  <a:lnTo>
                    <a:pt x="41" y="664"/>
                  </a:lnTo>
                  <a:lnTo>
                    <a:pt x="46" y="567"/>
                  </a:lnTo>
                  <a:lnTo>
                    <a:pt x="53" y="472"/>
                  </a:lnTo>
                  <a:lnTo>
                    <a:pt x="59" y="383"/>
                  </a:lnTo>
                  <a:lnTo>
                    <a:pt x="64" y="297"/>
                  </a:lnTo>
                  <a:lnTo>
                    <a:pt x="69" y="220"/>
                  </a:lnTo>
                  <a:lnTo>
                    <a:pt x="74" y="151"/>
                  </a:lnTo>
                  <a:lnTo>
                    <a:pt x="77" y="132"/>
                  </a:lnTo>
                  <a:lnTo>
                    <a:pt x="82" y="117"/>
                  </a:lnTo>
                  <a:lnTo>
                    <a:pt x="92" y="106"/>
                  </a:lnTo>
                  <a:lnTo>
                    <a:pt x="104" y="99"/>
                  </a:lnTo>
                  <a:lnTo>
                    <a:pt x="120" y="93"/>
                  </a:lnTo>
                  <a:lnTo>
                    <a:pt x="136" y="89"/>
                  </a:lnTo>
                  <a:lnTo>
                    <a:pt x="157" y="87"/>
                  </a:lnTo>
                  <a:lnTo>
                    <a:pt x="179" y="82"/>
                  </a:lnTo>
                  <a:lnTo>
                    <a:pt x="224" y="75"/>
                  </a:lnTo>
                  <a:lnTo>
                    <a:pt x="275" y="67"/>
                  </a:lnTo>
                  <a:lnTo>
                    <a:pt x="330" y="59"/>
                  </a:lnTo>
                  <a:lnTo>
                    <a:pt x="390" y="49"/>
                  </a:lnTo>
                  <a:lnTo>
                    <a:pt x="450" y="41"/>
                  </a:lnTo>
                  <a:lnTo>
                    <a:pt x="514" y="33"/>
                  </a:lnTo>
                  <a:lnTo>
                    <a:pt x="576" y="25"/>
                  </a:lnTo>
                  <a:lnTo>
                    <a:pt x="638" y="18"/>
                  </a:lnTo>
                  <a:lnTo>
                    <a:pt x="697" y="11"/>
                  </a:lnTo>
                  <a:lnTo>
                    <a:pt x="752" y="5"/>
                  </a:lnTo>
                  <a:lnTo>
                    <a:pt x="803" y="3"/>
                  </a:lnTo>
                  <a:lnTo>
                    <a:pt x="850" y="0"/>
                  </a:lnTo>
                  <a:lnTo>
                    <a:pt x="88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96497"/>
                </a:solidFill>
                <a:latin typeface="Calibri" pitchFamily="34" charset="0"/>
              </a:endParaRPr>
            </a:p>
          </p:txBody>
        </p:sp>
        <p:sp>
          <p:nvSpPr>
            <p:cNvPr id="73" name="Freeform 17"/>
            <p:cNvSpPr>
              <a:spLocks noEditPoints="1"/>
            </p:cNvSpPr>
            <p:nvPr/>
          </p:nvSpPr>
          <p:spPr bwMode="auto">
            <a:xfrm>
              <a:off x="1743" y="2442"/>
              <a:ext cx="522" cy="673"/>
            </a:xfrm>
            <a:custGeom>
              <a:avLst/>
              <a:gdLst>
                <a:gd name="T0" fmla="*/ 542 w 1045"/>
                <a:gd name="T1" fmla="*/ 806 h 1345"/>
                <a:gd name="T2" fmla="*/ 502 w 1045"/>
                <a:gd name="T3" fmla="*/ 810 h 1345"/>
                <a:gd name="T4" fmla="*/ 466 w 1045"/>
                <a:gd name="T5" fmla="*/ 821 h 1345"/>
                <a:gd name="T6" fmla="*/ 433 w 1045"/>
                <a:gd name="T7" fmla="*/ 839 h 1345"/>
                <a:gd name="T8" fmla="*/ 404 w 1045"/>
                <a:gd name="T9" fmla="*/ 862 h 1345"/>
                <a:gd name="T10" fmla="*/ 380 w 1045"/>
                <a:gd name="T11" fmla="*/ 891 h 1345"/>
                <a:gd name="T12" fmla="*/ 362 w 1045"/>
                <a:gd name="T13" fmla="*/ 923 h 1345"/>
                <a:gd name="T14" fmla="*/ 351 w 1045"/>
                <a:gd name="T15" fmla="*/ 960 h 1345"/>
                <a:gd name="T16" fmla="*/ 347 w 1045"/>
                <a:gd name="T17" fmla="*/ 998 h 1345"/>
                <a:gd name="T18" fmla="*/ 351 w 1045"/>
                <a:gd name="T19" fmla="*/ 1037 h 1345"/>
                <a:gd name="T20" fmla="*/ 362 w 1045"/>
                <a:gd name="T21" fmla="*/ 1074 h 1345"/>
                <a:gd name="T22" fmla="*/ 380 w 1045"/>
                <a:gd name="T23" fmla="*/ 1107 h 1345"/>
                <a:gd name="T24" fmla="*/ 404 w 1045"/>
                <a:gd name="T25" fmla="*/ 1136 h 1345"/>
                <a:gd name="T26" fmla="*/ 433 w 1045"/>
                <a:gd name="T27" fmla="*/ 1159 h 1345"/>
                <a:gd name="T28" fmla="*/ 466 w 1045"/>
                <a:gd name="T29" fmla="*/ 1177 h 1345"/>
                <a:gd name="T30" fmla="*/ 502 w 1045"/>
                <a:gd name="T31" fmla="*/ 1188 h 1345"/>
                <a:gd name="T32" fmla="*/ 542 w 1045"/>
                <a:gd name="T33" fmla="*/ 1193 h 1345"/>
                <a:gd name="T34" fmla="*/ 580 w 1045"/>
                <a:gd name="T35" fmla="*/ 1188 h 1345"/>
                <a:gd name="T36" fmla="*/ 616 w 1045"/>
                <a:gd name="T37" fmla="*/ 1177 h 1345"/>
                <a:gd name="T38" fmla="*/ 649 w 1045"/>
                <a:gd name="T39" fmla="*/ 1159 h 1345"/>
                <a:gd name="T40" fmla="*/ 678 w 1045"/>
                <a:gd name="T41" fmla="*/ 1136 h 1345"/>
                <a:gd name="T42" fmla="*/ 701 w 1045"/>
                <a:gd name="T43" fmla="*/ 1107 h 1345"/>
                <a:gd name="T44" fmla="*/ 719 w 1045"/>
                <a:gd name="T45" fmla="*/ 1074 h 1345"/>
                <a:gd name="T46" fmla="*/ 730 w 1045"/>
                <a:gd name="T47" fmla="*/ 1037 h 1345"/>
                <a:gd name="T48" fmla="*/ 735 w 1045"/>
                <a:gd name="T49" fmla="*/ 998 h 1345"/>
                <a:gd name="T50" fmla="*/ 730 w 1045"/>
                <a:gd name="T51" fmla="*/ 960 h 1345"/>
                <a:gd name="T52" fmla="*/ 719 w 1045"/>
                <a:gd name="T53" fmla="*/ 923 h 1345"/>
                <a:gd name="T54" fmla="*/ 701 w 1045"/>
                <a:gd name="T55" fmla="*/ 891 h 1345"/>
                <a:gd name="T56" fmla="*/ 678 w 1045"/>
                <a:gd name="T57" fmla="*/ 862 h 1345"/>
                <a:gd name="T58" fmla="*/ 649 w 1045"/>
                <a:gd name="T59" fmla="*/ 839 h 1345"/>
                <a:gd name="T60" fmla="*/ 616 w 1045"/>
                <a:gd name="T61" fmla="*/ 821 h 1345"/>
                <a:gd name="T62" fmla="*/ 580 w 1045"/>
                <a:gd name="T63" fmla="*/ 810 h 1345"/>
                <a:gd name="T64" fmla="*/ 542 w 1045"/>
                <a:gd name="T65" fmla="*/ 806 h 1345"/>
                <a:gd name="T66" fmla="*/ 254 w 1045"/>
                <a:gd name="T67" fmla="*/ 0 h 1345"/>
                <a:gd name="T68" fmla="*/ 954 w 1045"/>
                <a:gd name="T69" fmla="*/ 34 h 1345"/>
                <a:gd name="T70" fmla="*/ 980 w 1045"/>
                <a:gd name="T71" fmla="*/ 40 h 1345"/>
                <a:gd name="T72" fmla="*/ 1002 w 1045"/>
                <a:gd name="T73" fmla="*/ 51 h 1345"/>
                <a:gd name="T74" fmla="*/ 1021 w 1045"/>
                <a:gd name="T75" fmla="*/ 67 h 1345"/>
                <a:gd name="T76" fmla="*/ 1035 w 1045"/>
                <a:gd name="T77" fmla="*/ 88 h 1345"/>
                <a:gd name="T78" fmla="*/ 1043 w 1045"/>
                <a:gd name="T79" fmla="*/ 111 h 1345"/>
                <a:gd name="T80" fmla="*/ 1045 w 1045"/>
                <a:gd name="T81" fmla="*/ 138 h 1345"/>
                <a:gd name="T82" fmla="*/ 959 w 1045"/>
                <a:gd name="T83" fmla="*/ 1250 h 1345"/>
                <a:gd name="T84" fmla="*/ 954 w 1045"/>
                <a:gd name="T85" fmla="*/ 1277 h 1345"/>
                <a:gd name="T86" fmla="*/ 941 w 1045"/>
                <a:gd name="T87" fmla="*/ 1300 h 1345"/>
                <a:gd name="T88" fmla="*/ 925 w 1045"/>
                <a:gd name="T89" fmla="*/ 1319 h 1345"/>
                <a:gd name="T90" fmla="*/ 904 w 1045"/>
                <a:gd name="T91" fmla="*/ 1333 h 1345"/>
                <a:gd name="T92" fmla="*/ 879 w 1045"/>
                <a:gd name="T93" fmla="*/ 1343 h 1345"/>
                <a:gd name="T94" fmla="*/ 853 w 1045"/>
                <a:gd name="T95" fmla="*/ 1345 h 1345"/>
                <a:gd name="T96" fmla="*/ 77 w 1045"/>
                <a:gd name="T97" fmla="*/ 1345 h 1345"/>
                <a:gd name="T98" fmla="*/ 52 w 1045"/>
                <a:gd name="T99" fmla="*/ 1341 h 1345"/>
                <a:gd name="T100" fmla="*/ 30 w 1045"/>
                <a:gd name="T101" fmla="*/ 1330 h 1345"/>
                <a:gd name="T102" fmla="*/ 15 w 1045"/>
                <a:gd name="T103" fmla="*/ 1315 h 1345"/>
                <a:gd name="T104" fmla="*/ 4 w 1045"/>
                <a:gd name="T105" fmla="*/ 1294 h 1345"/>
                <a:gd name="T106" fmla="*/ 0 w 1045"/>
                <a:gd name="T107" fmla="*/ 1271 h 1345"/>
                <a:gd name="T108" fmla="*/ 3 w 1045"/>
                <a:gd name="T109" fmla="*/ 1246 h 1345"/>
                <a:gd name="T110" fmla="*/ 131 w 1045"/>
                <a:gd name="T111" fmla="*/ 91 h 1345"/>
                <a:gd name="T112" fmla="*/ 141 w 1045"/>
                <a:gd name="T113" fmla="*/ 66 h 1345"/>
                <a:gd name="T114" fmla="*/ 156 w 1045"/>
                <a:gd name="T115" fmla="*/ 44 h 1345"/>
                <a:gd name="T116" fmla="*/ 176 w 1045"/>
                <a:gd name="T117" fmla="*/ 25 h 1345"/>
                <a:gd name="T118" fmla="*/ 200 w 1045"/>
                <a:gd name="T119" fmla="*/ 11 h 1345"/>
                <a:gd name="T120" fmla="*/ 226 w 1045"/>
                <a:gd name="T121" fmla="*/ 3 h 1345"/>
                <a:gd name="T122" fmla="*/ 254 w 1045"/>
                <a:gd name="T123" fmla="*/ 0 h 1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45" h="1345">
                  <a:moveTo>
                    <a:pt x="542" y="806"/>
                  </a:moveTo>
                  <a:lnTo>
                    <a:pt x="502" y="810"/>
                  </a:lnTo>
                  <a:lnTo>
                    <a:pt x="466" y="821"/>
                  </a:lnTo>
                  <a:lnTo>
                    <a:pt x="433" y="839"/>
                  </a:lnTo>
                  <a:lnTo>
                    <a:pt x="404" y="862"/>
                  </a:lnTo>
                  <a:lnTo>
                    <a:pt x="380" y="891"/>
                  </a:lnTo>
                  <a:lnTo>
                    <a:pt x="362" y="923"/>
                  </a:lnTo>
                  <a:lnTo>
                    <a:pt x="351" y="960"/>
                  </a:lnTo>
                  <a:lnTo>
                    <a:pt x="347" y="998"/>
                  </a:lnTo>
                  <a:lnTo>
                    <a:pt x="351" y="1037"/>
                  </a:lnTo>
                  <a:lnTo>
                    <a:pt x="362" y="1074"/>
                  </a:lnTo>
                  <a:lnTo>
                    <a:pt x="380" y="1107"/>
                  </a:lnTo>
                  <a:lnTo>
                    <a:pt x="404" y="1136"/>
                  </a:lnTo>
                  <a:lnTo>
                    <a:pt x="433" y="1159"/>
                  </a:lnTo>
                  <a:lnTo>
                    <a:pt x="466" y="1177"/>
                  </a:lnTo>
                  <a:lnTo>
                    <a:pt x="502" y="1188"/>
                  </a:lnTo>
                  <a:lnTo>
                    <a:pt x="542" y="1193"/>
                  </a:lnTo>
                  <a:lnTo>
                    <a:pt x="580" y="1188"/>
                  </a:lnTo>
                  <a:lnTo>
                    <a:pt x="616" y="1177"/>
                  </a:lnTo>
                  <a:lnTo>
                    <a:pt x="649" y="1159"/>
                  </a:lnTo>
                  <a:lnTo>
                    <a:pt x="678" y="1136"/>
                  </a:lnTo>
                  <a:lnTo>
                    <a:pt x="701" y="1107"/>
                  </a:lnTo>
                  <a:lnTo>
                    <a:pt x="719" y="1074"/>
                  </a:lnTo>
                  <a:lnTo>
                    <a:pt x="730" y="1037"/>
                  </a:lnTo>
                  <a:lnTo>
                    <a:pt x="735" y="998"/>
                  </a:lnTo>
                  <a:lnTo>
                    <a:pt x="730" y="960"/>
                  </a:lnTo>
                  <a:lnTo>
                    <a:pt x="719" y="923"/>
                  </a:lnTo>
                  <a:lnTo>
                    <a:pt x="701" y="891"/>
                  </a:lnTo>
                  <a:lnTo>
                    <a:pt x="678" y="862"/>
                  </a:lnTo>
                  <a:lnTo>
                    <a:pt x="649" y="839"/>
                  </a:lnTo>
                  <a:lnTo>
                    <a:pt x="616" y="821"/>
                  </a:lnTo>
                  <a:lnTo>
                    <a:pt x="580" y="810"/>
                  </a:lnTo>
                  <a:lnTo>
                    <a:pt x="542" y="806"/>
                  </a:lnTo>
                  <a:close/>
                  <a:moveTo>
                    <a:pt x="254" y="0"/>
                  </a:moveTo>
                  <a:lnTo>
                    <a:pt x="954" y="34"/>
                  </a:lnTo>
                  <a:lnTo>
                    <a:pt x="980" y="40"/>
                  </a:lnTo>
                  <a:lnTo>
                    <a:pt x="1002" y="51"/>
                  </a:lnTo>
                  <a:lnTo>
                    <a:pt x="1021" y="67"/>
                  </a:lnTo>
                  <a:lnTo>
                    <a:pt x="1035" y="88"/>
                  </a:lnTo>
                  <a:lnTo>
                    <a:pt x="1043" y="111"/>
                  </a:lnTo>
                  <a:lnTo>
                    <a:pt x="1045" y="138"/>
                  </a:lnTo>
                  <a:lnTo>
                    <a:pt x="959" y="1250"/>
                  </a:lnTo>
                  <a:lnTo>
                    <a:pt x="954" y="1277"/>
                  </a:lnTo>
                  <a:lnTo>
                    <a:pt x="941" y="1300"/>
                  </a:lnTo>
                  <a:lnTo>
                    <a:pt x="925" y="1319"/>
                  </a:lnTo>
                  <a:lnTo>
                    <a:pt x="904" y="1333"/>
                  </a:lnTo>
                  <a:lnTo>
                    <a:pt x="879" y="1343"/>
                  </a:lnTo>
                  <a:lnTo>
                    <a:pt x="853" y="1345"/>
                  </a:lnTo>
                  <a:lnTo>
                    <a:pt x="77" y="1345"/>
                  </a:lnTo>
                  <a:lnTo>
                    <a:pt x="52" y="1341"/>
                  </a:lnTo>
                  <a:lnTo>
                    <a:pt x="30" y="1330"/>
                  </a:lnTo>
                  <a:lnTo>
                    <a:pt x="15" y="1315"/>
                  </a:lnTo>
                  <a:lnTo>
                    <a:pt x="4" y="1294"/>
                  </a:lnTo>
                  <a:lnTo>
                    <a:pt x="0" y="1271"/>
                  </a:lnTo>
                  <a:lnTo>
                    <a:pt x="3" y="1246"/>
                  </a:lnTo>
                  <a:lnTo>
                    <a:pt x="131" y="91"/>
                  </a:lnTo>
                  <a:lnTo>
                    <a:pt x="141" y="66"/>
                  </a:lnTo>
                  <a:lnTo>
                    <a:pt x="156" y="44"/>
                  </a:lnTo>
                  <a:lnTo>
                    <a:pt x="176" y="25"/>
                  </a:lnTo>
                  <a:lnTo>
                    <a:pt x="200" y="11"/>
                  </a:lnTo>
                  <a:lnTo>
                    <a:pt x="226" y="3"/>
                  </a:lnTo>
                  <a:lnTo>
                    <a:pt x="2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96497"/>
                </a:solidFill>
                <a:latin typeface="Calibri" pitchFamily="34" charset="0"/>
              </a:endParaRPr>
            </a:p>
          </p:txBody>
        </p:sp>
      </p:grpSp>
      <p:grpSp>
        <p:nvGrpSpPr>
          <p:cNvPr id="61" name="Group 90"/>
          <p:cNvGrpSpPr>
            <a:grpSpLocks noChangeAspect="1"/>
          </p:cNvGrpSpPr>
          <p:nvPr/>
        </p:nvGrpSpPr>
        <p:grpSpPr bwMode="auto">
          <a:xfrm>
            <a:off x="5160019" y="2727472"/>
            <a:ext cx="1022415" cy="843082"/>
            <a:chOff x="1593" y="1011"/>
            <a:chExt cx="2574" cy="2298"/>
          </a:xfrm>
        </p:grpSpPr>
        <p:sp>
          <p:nvSpPr>
            <p:cNvPr id="75" name="AutoShape 89"/>
            <p:cNvSpPr>
              <a:spLocks noChangeAspect="1" noChangeArrowheads="1" noTextEdit="1"/>
            </p:cNvSpPr>
            <p:nvPr/>
          </p:nvSpPr>
          <p:spPr bwMode="auto">
            <a:xfrm>
              <a:off x="1593" y="1011"/>
              <a:ext cx="2574" cy="22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uk-UA"/>
            </a:p>
          </p:txBody>
        </p:sp>
        <p:sp>
          <p:nvSpPr>
            <p:cNvPr id="76" name="Freeform 92"/>
            <p:cNvSpPr>
              <a:spLocks/>
            </p:cNvSpPr>
            <p:nvPr/>
          </p:nvSpPr>
          <p:spPr bwMode="auto">
            <a:xfrm>
              <a:off x="1593" y="1589"/>
              <a:ext cx="954" cy="751"/>
            </a:xfrm>
            <a:custGeom>
              <a:avLst/>
              <a:gdLst>
                <a:gd name="T0" fmla="*/ 374 w 1908"/>
                <a:gd name="T1" fmla="*/ 0 h 1502"/>
                <a:gd name="T2" fmla="*/ 409 w 1908"/>
                <a:gd name="T3" fmla="*/ 1 h 1502"/>
                <a:gd name="T4" fmla="*/ 444 w 1908"/>
                <a:gd name="T5" fmla="*/ 3 h 1502"/>
                <a:gd name="T6" fmla="*/ 477 w 1908"/>
                <a:gd name="T7" fmla="*/ 7 h 1502"/>
                <a:gd name="T8" fmla="*/ 477 w 1908"/>
                <a:gd name="T9" fmla="*/ 369 h 1502"/>
                <a:gd name="T10" fmla="*/ 444 w 1908"/>
                <a:gd name="T11" fmla="*/ 373 h 1502"/>
                <a:gd name="T12" fmla="*/ 409 w 1908"/>
                <a:gd name="T13" fmla="*/ 376 h 1502"/>
                <a:gd name="T14" fmla="*/ 374 w 1908"/>
                <a:gd name="T15" fmla="*/ 376 h 1502"/>
                <a:gd name="T16" fmla="*/ 341 w 1908"/>
                <a:gd name="T17" fmla="*/ 376 h 1502"/>
                <a:gd name="T18" fmla="*/ 310 w 1908"/>
                <a:gd name="T19" fmla="*/ 374 h 1502"/>
                <a:gd name="T20" fmla="*/ 279 w 1908"/>
                <a:gd name="T21" fmla="*/ 371 h 1502"/>
                <a:gd name="T22" fmla="*/ 250 w 1908"/>
                <a:gd name="T23" fmla="*/ 367 h 1502"/>
                <a:gd name="T24" fmla="*/ 221 w 1908"/>
                <a:gd name="T25" fmla="*/ 361 h 1502"/>
                <a:gd name="T26" fmla="*/ 194 w 1908"/>
                <a:gd name="T27" fmla="*/ 355 h 1502"/>
                <a:gd name="T28" fmla="*/ 168 w 1908"/>
                <a:gd name="T29" fmla="*/ 348 h 1502"/>
                <a:gd name="T30" fmla="*/ 144 w 1908"/>
                <a:gd name="T31" fmla="*/ 340 h 1502"/>
                <a:gd name="T32" fmla="*/ 120 w 1908"/>
                <a:gd name="T33" fmla="*/ 331 h 1502"/>
                <a:gd name="T34" fmla="*/ 99 w 1908"/>
                <a:gd name="T35" fmla="*/ 322 h 1502"/>
                <a:gd name="T36" fmla="*/ 80 w 1908"/>
                <a:gd name="T37" fmla="*/ 311 h 1502"/>
                <a:gd name="T38" fmla="*/ 62 w 1908"/>
                <a:gd name="T39" fmla="*/ 300 h 1502"/>
                <a:gd name="T40" fmla="*/ 46 w 1908"/>
                <a:gd name="T41" fmla="*/ 288 h 1502"/>
                <a:gd name="T42" fmla="*/ 33 w 1908"/>
                <a:gd name="T43" fmla="*/ 276 h 1502"/>
                <a:gd name="T44" fmla="*/ 21 w 1908"/>
                <a:gd name="T45" fmla="*/ 263 h 1502"/>
                <a:gd name="T46" fmla="*/ 12 w 1908"/>
                <a:gd name="T47" fmla="*/ 249 h 1502"/>
                <a:gd name="T48" fmla="*/ 6 w 1908"/>
                <a:gd name="T49" fmla="*/ 236 h 1502"/>
                <a:gd name="T50" fmla="*/ 2 w 1908"/>
                <a:gd name="T51" fmla="*/ 221 h 1502"/>
                <a:gd name="T52" fmla="*/ 0 w 1908"/>
                <a:gd name="T53" fmla="*/ 207 h 1502"/>
                <a:gd name="T54" fmla="*/ 0 w 1908"/>
                <a:gd name="T55" fmla="*/ 170 h 1502"/>
                <a:gd name="T56" fmla="*/ 2 w 1908"/>
                <a:gd name="T57" fmla="*/ 155 h 1502"/>
                <a:gd name="T58" fmla="*/ 6 w 1908"/>
                <a:gd name="T59" fmla="*/ 141 h 1502"/>
                <a:gd name="T60" fmla="*/ 12 w 1908"/>
                <a:gd name="T61" fmla="*/ 127 h 1502"/>
                <a:gd name="T62" fmla="*/ 21 w 1908"/>
                <a:gd name="T63" fmla="*/ 114 h 1502"/>
                <a:gd name="T64" fmla="*/ 33 w 1908"/>
                <a:gd name="T65" fmla="*/ 100 h 1502"/>
                <a:gd name="T66" fmla="*/ 46 w 1908"/>
                <a:gd name="T67" fmla="*/ 88 h 1502"/>
                <a:gd name="T68" fmla="*/ 62 w 1908"/>
                <a:gd name="T69" fmla="*/ 77 h 1502"/>
                <a:gd name="T70" fmla="*/ 80 w 1908"/>
                <a:gd name="T71" fmla="*/ 65 h 1502"/>
                <a:gd name="T72" fmla="*/ 99 w 1908"/>
                <a:gd name="T73" fmla="*/ 55 h 1502"/>
                <a:gd name="T74" fmla="*/ 120 w 1908"/>
                <a:gd name="T75" fmla="*/ 45 h 1502"/>
                <a:gd name="T76" fmla="*/ 144 w 1908"/>
                <a:gd name="T77" fmla="*/ 36 h 1502"/>
                <a:gd name="T78" fmla="*/ 168 w 1908"/>
                <a:gd name="T79" fmla="*/ 28 h 1502"/>
                <a:gd name="T80" fmla="*/ 194 w 1908"/>
                <a:gd name="T81" fmla="*/ 21 h 1502"/>
                <a:gd name="T82" fmla="*/ 221 w 1908"/>
                <a:gd name="T83" fmla="*/ 15 h 1502"/>
                <a:gd name="T84" fmla="*/ 250 w 1908"/>
                <a:gd name="T85" fmla="*/ 10 h 1502"/>
                <a:gd name="T86" fmla="*/ 279 w 1908"/>
                <a:gd name="T87" fmla="*/ 6 h 1502"/>
                <a:gd name="T88" fmla="*/ 310 w 1908"/>
                <a:gd name="T89" fmla="*/ 3 h 1502"/>
                <a:gd name="T90" fmla="*/ 341 w 1908"/>
                <a:gd name="T91" fmla="*/ 1 h 1502"/>
                <a:gd name="T92" fmla="*/ 374 w 1908"/>
                <a:gd name="T93" fmla="*/ 0 h 150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908" h="1502">
                  <a:moveTo>
                    <a:pt x="1493" y="0"/>
                  </a:moveTo>
                  <a:lnTo>
                    <a:pt x="1635" y="4"/>
                  </a:lnTo>
                  <a:lnTo>
                    <a:pt x="1774" y="11"/>
                  </a:lnTo>
                  <a:lnTo>
                    <a:pt x="1908" y="27"/>
                  </a:lnTo>
                  <a:lnTo>
                    <a:pt x="1908" y="1476"/>
                  </a:lnTo>
                  <a:lnTo>
                    <a:pt x="1774" y="1491"/>
                  </a:lnTo>
                  <a:lnTo>
                    <a:pt x="1635" y="1501"/>
                  </a:lnTo>
                  <a:lnTo>
                    <a:pt x="1493" y="1502"/>
                  </a:lnTo>
                  <a:lnTo>
                    <a:pt x="1363" y="1501"/>
                  </a:lnTo>
                  <a:lnTo>
                    <a:pt x="1239" y="1493"/>
                  </a:lnTo>
                  <a:lnTo>
                    <a:pt x="1115" y="1482"/>
                  </a:lnTo>
                  <a:lnTo>
                    <a:pt x="997" y="1465"/>
                  </a:lnTo>
                  <a:lnTo>
                    <a:pt x="883" y="1444"/>
                  </a:lnTo>
                  <a:lnTo>
                    <a:pt x="774" y="1419"/>
                  </a:lnTo>
                  <a:lnTo>
                    <a:pt x="671" y="1391"/>
                  </a:lnTo>
                  <a:lnTo>
                    <a:pt x="573" y="1358"/>
                  </a:lnTo>
                  <a:lnTo>
                    <a:pt x="480" y="1324"/>
                  </a:lnTo>
                  <a:lnTo>
                    <a:pt x="395" y="1285"/>
                  </a:lnTo>
                  <a:lnTo>
                    <a:pt x="317" y="1243"/>
                  </a:lnTo>
                  <a:lnTo>
                    <a:pt x="246" y="1199"/>
                  </a:lnTo>
                  <a:lnTo>
                    <a:pt x="184" y="1151"/>
                  </a:lnTo>
                  <a:lnTo>
                    <a:pt x="129" y="1102"/>
                  </a:lnTo>
                  <a:lnTo>
                    <a:pt x="84" y="1051"/>
                  </a:lnTo>
                  <a:lnTo>
                    <a:pt x="48" y="996"/>
                  </a:lnTo>
                  <a:lnTo>
                    <a:pt x="22" y="941"/>
                  </a:lnTo>
                  <a:lnTo>
                    <a:pt x="6" y="883"/>
                  </a:lnTo>
                  <a:lnTo>
                    <a:pt x="0" y="826"/>
                  </a:lnTo>
                  <a:lnTo>
                    <a:pt x="0" y="677"/>
                  </a:lnTo>
                  <a:lnTo>
                    <a:pt x="6" y="619"/>
                  </a:lnTo>
                  <a:lnTo>
                    <a:pt x="22" y="561"/>
                  </a:lnTo>
                  <a:lnTo>
                    <a:pt x="48" y="507"/>
                  </a:lnTo>
                  <a:lnTo>
                    <a:pt x="84" y="454"/>
                  </a:lnTo>
                  <a:lnTo>
                    <a:pt x="129" y="400"/>
                  </a:lnTo>
                  <a:lnTo>
                    <a:pt x="184" y="352"/>
                  </a:lnTo>
                  <a:lnTo>
                    <a:pt x="246" y="305"/>
                  </a:lnTo>
                  <a:lnTo>
                    <a:pt x="317" y="260"/>
                  </a:lnTo>
                  <a:lnTo>
                    <a:pt x="395" y="218"/>
                  </a:lnTo>
                  <a:lnTo>
                    <a:pt x="480" y="180"/>
                  </a:lnTo>
                  <a:lnTo>
                    <a:pt x="573" y="144"/>
                  </a:lnTo>
                  <a:lnTo>
                    <a:pt x="671" y="111"/>
                  </a:lnTo>
                  <a:lnTo>
                    <a:pt x="774" y="83"/>
                  </a:lnTo>
                  <a:lnTo>
                    <a:pt x="883" y="58"/>
                  </a:lnTo>
                  <a:lnTo>
                    <a:pt x="997" y="38"/>
                  </a:lnTo>
                  <a:lnTo>
                    <a:pt x="1115" y="22"/>
                  </a:lnTo>
                  <a:lnTo>
                    <a:pt x="1239" y="10"/>
                  </a:lnTo>
                  <a:lnTo>
                    <a:pt x="1363" y="2"/>
                  </a:lnTo>
                  <a:lnTo>
                    <a:pt x="1493" y="0"/>
                  </a:lnTo>
                  <a:close/>
                </a:path>
              </a:pathLst>
            </a:custGeom>
            <a:solidFill>
              <a:srgbClr val="EEBB1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uk-UA"/>
            </a:p>
          </p:txBody>
        </p:sp>
        <p:sp>
          <p:nvSpPr>
            <p:cNvPr id="77" name="Freeform 93"/>
            <p:cNvSpPr>
              <a:spLocks/>
            </p:cNvSpPr>
            <p:nvPr/>
          </p:nvSpPr>
          <p:spPr bwMode="auto">
            <a:xfrm>
              <a:off x="1593" y="2237"/>
              <a:ext cx="954" cy="482"/>
            </a:xfrm>
            <a:custGeom>
              <a:avLst/>
              <a:gdLst>
                <a:gd name="T0" fmla="*/ 8 w 1908"/>
                <a:gd name="T1" fmla="*/ 0 h 964"/>
                <a:gd name="T2" fmla="*/ 16 w 1908"/>
                <a:gd name="T3" fmla="*/ 14 h 964"/>
                <a:gd name="T4" fmla="*/ 25 w 1908"/>
                <a:gd name="T5" fmla="*/ 27 h 964"/>
                <a:gd name="T6" fmla="*/ 37 w 1908"/>
                <a:gd name="T7" fmla="*/ 39 h 964"/>
                <a:gd name="T8" fmla="*/ 51 w 1908"/>
                <a:gd name="T9" fmla="*/ 51 h 964"/>
                <a:gd name="T10" fmla="*/ 67 w 1908"/>
                <a:gd name="T11" fmla="*/ 62 h 964"/>
                <a:gd name="T12" fmla="*/ 85 w 1908"/>
                <a:gd name="T13" fmla="*/ 73 h 964"/>
                <a:gd name="T14" fmla="*/ 104 w 1908"/>
                <a:gd name="T15" fmla="*/ 83 h 964"/>
                <a:gd name="T16" fmla="*/ 126 w 1908"/>
                <a:gd name="T17" fmla="*/ 92 h 964"/>
                <a:gd name="T18" fmla="*/ 148 w 1908"/>
                <a:gd name="T19" fmla="*/ 101 h 964"/>
                <a:gd name="T20" fmla="*/ 172 w 1908"/>
                <a:gd name="T21" fmla="*/ 109 h 964"/>
                <a:gd name="T22" fmla="*/ 198 w 1908"/>
                <a:gd name="T23" fmla="*/ 115 h 964"/>
                <a:gd name="T24" fmla="*/ 225 w 1908"/>
                <a:gd name="T25" fmla="*/ 121 h 964"/>
                <a:gd name="T26" fmla="*/ 253 w 1908"/>
                <a:gd name="T27" fmla="*/ 126 h 964"/>
                <a:gd name="T28" fmla="*/ 282 w 1908"/>
                <a:gd name="T29" fmla="*/ 130 h 964"/>
                <a:gd name="T30" fmla="*/ 311 w 1908"/>
                <a:gd name="T31" fmla="*/ 133 h 964"/>
                <a:gd name="T32" fmla="*/ 342 w 1908"/>
                <a:gd name="T33" fmla="*/ 135 h 964"/>
                <a:gd name="T34" fmla="*/ 374 w 1908"/>
                <a:gd name="T35" fmla="*/ 135 h 964"/>
                <a:gd name="T36" fmla="*/ 409 w 1908"/>
                <a:gd name="T37" fmla="*/ 134 h 964"/>
                <a:gd name="T38" fmla="*/ 444 w 1908"/>
                <a:gd name="T39" fmla="*/ 132 h 964"/>
                <a:gd name="T40" fmla="*/ 477 w 1908"/>
                <a:gd name="T41" fmla="*/ 129 h 964"/>
                <a:gd name="T42" fmla="*/ 477 w 1908"/>
                <a:gd name="T43" fmla="*/ 235 h 964"/>
                <a:gd name="T44" fmla="*/ 444 w 1908"/>
                <a:gd name="T45" fmla="*/ 238 h 964"/>
                <a:gd name="T46" fmla="*/ 409 w 1908"/>
                <a:gd name="T47" fmla="*/ 241 h 964"/>
                <a:gd name="T48" fmla="*/ 374 w 1908"/>
                <a:gd name="T49" fmla="*/ 241 h 964"/>
                <a:gd name="T50" fmla="*/ 341 w 1908"/>
                <a:gd name="T51" fmla="*/ 241 h 964"/>
                <a:gd name="T52" fmla="*/ 310 w 1908"/>
                <a:gd name="T53" fmla="*/ 239 h 964"/>
                <a:gd name="T54" fmla="*/ 279 w 1908"/>
                <a:gd name="T55" fmla="*/ 236 h 964"/>
                <a:gd name="T56" fmla="*/ 250 w 1908"/>
                <a:gd name="T57" fmla="*/ 232 h 964"/>
                <a:gd name="T58" fmla="*/ 221 w 1908"/>
                <a:gd name="T59" fmla="*/ 227 h 964"/>
                <a:gd name="T60" fmla="*/ 194 w 1908"/>
                <a:gd name="T61" fmla="*/ 220 h 964"/>
                <a:gd name="T62" fmla="*/ 168 w 1908"/>
                <a:gd name="T63" fmla="*/ 213 h 964"/>
                <a:gd name="T64" fmla="*/ 144 w 1908"/>
                <a:gd name="T65" fmla="*/ 205 h 964"/>
                <a:gd name="T66" fmla="*/ 120 w 1908"/>
                <a:gd name="T67" fmla="*/ 196 h 964"/>
                <a:gd name="T68" fmla="*/ 99 w 1908"/>
                <a:gd name="T69" fmla="*/ 187 h 964"/>
                <a:gd name="T70" fmla="*/ 80 w 1908"/>
                <a:gd name="T71" fmla="*/ 176 h 964"/>
                <a:gd name="T72" fmla="*/ 62 w 1908"/>
                <a:gd name="T73" fmla="*/ 165 h 964"/>
                <a:gd name="T74" fmla="*/ 46 w 1908"/>
                <a:gd name="T75" fmla="*/ 154 h 964"/>
                <a:gd name="T76" fmla="*/ 33 w 1908"/>
                <a:gd name="T77" fmla="*/ 141 h 964"/>
                <a:gd name="T78" fmla="*/ 21 w 1908"/>
                <a:gd name="T79" fmla="*/ 128 h 964"/>
                <a:gd name="T80" fmla="*/ 12 w 1908"/>
                <a:gd name="T81" fmla="*/ 115 h 964"/>
                <a:gd name="T82" fmla="*/ 6 w 1908"/>
                <a:gd name="T83" fmla="*/ 101 h 964"/>
                <a:gd name="T84" fmla="*/ 2 w 1908"/>
                <a:gd name="T85" fmla="*/ 86 h 964"/>
                <a:gd name="T86" fmla="*/ 0 w 1908"/>
                <a:gd name="T87" fmla="*/ 72 h 964"/>
                <a:gd name="T88" fmla="*/ 0 w 1908"/>
                <a:gd name="T89" fmla="*/ 35 h 964"/>
                <a:gd name="T90" fmla="*/ 1 w 1908"/>
                <a:gd name="T91" fmla="*/ 23 h 964"/>
                <a:gd name="T92" fmla="*/ 4 w 1908"/>
                <a:gd name="T93" fmla="*/ 12 h 964"/>
                <a:gd name="T94" fmla="*/ 8 w 1908"/>
                <a:gd name="T95" fmla="*/ 0 h 96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1908" h="964">
                  <a:moveTo>
                    <a:pt x="31" y="0"/>
                  </a:moveTo>
                  <a:lnTo>
                    <a:pt x="61" y="53"/>
                  </a:lnTo>
                  <a:lnTo>
                    <a:pt x="100" y="105"/>
                  </a:lnTo>
                  <a:lnTo>
                    <a:pt x="147" y="155"/>
                  </a:lnTo>
                  <a:lnTo>
                    <a:pt x="203" y="203"/>
                  </a:lnTo>
                  <a:lnTo>
                    <a:pt x="267" y="248"/>
                  </a:lnTo>
                  <a:lnTo>
                    <a:pt x="337" y="291"/>
                  </a:lnTo>
                  <a:lnTo>
                    <a:pt x="415" y="331"/>
                  </a:lnTo>
                  <a:lnTo>
                    <a:pt x="501" y="367"/>
                  </a:lnTo>
                  <a:lnTo>
                    <a:pt x="591" y="402"/>
                  </a:lnTo>
                  <a:lnTo>
                    <a:pt x="688" y="433"/>
                  </a:lnTo>
                  <a:lnTo>
                    <a:pt x="789" y="459"/>
                  </a:lnTo>
                  <a:lnTo>
                    <a:pt x="897" y="483"/>
                  </a:lnTo>
                  <a:lnTo>
                    <a:pt x="1009" y="503"/>
                  </a:lnTo>
                  <a:lnTo>
                    <a:pt x="1125" y="519"/>
                  </a:lnTo>
                  <a:lnTo>
                    <a:pt x="1243" y="530"/>
                  </a:lnTo>
                  <a:lnTo>
                    <a:pt x="1367" y="538"/>
                  </a:lnTo>
                  <a:lnTo>
                    <a:pt x="1493" y="539"/>
                  </a:lnTo>
                  <a:lnTo>
                    <a:pt x="1635" y="536"/>
                  </a:lnTo>
                  <a:lnTo>
                    <a:pt x="1774" y="527"/>
                  </a:lnTo>
                  <a:lnTo>
                    <a:pt x="1908" y="513"/>
                  </a:lnTo>
                  <a:lnTo>
                    <a:pt x="1908" y="938"/>
                  </a:lnTo>
                  <a:lnTo>
                    <a:pt x="1774" y="952"/>
                  </a:lnTo>
                  <a:lnTo>
                    <a:pt x="1635" y="961"/>
                  </a:lnTo>
                  <a:lnTo>
                    <a:pt x="1493" y="964"/>
                  </a:lnTo>
                  <a:lnTo>
                    <a:pt x="1363" y="961"/>
                  </a:lnTo>
                  <a:lnTo>
                    <a:pt x="1239" y="955"/>
                  </a:lnTo>
                  <a:lnTo>
                    <a:pt x="1115" y="942"/>
                  </a:lnTo>
                  <a:lnTo>
                    <a:pt x="997" y="925"/>
                  </a:lnTo>
                  <a:lnTo>
                    <a:pt x="883" y="905"/>
                  </a:lnTo>
                  <a:lnTo>
                    <a:pt x="774" y="880"/>
                  </a:lnTo>
                  <a:lnTo>
                    <a:pt x="671" y="852"/>
                  </a:lnTo>
                  <a:lnTo>
                    <a:pt x="573" y="820"/>
                  </a:lnTo>
                  <a:lnTo>
                    <a:pt x="480" y="784"/>
                  </a:lnTo>
                  <a:lnTo>
                    <a:pt x="395" y="745"/>
                  </a:lnTo>
                  <a:lnTo>
                    <a:pt x="317" y="703"/>
                  </a:lnTo>
                  <a:lnTo>
                    <a:pt x="246" y="659"/>
                  </a:lnTo>
                  <a:lnTo>
                    <a:pt x="184" y="613"/>
                  </a:lnTo>
                  <a:lnTo>
                    <a:pt x="129" y="563"/>
                  </a:lnTo>
                  <a:lnTo>
                    <a:pt x="84" y="511"/>
                  </a:lnTo>
                  <a:lnTo>
                    <a:pt x="48" y="458"/>
                  </a:lnTo>
                  <a:lnTo>
                    <a:pt x="22" y="402"/>
                  </a:lnTo>
                  <a:lnTo>
                    <a:pt x="6" y="344"/>
                  </a:lnTo>
                  <a:lnTo>
                    <a:pt x="0" y="286"/>
                  </a:lnTo>
                  <a:lnTo>
                    <a:pt x="0" y="139"/>
                  </a:lnTo>
                  <a:lnTo>
                    <a:pt x="3" y="92"/>
                  </a:lnTo>
                  <a:lnTo>
                    <a:pt x="14" y="45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EEBB1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uk-UA"/>
            </a:p>
          </p:txBody>
        </p:sp>
        <p:sp>
          <p:nvSpPr>
            <p:cNvPr id="78" name="Freeform 94"/>
            <p:cNvSpPr>
              <a:spLocks/>
            </p:cNvSpPr>
            <p:nvPr/>
          </p:nvSpPr>
          <p:spPr bwMode="auto">
            <a:xfrm>
              <a:off x="1593" y="2615"/>
              <a:ext cx="982" cy="482"/>
            </a:xfrm>
            <a:custGeom>
              <a:avLst/>
              <a:gdLst>
                <a:gd name="T0" fmla="*/ 8 w 1964"/>
                <a:gd name="T1" fmla="*/ 0 h 964"/>
                <a:gd name="T2" fmla="*/ 16 w 1964"/>
                <a:gd name="T3" fmla="*/ 14 h 964"/>
                <a:gd name="T4" fmla="*/ 25 w 1964"/>
                <a:gd name="T5" fmla="*/ 27 h 964"/>
                <a:gd name="T6" fmla="*/ 37 w 1964"/>
                <a:gd name="T7" fmla="*/ 40 h 964"/>
                <a:gd name="T8" fmla="*/ 51 w 1964"/>
                <a:gd name="T9" fmla="*/ 51 h 964"/>
                <a:gd name="T10" fmla="*/ 67 w 1964"/>
                <a:gd name="T11" fmla="*/ 63 h 964"/>
                <a:gd name="T12" fmla="*/ 85 w 1964"/>
                <a:gd name="T13" fmla="*/ 73 h 964"/>
                <a:gd name="T14" fmla="*/ 104 w 1964"/>
                <a:gd name="T15" fmla="*/ 83 h 964"/>
                <a:gd name="T16" fmla="*/ 126 w 1964"/>
                <a:gd name="T17" fmla="*/ 93 h 964"/>
                <a:gd name="T18" fmla="*/ 148 w 1964"/>
                <a:gd name="T19" fmla="*/ 101 h 964"/>
                <a:gd name="T20" fmla="*/ 172 w 1964"/>
                <a:gd name="T21" fmla="*/ 109 h 964"/>
                <a:gd name="T22" fmla="*/ 198 w 1964"/>
                <a:gd name="T23" fmla="*/ 115 h 964"/>
                <a:gd name="T24" fmla="*/ 225 w 1964"/>
                <a:gd name="T25" fmla="*/ 122 h 964"/>
                <a:gd name="T26" fmla="*/ 253 w 1964"/>
                <a:gd name="T27" fmla="*/ 126 h 964"/>
                <a:gd name="T28" fmla="*/ 282 w 1964"/>
                <a:gd name="T29" fmla="*/ 130 h 964"/>
                <a:gd name="T30" fmla="*/ 311 w 1964"/>
                <a:gd name="T31" fmla="*/ 133 h 964"/>
                <a:gd name="T32" fmla="*/ 342 w 1964"/>
                <a:gd name="T33" fmla="*/ 135 h 964"/>
                <a:gd name="T34" fmla="*/ 374 w 1964"/>
                <a:gd name="T35" fmla="*/ 135 h 964"/>
                <a:gd name="T36" fmla="*/ 409 w 1964"/>
                <a:gd name="T37" fmla="*/ 134 h 964"/>
                <a:gd name="T38" fmla="*/ 444 w 1964"/>
                <a:gd name="T39" fmla="*/ 132 h 964"/>
                <a:gd name="T40" fmla="*/ 477 w 1964"/>
                <a:gd name="T41" fmla="*/ 129 h 964"/>
                <a:gd name="T42" fmla="*/ 477 w 1964"/>
                <a:gd name="T43" fmla="*/ 174 h 964"/>
                <a:gd name="T44" fmla="*/ 479 w 1964"/>
                <a:gd name="T45" fmla="*/ 189 h 964"/>
                <a:gd name="T46" fmla="*/ 481 w 1964"/>
                <a:gd name="T47" fmla="*/ 204 h 964"/>
                <a:gd name="T48" fmla="*/ 485 w 1964"/>
                <a:gd name="T49" fmla="*/ 219 h 964"/>
                <a:gd name="T50" fmla="*/ 491 w 1964"/>
                <a:gd name="T51" fmla="*/ 233 h 964"/>
                <a:gd name="T52" fmla="*/ 463 w 1964"/>
                <a:gd name="T53" fmla="*/ 237 h 964"/>
                <a:gd name="T54" fmla="*/ 434 w 1964"/>
                <a:gd name="T55" fmla="*/ 240 h 964"/>
                <a:gd name="T56" fmla="*/ 404 w 1964"/>
                <a:gd name="T57" fmla="*/ 241 h 964"/>
                <a:gd name="T58" fmla="*/ 374 w 1964"/>
                <a:gd name="T59" fmla="*/ 241 h 964"/>
                <a:gd name="T60" fmla="*/ 341 w 1964"/>
                <a:gd name="T61" fmla="*/ 241 h 964"/>
                <a:gd name="T62" fmla="*/ 310 w 1964"/>
                <a:gd name="T63" fmla="*/ 239 h 964"/>
                <a:gd name="T64" fmla="*/ 279 w 1964"/>
                <a:gd name="T65" fmla="*/ 236 h 964"/>
                <a:gd name="T66" fmla="*/ 250 w 1964"/>
                <a:gd name="T67" fmla="*/ 232 h 964"/>
                <a:gd name="T68" fmla="*/ 221 w 1964"/>
                <a:gd name="T69" fmla="*/ 227 h 964"/>
                <a:gd name="T70" fmla="*/ 194 w 1964"/>
                <a:gd name="T71" fmla="*/ 221 h 964"/>
                <a:gd name="T72" fmla="*/ 168 w 1964"/>
                <a:gd name="T73" fmla="*/ 214 h 964"/>
                <a:gd name="T74" fmla="*/ 144 w 1964"/>
                <a:gd name="T75" fmla="*/ 206 h 964"/>
                <a:gd name="T76" fmla="*/ 120 w 1964"/>
                <a:gd name="T77" fmla="*/ 197 h 964"/>
                <a:gd name="T78" fmla="*/ 99 w 1964"/>
                <a:gd name="T79" fmla="*/ 187 h 964"/>
                <a:gd name="T80" fmla="*/ 80 w 1964"/>
                <a:gd name="T81" fmla="*/ 177 h 964"/>
                <a:gd name="T82" fmla="*/ 62 w 1964"/>
                <a:gd name="T83" fmla="*/ 165 h 964"/>
                <a:gd name="T84" fmla="*/ 46 w 1964"/>
                <a:gd name="T85" fmla="*/ 154 h 964"/>
                <a:gd name="T86" fmla="*/ 33 w 1964"/>
                <a:gd name="T87" fmla="*/ 141 h 964"/>
                <a:gd name="T88" fmla="*/ 21 w 1964"/>
                <a:gd name="T89" fmla="*/ 128 h 964"/>
                <a:gd name="T90" fmla="*/ 12 w 1964"/>
                <a:gd name="T91" fmla="*/ 115 h 964"/>
                <a:gd name="T92" fmla="*/ 6 w 1964"/>
                <a:gd name="T93" fmla="*/ 101 h 964"/>
                <a:gd name="T94" fmla="*/ 2 w 1964"/>
                <a:gd name="T95" fmla="*/ 87 h 964"/>
                <a:gd name="T96" fmla="*/ 0 w 1964"/>
                <a:gd name="T97" fmla="*/ 72 h 964"/>
                <a:gd name="T98" fmla="*/ 0 w 1964"/>
                <a:gd name="T99" fmla="*/ 35 h 964"/>
                <a:gd name="T100" fmla="*/ 1 w 1964"/>
                <a:gd name="T101" fmla="*/ 23 h 964"/>
                <a:gd name="T102" fmla="*/ 4 w 1964"/>
                <a:gd name="T103" fmla="*/ 12 h 964"/>
                <a:gd name="T104" fmla="*/ 8 w 1964"/>
                <a:gd name="T105" fmla="*/ 0 h 9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964" h="964">
                  <a:moveTo>
                    <a:pt x="31" y="0"/>
                  </a:moveTo>
                  <a:lnTo>
                    <a:pt x="61" y="55"/>
                  </a:lnTo>
                  <a:lnTo>
                    <a:pt x="100" y="107"/>
                  </a:lnTo>
                  <a:lnTo>
                    <a:pt x="147" y="157"/>
                  </a:lnTo>
                  <a:lnTo>
                    <a:pt x="203" y="203"/>
                  </a:lnTo>
                  <a:lnTo>
                    <a:pt x="267" y="249"/>
                  </a:lnTo>
                  <a:lnTo>
                    <a:pt x="337" y="291"/>
                  </a:lnTo>
                  <a:lnTo>
                    <a:pt x="415" y="332"/>
                  </a:lnTo>
                  <a:lnTo>
                    <a:pt x="501" y="369"/>
                  </a:lnTo>
                  <a:lnTo>
                    <a:pt x="591" y="402"/>
                  </a:lnTo>
                  <a:lnTo>
                    <a:pt x="688" y="433"/>
                  </a:lnTo>
                  <a:lnTo>
                    <a:pt x="789" y="460"/>
                  </a:lnTo>
                  <a:lnTo>
                    <a:pt x="897" y="485"/>
                  </a:lnTo>
                  <a:lnTo>
                    <a:pt x="1009" y="503"/>
                  </a:lnTo>
                  <a:lnTo>
                    <a:pt x="1125" y="519"/>
                  </a:lnTo>
                  <a:lnTo>
                    <a:pt x="1243" y="530"/>
                  </a:lnTo>
                  <a:lnTo>
                    <a:pt x="1367" y="538"/>
                  </a:lnTo>
                  <a:lnTo>
                    <a:pt x="1493" y="539"/>
                  </a:lnTo>
                  <a:lnTo>
                    <a:pt x="1635" y="536"/>
                  </a:lnTo>
                  <a:lnTo>
                    <a:pt x="1774" y="528"/>
                  </a:lnTo>
                  <a:lnTo>
                    <a:pt x="1908" y="513"/>
                  </a:lnTo>
                  <a:lnTo>
                    <a:pt x="1908" y="694"/>
                  </a:lnTo>
                  <a:lnTo>
                    <a:pt x="1913" y="755"/>
                  </a:lnTo>
                  <a:lnTo>
                    <a:pt x="1922" y="814"/>
                  </a:lnTo>
                  <a:lnTo>
                    <a:pt x="1939" y="874"/>
                  </a:lnTo>
                  <a:lnTo>
                    <a:pt x="1964" y="930"/>
                  </a:lnTo>
                  <a:lnTo>
                    <a:pt x="1850" y="946"/>
                  </a:lnTo>
                  <a:lnTo>
                    <a:pt x="1735" y="957"/>
                  </a:lnTo>
                  <a:lnTo>
                    <a:pt x="1615" y="963"/>
                  </a:lnTo>
                  <a:lnTo>
                    <a:pt x="1493" y="964"/>
                  </a:lnTo>
                  <a:lnTo>
                    <a:pt x="1363" y="963"/>
                  </a:lnTo>
                  <a:lnTo>
                    <a:pt x="1239" y="955"/>
                  </a:lnTo>
                  <a:lnTo>
                    <a:pt x="1115" y="943"/>
                  </a:lnTo>
                  <a:lnTo>
                    <a:pt x="997" y="927"/>
                  </a:lnTo>
                  <a:lnTo>
                    <a:pt x="883" y="907"/>
                  </a:lnTo>
                  <a:lnTo>
                    <a:pt x="774" y="882"/>
                  </a:lnTo>
                  <a:lnTo>
                    <a:pt x="671" y="854"/>
                  </a:lnTo>
                  <a:lnTo>
                    <a:pt x="573" y="821"/>
                  </a:lnTo>
                  <a:lnTo>
                    <a:pt x="480" y="785"/>
                  </a:lnTo>
                  <a:lnTo>
                    <a:pt x="395" y="747"/>
                  </a:lnTo>
                  <a:lnTo>
                    <a:pt x="317" y="705"/>
                  </a:lnTo>
                  <a:lnTo>
                    <a:pt x="246" y="660"/>
                  </a:lnTo>
                  <a:lnTo>
                    <a:pt x="184" y="613"/>
                  </a:lnTo>
                  <a:lnTo>
                    <a:pt x="129" y="563"/>
                  </a:lnTo>
                  <a:lnTo>
                    <a:pt x="84" y="511"/>
                  </a:lnTo>
                  <a:lnTo>
                    <a:pt x="48" y="458"/>
                  </a:lnTo>
                  <a:lnTo>
                    <a:pt x="22" y="402"/>
                  </a:lnTo>
                  <a:lnTo>
                    <a:pt x="6" y="346"/>
                  </a:lnTo>
                  <a:lnTo>
                    <a:pt x="0" y="286"/>
                  </a:lnTo>
                  <a:lnTo>
                    <a:pt x="0" y="139"/>
                  </a:lnTo>
                  <a:lnTo>
                    <a:pt x="3" y="92"/>
                  </a:lnTo>
                  <a:lnTo>
                    <a:pt x="14" y="46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EEBB1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uk-UA"/>
            </a:p>
          </p:txBody>
        </p:sp>
        <p:sp>
          <p:nvSpPr>
            <p:cNvPr id="79" name="Freeform 95"/>
            <p:cNvSpPr>
              <a:spLocks/>
            </p:cNvSpPr>
            <p:nvPr/>
          </p:nvSpPr>
          <p:spPr bwMode="auto">
            <a:xfrm>
              <a:off x="2669" y="1015"/>
              <a:ext cx="1493" cy="752"/>
            </a:xfrm>
            <a:custGeom>
              <a:avLst/>
              <a:gdLst>
                <a:gd name="T0" fmla="*/ 406 w 2986"/>
                <a:gd name="T1" fmla="*/ 1 h 1503"/>
                <a:gd name="T2" fmla="*/ 468 w 2986"/>
                <a:gd name="T3" fmla="*/ 6 h 1503"/>
                <a:gd name="T4" fmla="*/ 526 w 2986"/>
                <a:gd name="T5" fmla="*/ 15 h 1503"/>
                <a:gd name="T6" fmla="*/ 579 w 2986"/>
                <a:gd name="T7" fmla="*/ 28 h 1503"/>
                <a:gd name="T8" fmla="*/ 627 w 2986"/>
                <a:gd name="T9" fmla="*/ 45 h 1503"/>
                <a:gd name="T10" fmla="*/ 667 w 2986"/>
                <a:gd name="T11" fmla="*/ 65 h 1503"/>
                <a:gd name="T12" fmla="*/ 701 w 2986"/>
                <a:gd name="T13" fmla="*/ 88 h 1503"/>
                <a:gd name="T14" fmla="*/ 726 w 2986"/>
                <a:gd name="T15" fmla="*/ 114 h 1503"/>
                <a:gd name="T16" fmla="*/ 741 w 2986"/>
                <a:gd name="T17" fmla="*/ 141 h 1503"/>
                <a:gd name="T18" fmla="*/ 747 w 2986"/>
                <a:gd name="T19" fmla="*/ 170 h 1503"/>
                <a:gd name="T20" fmla="*/ 745 w 2986"/>
                <a:gd name="T21" fmla="*/ 221 h 1503"/>
                <a:gd name="T22" fmla="*/ 735 w 2986"/>
                <a:gd name="T23" fmla="*/ 249 h 1503"/>
                <a:gd name="T24" fmla="*/ 715 w 2986"/>
                <a:gd name="T25" fmla="*/ 276 h 1503"/>
                <a:gd name="T26" fmla="*/ 685 w 2986"/>
                <a:gd name="T27" fmla="*/ 300 h 1503"/>
                <a:gd name="T28" fmla="*/ 648 w 2986"/>
                <a:gd name="T29" fmla="*/ 321 h 1503"/>
                <a:gd name="T30" fmla="*/ 604 w 2986"/>
                <a:gd name="T31" fmla="*/ 340 h 1503"/>
                <a:gd name="T32" fmla="*/ 553 w 2986"/>
                <a:gd name="T33" fmla="*/ 355 h 1503"/>
                <a:gd name="T34" fmla="*/ 497 w 2986"/>
                <a:gd name="T35" fmla="*/ 366 h 1503"/>
                <a:gd name="T36" fmla="*/ 437 w 2986"/>
                <a:gd name="T37" fmla="*/ 373 h 1503"/>
                <a:gd name="T38" fmla="*/ 374 w 2986"/>
                <a:gd name="T39" fmla="*/ 376 h 1503"/>
                <a:gd name="T40" fmla="*/ 310 w 2986"/>
                <a:gd name="T41" fmla="*/ 373 h 1503"/>
                <a:gd name="T42" fmla="*/ 250 w 2986"/>
                <a:gd name="T43" fmla="*/ 366 h 1503"/>
                <a:gd name="T44" fmla="*/ 194 w 2986"/>
                <a:gd name="T45" fmla="*/ 355 h 1503"/>
                <a:gd name="T46" fmla="*/ 144 w 2986"/>
                <a:gd name="T47" fmla="*/ 340 h 1503"/>
                <a:gd name="T48" fmla="*/ 99 w 2986"/>
                <a:gd name="T49" fmla="*/ 321 h 1503"/>
                <a:gd name="T50" fmla="*/ 62 w 2986"/>
                <a:gd name="T51" fmla="*/ 300 h 1503"/>
                <a:gd name="T52" fmla="*/ 33 w 2986"/>
                <a:gd name="T53" fmla="*/ 276 h 1503"/>
                <a:gd name="T54" fmla="*/ 13 w 2986"/>
                <a:gd name="T55" fmla="*/ 249 h 1503"/>
                <a:gd name="T56" fmla="*/ 2 w 2986"/>
                <a:gd name="T57" fmla="*/ 221 h 1503"/>
                <a:gd name="T58" fmla="*/ 0 w 2986"/>
                <a:gd name="T59" fmla="*/ 170 h 1503"/>
                <a:gd name="T60" fmla="*/ 6 w 2986"/>
                <a:gd name="T61" fmla="*/ 141 h 1503"/>
                <a:gd name="T62" fmla="*/ 21 w 2986"/>
                <a:gd name="T63" fmla="*/ 114 h 1503"/>
                <a:gd name="T64" fmla="*/ 46 w 2986"/>
                <a:gd name="T65" fmla="*/ 88 h 1503"/>
                <a:gd name="T66" fmla="*/ 80 w 2986"/>
                <a:gd name="T67" fmla="*/ 65 h 1503"/>
                <a:gd name="T68" fmla="*/ 121 w 2986"/>
                <a:gd name="T69" fmla="*/ 45 h 1503"/>
                <a:gd name="T70" fmla="*/ 168 w 2986"/>
                <a:gd name="T71" fmla="*/ 28 h 1503"/>
                <a:gd name="T72" fmla="*/ 222 w 2986"/>
                <a:gd name="T73" fmla="*/ 15 h 1503"/>
                <a:gd name="T74" fmla="*/ 280 w 2986"/>
                <a:gd name="T75" fmla="*/ 6 h 1503"/>
                <a:gd name="T76" fmla="*/ 341 w 2986"/>
                <a:gd name="T77" fmla="*/ 1 h 150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986" h="1503">
                  <a:moveTo>
                    <a:pt x="1493" y="0"/>
                  </a:moveTo>
                  <a:lnTo>
                    <a:pt x="1623" y="1"/>
                  </a:lnTo>
                  <a:lnTo>
                    <a:pt x="1747" y="9"/>
                  </a:lnTo>
                  <a:lnTo>
                    <a:pt x="1869" y="22"/>
                  </a:lnTo>
                  <a:lnTo>
                    <a:pt x="1988" y="37"/>
                  </a:lnTo>
                  <a:lnTo>
                    <a:pt x="2102" y="58"/>
                  </a:lnTo>
                  <a:lnTo>
                    <a:pt x="2211" y="83"/>
                  </a:lnTo>
                  <a:lnTo>
                    <a:pt x="2315" y="111"/>
                  </a:lnTo>
                  <a:lnTo>
                    <a:pt x="2414" y="144"/>
                  </a:lnTo>
                  <a:lnTo>
                    <a:pt x="2506" y="180"/>
                  </a:lnTo>
                  <a:lnTo>
                    <a:pt x="2590" y="217"/>
                  </a:lnTo>
                  <a:lnTo>
                    <a:pt x="2668" y="259"/>
                  </a:lnTo>
                  <a:lnTo>
                    <a:pt x="2740" y="305"/>
                  </a:lnTo>
                  <a:lnTo>
                    <a:pt x="2802" y="351"/>
                  </a:lnTo>
                  <a:lnTo>
                    <a:pt x="2857" y="401"/>
                  </a:lnTo>
                  <a:lnTo>
                    <a:pt x="2902" y="453"/>
                  </a:lnTo>
                  <a:lnTo>
                    <a:pt x="2938" y="506"/>
                  </a:lnTo>
                  <a:lnTo>
                    <a:pt x="2964" y="562"/>
                  </a:lnTo>
                  <a:lnTo>
                    <a:pt x="2980" y="619"/>
                  </a:lnTo>
                  <a:lnTo>
                    <a:pt x="2986" y="678"/>
                  </a:lnTo>
                  <a:lnTo>
                    <a:pt x="2986" y="825"/>
                  </a:lnTo>
                  <a:lnTo>
                    <a:pt x="2980" y="883"/>
                  </a:lnTo>
                  <a:lnTo>
                    <a:pt x="2964" y="941"/>
                  </a:lnTo>
                  <a:lnTo>
                    <a:pt x="2938" y="995"/>
                  </a:lnTo>
                  <a:lnTo>
                    <a:pt x="2902" y="1050"/>
                  </a:lnTo>
                  <a:lnTo>
                    <a:pt x="2857" y="1102"/>
                  </a:lnTo>
                  <a:lnTo>
                    <a:pt x="2802" y="1150"/>
                  </a:lnTo>
                  <a:lnTo>
                    <a:pt x="2740" y="1198"/>
                  </a:lnTo>
                  <a:lnTo>
                    <a:pt x="2668" y="1242"/>
                  </a:lnTo>
                  <a:lnTo>
                    <a:pt x="2590" y="1284"/>
                  </a:lnTo>
                  <a:lnTo>
                    <a:pt x="2506" y="1323"/>
                  </a:lnTo>
                  <a:lnTo>
                    <a:pt x="2414" y="1358"/>
                  </a:lnTo>
                  <a:lnTo>
                    <a:pt x="2315" y="1391"/>
                  </a:lnTo>
                  <a:lnTo>
                    <a:pt x="2211" y="1419"/>
                  </a:lnTo>
                  <a:lnTo>
                    <a:pt x="2102" y="1444"/>
                  </a:lnTo>
                  <a:lnTo>
                    <a:pt x="1988" y="1464"/>
                  </a:lnTo>
                  <a:lnTo>
                    <a:pt x="1869" y="1481"/>
                  </a:lnTo>
                  <a:lnTo>
                    <a:pt x="1747" y="1492"/>
                  </a:lnTo>
                  <a:lnTo>
                    <a:pt x="1623" y="1500"/>
                  </a:lnTo>
                  <a:lnTo>
                    <a:pt x="1493" y="1503"/>
                  </a:lnTo>
                  <a:lnTo>
                    <a:pt x="1364" y="1500"/>
                  </a:lnTo>
                  <a:lnTo>
                    <a:pt x="1239" y="1492"/>
                  </a:lnTo>
                  <a:lnTo>
                    <a:pt x="1117" y="1481"/>
                  </a:lnTo>
                  <a:lnTo>
                    <a:pt x="999" y="1464"/>
                  </a:lnTo>
                  <a:lnTo>
                    <a:pt x="885" y="1444"/>
                  </a:lnTo>
                  <a:lnTo>
                    <a:pt x="776" y="1419"/>
                  </a:lnTo>
                  <a:lnTo>
                    <a:pt x="671" y="1391"/>
                  </a:lnTo>
                  <a:lnTo>
                    <a:pt x="573" y="1358"/>
                  </a:lnTo>
                  <a:lnTo>
                    <a:pt x="481" y="1323"/>
                  </a:lnTo>
                  <a:lnTo>
                    <a:pt x="396" y="1284"/>
                  </a:lnTo>
                  <a:lnTo>
                    <a:pt x="318" y="1242"/>
                  </a:lnTo>
                  <a:lnTo>
                    <a:pt x="247" y="1198"/>
                  </a:lnTo>
                  <a:lnTo>
                    <a:pt x="184" y="1150"/>
                  </a:lnTo>
                  <a:lnTo>
                    <a:pt x="130" y="1102"/>
                  </a:lnTo>
                  <a:lnTo>
                    <a:pt x="84" y="1050"/>
                  </a:lnTo>
                  <a:lnTo>
                    <a:pt x="49" y="995"/>
                  </a:lnTo>
                  <a:lnTo>
                    <a:pt x="22" y="941"/>
                  </a:lnTo>
                  <a:lnTo>
                    <a:pt x="6" y="883"/>
                  </a:lnTo>
                  <a:lnTo>
                    <a:pt x="0" y="825"/>
                  </a:lnTo>
                  <a:lnTo>
                    <a:pt x="0" y="678"/>
                  </a:lnTo>
                  <a:lnTo>
                    <a:pt x="6" y="619"/>
                  </a:lnTo>
                  <a:lnTo>
                    <a:pt x="22" y="562"/>
                  </a:lnTo>
                  <a:lnTo>
                    <a:pt x="49" y="506"/>
                  </a:lnTo>
                  <a:lnTo>
                    <a:pt x="84" y="453"/>
                  </a:lnTo>
                  <a:lnTo>
                    <a:pt x="130" y="401"/>
                  </a:lnTo>
                  <a:lnTo>
                    <a:pt x="184" y="351"/>
                  </a:lnTo>
                  <a:lnTo>
                    <a:pt x="247" y="305"/>
                  </a:lnTo>
                  <a:lnTo>
                    <a:pt x="318" y="259"/>
                  </a:lnTo>
                  <a:lnTo>
                    <a:pt x="396" y="217"/>
                  </a:lnTo>
                  <a:lnTo>
                    <a:pt x="481" y="180"/>
                  </a:lnTo>
                  <a:lnTo>
                    <a:pt x="573" y="144"/>
                  </a:lnTo>
                  <a:lnTo>
                    <a:pt x="671" y="111"/>
                  </a:lnTo>
                  <a:lnTo>
                    <a:pt x="776" y="83"/>
                  </a:lnTo>
                  <a:lnTo>
                    <a:pt x="885" y="58"/>
                  </a:lnTo>
                  <a:lnTo>
                    <a:pt x="999" y="37"/>
                  </a:lnTo>
                  <a:lnTo>
                    <a:pt x="1117" y="22"/>
                  </a:lnTo>
                  <a:lnTo>
                    <a:pt x="1239" y="9"/>
                  </a:lnTo>
                  <a:lnTo>
                    <a:pt x="1364" y="1"/>
                  </a:lnTo>
                  <a:lnTo>
                    <a:pt x="1493" y="0"/>
                  </a:lnTo>
                  <a:close/>
                </a:path>
              </a:pathLst>
            </a:custGeom>
            <a:solidFill>
              <a:srgbClr val="EEBB1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uk-UA"/>
            </a:p>
          </p:txBody>
        </p:sp>
        <p:sp>
          <p:nvSpPr>
            <p:cNvPr id="80" name="Freeform 96"/>
            <p:cNvSpPr>
              <a:spLocks/>
            </p:cNvSpPr>
            <p:nvPr/>
          </p:nvSpPr>
          <p:spPr bwMode="auto">
            <a:xfrm>
              <a:off x="2669" y="1663"/>
              <a:ext cx="1493" cy="482"/>
            </a:xfrm>
            <a:custGeom>
              <a:avLst/>
              <a:gdLst>
                <a:gd name="T0" fmla="*/ 16 w 2986"/>
                <a:gd name="T1" fmla="*/ 13 h 965"/>
                <a:gd name="T2" fmla="*/ 37 w 2986"/>
                <a:gd name="T3" fmla="*/ 38 h 965"/>
                <a:gd name="T4" fmla="*/ 67 w 2986"/>
                <a:gd name="T5" fmla="*/ 62 h 965"/>
                <a:gd name="T6" fmla="*/ 105 w 2986"/>
                <a:gd name="T7" fmla="*/ 83 h 965"/>
                <a:gd name="T8" fmla="*/ 148 w 2986"/>
                <a:gd name="T9" fmla="*/ 100 h 965"/>
                <a:gd name="T10" fmla="*/ 198 w 2986"/>
                <a:gd name="T11" fmla="*/ 115 h 965"/>
                <a:gd name="T12" fmla="*/ 253 w 2986"/>
                <a:gd name="T13" fmla="*/ 126 h 965"/>
                <a:gd name="T14" fmla="*/ 312 w 2986"/>
                <a:gd name="T15" fmla="*/ 132 h 965"/>
                <a:gd name="T16" fmla="*/ 374 w 2986"/>
                <a:gd name="T17" fmla="*/ 134 h 965"/>
                <a:gd name="T18" fmla="*/ 436 w 2986"/>
                <a:gd name="T19" fmla="*/ 132 h 965"/>
                <a:gd name="T20" fmla="*/ 495 w 2986"/>
                <a:gd name="T21" fmla="*/ 126 h 965"/>
                <a:gd name="T22" fmla="*/ 549 w 2986"/>
                <a:gd name="T23" fmla="*/ 115 h 965"/>
                <a:gd name="T24" fmla="*/ 599 w 2986"/>
                <a:gd name="T25" fmla="*/ 100 h 965"/>
                <a:gd name="T26" fmla="*/ 643 w 2986"/>
                <a:gd name="T27" fmla="*/ 83 h 965"/>
                <a:gd name="T28" fmla="*/ 680 w 2986"/>
                <a:gd name="T29" fmla="*/ 62 h 965"/>
                <a:gd name="T30" fmla="*/ 710 w 2986"/>
                <a:gd name="T31" fmla="*/ 38 h 965"/>
                <a:gd name="T32" fmla="*/ 732 w 2986"/>
                <a:gd name="T33" fmla="*/ 13 h 965"/>
                <a:gd name="T34" fmla="*/ 743 w 2986"/>
                <a:gd name="T35" fmla="*/ 11 h 965"/>
                <a:gd name="T36" fmla="*/ 747 w 2986"/>
                <a:gd name="T37" fmla="*/ 34 h 965"/>
                <a:gd name="T38" fmla="*/ 745 w 2986"/>
                <a:gd name="T39" fmla="*/ 86 h 965"/>
                <a:gd name="T40" fmla="*/ 735 w 2986"/>
                <a:gd name="T41" fmla="*/ 114 h 965"/>
                <a:gd name="T42" fmla="*/ 715 w 2986"/>
                <a:gd name="T43" fmla="*/ 140 h 965"/>
                <a:gd name="T44" fmla="*/ 685 w 2986"/>
                <a:gd name="T45" fmla="*/ 165 h 965"/>
                <a:gd name="T46" fmla="*/ 648 w 2986"/>
                <a:gd name="T47" fmla="*/ 186 h 965"/>
                <a:gd name="T48" fmla="*/ 604 w 2986"/>
                <a:gd name="T49" fmla="*/ 205 h 965"/>
                <a:gd name="T50" fmla="*/ 553 w 2986"/>
                <a:gd name="T51" fmla="*/ 220 h 965"/>
                <a:gd name="T52" fmla="*/ 497 w 2986"/>
                <a:gd name="T53" fmla="*/ 231 h 965"/>
                <a:gd name="T54" fmla="*/ 437 w 2986"/>
                <a:gd name="T55" fmla="*/ 238 h 965"/>
                <a:gd name="T56" fmla="*/ 374 w 2986"/>
                <a:gd name="T57" fmla="*/ 241 h 965"/>
                <a:gd name="T58" fmla="*/ 310 w 2986"/>
                <a:gd name="T59" fmla="*/ 238 h 965"/>
                <a:gd name="T60" fmla="*/ 250 w 2986"/>
                <a:gd name="T61" fmla="*/ 231 h 965"/>
                <a:gd name="T62" fmla="*/ 194 w 2986"/>
                <a:gd name="T63" fmla="*/ 220 h 965"/>
                <a:gd name="T64" fmla="*/ 144 w 2986"/>
                <a:gd name="T65" fmla="*/ 205 h 965"/>
                <a:gd name="T66" fmla="*/ 99 w 2986"/>
                <a:gd name="T67" fmla="*/ 186 h 965"/>
                <a:gd name="T68" fmla="*/ 62 w 2986"/>
                <a:gd name="T69" fmla="*/ 165 h 965"/>
                <a:gd name="T70" fmla="*/ 33 w 2986"/>
                <a:gd name="T71" fmla="*/ 140 h 965"/>
                <a:gd name="T72" fmla="*/ 13 w 2986"/>
                <a:gd name="T73" fmla="*/ 114 h 965"/>
                <a:gd name="T74" fmla="*/ 2 w 2986"/>
                <a:gd name="T75" fmla="*/ 86 h 965"/>
                <a:gd name="T76" fmla="*/ 0 w 2986"/>
                <a:gd name="T77" fmla="*/ 34 h 965"/>
                <a:gd name="T78" fmla="*/ 4 w 2986"/>
                <a:gd name="T79" fmla="*/ 11 h 965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86" h="965">
                  <a:moveTo>
                    <a:pt x="31" y="0"/>
                  </a:moveTo>
                  <a:lnTo>
                    <a:pt x="61" y="53"/>
                  </a:lnTo>
                  <a:lnTo>
                    <a:pt x="100" y="107"/>
                  </a:lnTo>
                  <a:lnTo>
                    <a:pt x="148" y="155"/>
                  </a:lnTo>
                  <a:lnTo>
                    <a:pt x="203" y="203"/>
                  </a:lnTo>
                  <a:lnTo>
                    <a:pt x="267" y="249"/>
                  </a:lnTo>
                  <a:lnTo>
                    <a:pt x="339" y="291"/>
                  </a:lnTo>
                  <a:lnTo>
                    <a:pt x="417" y="332"/>
                  </a:lnTo>
                  <a:lnTo>
                    <a:pt x="501" y="368"/>
                  </a:lnTo>
                  <a:lnTo>
                    <a:pt x="591" y="402"/>
                  </a:lnTo>
                  <a:lnTo>
                    <a:pt x="688" y="433"/>
                  </a:lnTo>
                  <a:lnTo>
                    <a:pt x="791" y="460"/>
                  </a:lnTo>
                  <a:lnTo>
                    <a:pt x="897" y="483"/>
                  </a:lnTo>
                  <a:lnTo>
                    <a:pt x="1010" y="504"/>
                  </a:lnTo>
                  <a:lnTo>
                    <a:pt x="1125" y="519"/>
                  </a:lnTo>
                  <a:lnTo>
                    <a:pt x="1245" y="530"/>
                  </a:lnTo>
                  <a:lnTo>
                    <a:pt x="1367" y="538"/>
                  </a:lnTo>
                  <a:lnTo>
                    <a:pt x="1493" y="539"/>
                  </a:lnTo>
                  <a:lnTo>
                    <a:pt x="1620" y="538"/>
                  </a:lnTo>
                  <a:lnTo>
                    <a:pt x="1741" y="530"/>
                  </a:lnTo>
                  <a:lnTo>
                    <a:pt x="1861" y="519"/>
                  </a:lnTo>
                  <a:lnTo>
                    <a:pt x="1977" y="504"/>
                  </a:lnTo>
                  <a:lnTo>
                    <a:pt x="2089" y="483"/>
                  </a:lnTo>
                  <a:lnTo>
                    <a:pt x="2195" y="460"/>
                  </a:lnTo>
                  <a:lnTo>
                    <a:pt x="2298" y="433"/>
                  </a:lnTo>
                  <a:lnTo>
                    <a:pt x="2395" y="402"/>
                  </a:lnTo>
                  <a:lnTo>
                    <a:pt x="2485" y="368"/>
                  </a:lnTo>
                  <a:lnTo>
                    <a:pt x="2570" y="332"/>
                  </a:lnTo>
                  <a:lnTo>
                    <a:pt x="2648" y="291"/>
                  </a:lnTo>
                  <a:lnTo>
                    <a:pt x="2719" y="249"/>
                  </a:lnTo>
                  <a:lnTo>
                    <a:pt x="2783" y="203"/>
                  </a:lnTo>
                  <a:lnTo>
                    <a:pt x="2838" y="155"/>
                  </a:lnTo>
                  <a:lnTo>
                    <a:pt x="2886" y="107"/>
                  </a:lnTo>
                  <a:lnTo>
                    <a:pt x="2925" y="53"/>
                  </a:lnTo>
                  <a:lnTo>
                    <a:pt x="2953" y="0"/>
                  </a:lnTo>
                  <a:lnTo>
                    <a:pt x="2972" y="46"/>
                  </a:lnTo>
                  <a:lnTo>
                    <a:pt x="2981" y="93"/>
                  </a:lnTo>
                  <a:lnTo>
                    <a:pt x="2986" y="139"/>
                  </a:lnTo>
                  <a:lnTo>
                    <a:pt x="2986" y="286"/>
                  </a:lnTo>
                  <a:lnTo>
                    <a:pt x="2980" y="346"/>
                  </a:lnTo>
                  <a:lnTo>
                    <a:pt x="2964" y="402"/>
                  </a:lnTo>
                  <a:lnTo>
                    <a:pt x="2938" y="458"/>
                  </a:lnTo>
                  <a:lnTo>
                    <a:pt x="2902" y="511"/>
                  </a:lnTo>
                  <a:lnTo>
                    <a:pt x="2857" y="563"/>
                  </a:lnTo>
                  <a:lnTo>
                    <a:pt x="2802" y="613"/>
                  </a:lnTo>
                  <a:lnTo>
                    <a:pt x="2740" y="660"/>
                  </a:lnTo>
                  <a:lnTo>
                    <a:pt x="2668" y="705"/>
                  </a:lnTo>
                  <a:lnTo>
                    <a:pt x="2590" y="746"/>
                  </a:lnTo>
                  <a:lnTo>
                    <a:pt x="2506" y="785"/>
                  </a:lnTo>
                  <a:lnTo>
                    <a:pt x="2414" y="821"/>
                  </a:lnTo>
                  <a:lnTo>
                    <a:pt x="2315" y="852"/>
                  </a:lnTo>
                  <a:lnTo>
                    <a:pt x="2211" y="882"/>
                  </a:lnTo>
                  <a:lnTo>
                    <a:pt x="2102" y="905"/>
                  </a:lnTo>
                  <a:lnTo>
                    <a:pt x="1988" y="927"/>
                  </a:lnTo>
                  <a:lnTo>
                    <a:pt x="1869" y="943"/>
                  </a:lnTo>
                  <a:lnTo>
                    <a:pt x="1747" y="955"/>
                  </a:lnTo>
                  <a:lnTo>
                    <a:pt x="1623" y="961"/>
                  </a:lnTo>
                  <a:lnTo>
                    <a:pt x="1493" y="965"/>
                  </a:lnTo>
                  <a:lnTo>
                    <a:pt x="1364" y="961"/>
                  </a:lnTo>
                  <a:lnTo>
                    <a:pt x="1239" y="955"/>
                  </a:lnTo>
                  <a:lnTo>
                    <a:pt x="1117" y="943"/>
                  </a:lnTo>
                  <a:lnTo>
                    <a:pt x="999" y="927"/>
                  </a:lnTo>
                  <a:lnTo>
                    <a:pt x="885" y="905"/>
                  </a:lnTo>
                  <a:lnTo>
                    <a:pt x="776" y="882"/>
                  </a:lnTo>
                  <a:lnTo>
                    <a:pt x="671" y="852"/>
                  </a:lnTo>
                  <a:lnTo>
                    <a:pt x="573" y="821"/>
                  </a:lnTo>
                  <a:lnTo>
                    <a:pt x="481" y="785"/>
                  </a:lnTo>
                  <a:lnTo>
                    <a:pt x="396" y="746"/>
                  </a:lnTo>
                  <a:lnTo>
                    <a:pt x="318" y="705"/>
                  </a:lnTo>
                  <a:lnTo>
                    <a:pt x="247" y="660"/>
                  </a:lnTo>
                  <a:lnTo>
                    <a:pt x="184" y="613"/>
                  </a:lnTo>
                  <a:lnTo>
                    <a:pt x="130" y="563"/>
                  </a:lnTo>
                  <a:lnTo>
                    <a:pt x="84" y="511"/>
                  </a:lnTo>
                  <a:lnTo>
                    <a:pt x="49" y="458"/>
                  </a:lnTo>
                  <a:lnTo>
                    <a:pt x="22" y="402"/>
                  </a:lnTo>
                  <a:lnTo>
                    <a:pt x="6" y="346"/>
                  </a:lnTo>
                  <a:lnTo>
                    <a:pt x="0" y="286"/>
                  </a:lnTo>
                  <a:lnTo>
                    <a:pt x="0" y="139"/>
                  </a:lnTo>
                  <a:lnTo>
                    <a:pt x="5" y="93"/>
                  </a:lnTo>
                  <a:lnTo>
                    <a:pt x="14" y="46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EEBB1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uk-UA"/>
            </a:p>
          </p:txBody>
        </p:sp>
        <p:sp>
          <p:nvSpPr>
            <p:cNvPr id="81" name="Freeform 97"/>
            <p:cNvSpPr>
              <a:spLocks/>
            </p:cNvSpPr>
            <p:nvPr/>
          </p:nvSpPr>
          <p:spPr bwMode="auto">
            <a:xfrm>
              <a:off x="2669" y="2042"/>
              <a:ext cx="1493" cy="481"/>
            </a:xfrm>
            <a:custGeom>
              <a:avLst/>
              <a:gdLst>
                <a:gd name="T0" fmla="*/ 16 w 2986"/>
                <a:gd name="T1" fmla="*/ 13 h 963"/>
                <a:gd name="T2" fmla="*/ 37 w 2986"/>
                <a:gd name="T3" fmla="*/ 38 h 963"/>
                <a:gd name="T4" fmla="*/ 67 w 2986"/>
                <a:gd name="T5" fmla="*/ 61 h 963"/>
                <a:gd name="T6" fmla="*/ 105 w 2986"/>
                <a:gd name="T7" fmla="*/ 82 h 963"/>
                <a:gd name="T8" fmla="*/ 148 w 2986"/>
                <a:gd name="T9" fmla="*/ 100 h 963"/>
                <a:gd name="T10" fmla="*/ 198 w 2986"/>
                <a:gd name="T11" fmla="*/ 115 h 963"/>
                <a:gd name="T12" fmla="*/ 253 w 2986"/>
                <a:gd name="T13" fmla="*/ 125 h 963"/>
                <a:gd name="T14" fmla="*/ 312 w 2986"/>
                <a:gd name="T15" fmla="*/ 132 h 963"/>
                <a:gd name="T16" fmla="*/ 374 w 2986"/>
                <a:gd name="T17" fmla="*/ 134 h 963"/>
                <a:gd name="T18" fmla="*/ 436 w 2986"/>
                <a:gd name="T19" fmla="*/ 132 h 963"/>
                <a:gd name="T20" fmla="*/ 495 w 2986"/>
                <a:gd name="T21" fmla="*/ 125 h 963"/>
                <a:gd name="T22" fmla="*/ 549 w 2986"/>
                <a:gd name="T23" fmla="*/ 115 h 963"/>
                <a:gd name="T24" fmla="*/ 599 w 2986"/>
                <a:gd name="T25" fmla="*/ 100 h 963"/>
                <a:gd name="T26" fmla="*/ 643 w 2986"/>
                <a:gd name="T27" fmla="*/ 82 h 963"/>
                <a:gd name="T28" fmla="*/ 680 w 2986"/>
                <a:gd name="T29" fmla="*/ 61 h 963"/>
                <a:gd name="T30" fmla="*/ 710 w 2986"/>
                <a:gd name="T31" fmla="*/ 38 h 963"/>
                <a:gd name="T32" fmla="*/ 732 w 2986"/>
                <a:gd name="T33" fmla="*/ 13 h 963"/>
                <a:gd name="T34" fmla="*/ 743 w 2986"/>
                <a:gd name="T35" fmla="*/ 11 h 963"/>
                <a:gd name="T36" fmla="*/ 747 w 2986"/>
                <a:gd name="T37" fmla="*/ 34 h 963"/>
                <a:gd name="T38" fmla="*/ 745 w 2986"/>
                <a:gd name="T39" fmla="*/ 86 h 963"/>
                <a:gd name="T40" fmla="*/ 735 w 2986"/>
                <a:gd name="T41" fmla="*/ 114 h 963"/>
                <a:gd name="T42" fmla="*/ 715 w 2986"/>
                <a:gd name="T43" fmla="*/ 140 h 963"/>
                <a:gd name="T44" fmla="*/ 685 w 2986"/>
                <a:gd name="T45" fmla="*/ 164 h 963"/>
                <a:gd name="T46" fmla="*/ 648 w 2986"/>
                <a:gd name="T47" fmla="*/ 186 h 963"/>
                <a:gd name="T48" fmla="*/ 604 w 2986"/>
                <a:gd name="T49" fmla="*/ 204 h 963"/>
                <a:gd name="T50" fmla="*/ 553 w 2986"/>
                <a:gd name="T51" fmla="*/ 220 h 963"/>
                <a:gd name="T52" fmla="*/ 497 w 2986"/>
                <a:gd name="T53" fmla="*/ 231 h 963"/>
                <a:gd name="T54" fmla="*/ 437 w 2986"/>
                <a:gd name="T55" fmla="*/ 238 h 963"/>
                <a:gd name="T56" fmla="*/ 374 w 2986"/>
                <a:gd name="T57" fmla="*/ 240 h 963"/>
                <a:gd name="T58" fmla="*/ 310 w 2986"/>
                <a:gd name="T59" fmla="*/ 238 h 963"/>
                <a:gd name="T60" fmla="*/ 250 w 2986"/>
                <a:gd name="T61" fmla="*/ 231 h 963"/>
                <a:gd name="T62" fmla="*/ 194 w 2986"/>
                <a:gd name="T63" fmla="*/ 220 h 963"/>
                <a:gd name="T64" fmla="*/ 144 w 2986"/>
                <a:gd name="T65" fmla="*/ 204 h 963"/>
                <a:gd name="T66" fmla="*/ 99 w 2986"/>
                <a:gd name="T67" fmla="*/ 186 h 963"/>
                <a:gd name="T68" fmla="*/ 62 w 2986"/>
                <a:gd name="T69" fmla="*/ 164 h 963"/>
                <a:gd name="T70" fmla="*/ 33 w 2986"/>
                <a:gd name="T71" fmla="*/ 140 h 963"/>
                <a:gd name="T72" fmla="*/ 13 w 2986"/>
                <a:gd name="T73" fmla="*/ 114 h 963"/>
                <a:gd name="T74" fmla="*/ 2 w 2986"/>
                <a:gd name="T75" fmla="*/ 86 h 963"/>
                <a:gd name="T76" fmla="*/ 0 w 2986"/>
                <a:gd name="T77" fmla="*/ 34 h 963"/>
                <a:gd name="T78" fmla="*/ 4 w 2986"/>
                <a:gd name="T79" fmla="*/ 11 h 96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86" h="963">
                  <a:moveTo>
                    <a:pt x="31" y="0"/>
                  </a:moveTo>
                  <a:lnTo>
                    <a:pt x="61" y="53"/>
                  </a:lnTo>
                  <a:lnTo>
                    <a:pt x="100" y="105"/>
                  </a:lnTo>
                  <a:lnTo>
                    <a:pt x="148" y="155"/>
                  </a:lnTo>
                  <a:lnTo>
                    <a:pt x="203" y="202"/>
                  </a:lnTo>
                  <a:lnTo>
                    <a:pt x="267" y="247"/>
                  </a:lnTo>
                  <a:lnTo>
                    <a:pt x="339" y="291"/>
                  </a:lnTo>
                  <a:lnTo>
                    <a:pt x="417" y="330"/>
                  </a:lnTo>
                  <a:lnTo>
                    <a:pt x="501" y="367"/>
                  </a:lnTo>
                  <a:lnTo>
                    <a:pt x="591" y="402"/>
                  </a:lnTo>
                  <a:lnTo>
                    <a:pt x="688" y="432"/>
                  </a:lnTo>
                  <a:lnTo>
                    <a:pt x="791" y="460"/>
                  </a:lnTo>
                  <a:lnTo>
                    <a:pt x="897" y="483"/>
                  </a:lnTo>
                  <a:lnTo>
                    <a:pt x="1010" y="502"/>
                  </a:lnTo>
                  <a:lnTo>
                    <a:pt x="1125" y="518"/>
                  </a:lnTo>
                  <a:lnTo>
                    <a:pt x="1245" y="530"/>
                  </a:lnTo>
                  <a:lnTo>
                    <a:pt x="1367" y="536"/>
                  </a:lnTo>
                  <a:lnTo>
                    <a:pt x="1493" y="539"/>
                  </a:lnTo>
                  <a:lnTo>
                    <a:pt x="1620" y="536"/>
                  </a:lnTo>
                  <a:lnTo>
                    <a:pt x="1741" y="530"/>
                  </a:lnTo>
                  <a:lnTo>
                    <a:pt x="1861" y="518"/>
                  </a:lnTo>
                  <a:lnTo>
                    <a:pt x="1977" y="502"/>
                  </a:lnTo>
                  <a:lnTo>
                    <a:pt x="2089" y="483"/>
                  </a:lnTo>
                  <a:lnTo>
                    <a:pt x="2195" y="460"/>
                  </a:lnTo>
                  <a:lnTo>
                    <a:pt x="2298" y="432"/>
                  </a:lnTo>
                  <a:lnTo>
                    <a:pt x="2395" y="402"/>
                  </a:lnTo>
                  <a:lnTo>
                    <a:pt x="2485" y="367"/>
                  </a:lnTo>
                  <a:lnTo>
                    <a:pt x="2570" y="330"/>
                  </a:lnTo>
                  <a:lnTo>
                    <a:pt x="2648" y="291"/>
                  </a:lnTo>
                  <a:lnTo>
                    <a:pt x="2719" y="247"/>
                  </a:lnTo>
                  <a:lnTo>
                    <a:pt x="2783" y="202"/>
                  </a:lnTo>
                  <a:lnTo>
                    <a:pt x="2838" y="155"/>
                  </a:lnTo>
                  <a:lnTo>
                    <a:pt x="2886" y="105"/>
                  </a:lnTo>
                  <a:lnTo>
                    <a:pt x="2925" y="53"/>
                  </a:lnTo>
                  <a:lnTo>
                    <a:pt x="2953" y="0"/>
                  </a:lnTo>
                  <a:lnTo>
                    <a:pt x="2972" y="46"/>
                  </a:lnTo>
                  <a:lnTo>
                    <a:pt x="2981" y="91"/>
                  </a:lnTo>
                  <a:lnTo>
                    <a:pt x="2986" y="138"/>
                  </a:lnTo>
                  <a:lnTo>
                    <a:pt x="2986" y="286"/>
                  </a:lnTo>
                  <a:lnTo>
                    <a:pt x="2980" y="344"/>
                  </a:lnTo>
                  <a:lnTo>
                    <a:pt x="2964" y="402"/>
                  </a:lnTo>
                  <a:lnTo>
                    <a:pt x="2938" y="457"/>
                  </a:lnTo>
                  <a:lnTo>
                    <a:pt x="2902" y="510"/>
                  </a:lnTo>
                  <a:lnTo>
                    <a:pt x="2857" y="563"/>
                  </a:lnTo>
                  <a:lnTo>
                    <a:pt x="2802" y="611"/>
                  </a:lnTo>
                  <a:lnTo>
                    <a:pt x="2740" y="658"/>
                  </a:lnTo>
                  <a:lnTo>
                    <a:pt x="2668" y="703"/>
                  </a:lnTo>
                  <a:lnTo>
                    <a:pt x="2590" y="746"/>
                  </a:lnTo>
                  <a:lnTo>
                    <a:pt x="2506" y="785"/>
                  </a:lnTo>
                  <a:lnTo>
                    <a:pt x="2414" y="819"/>
                  </a:lnTo>
                  <a:lnTo>
                    <a:pt x="2315" y="852"/>
                  </a:lnTo>
                  <a:lnTo>
                    <a:pt x="2211" y="880"/>
                  </a:lnTo>
                  <a:lnTo>
                    <a:pt x="2102" y="905"/>
                  </a:lnTo>
                  <a:lnTo>
                    <a:pt x="1988" y="925"/>
                  </a:lnTo>
                  <a:lnTo>
                    <a:pt x="1869" y="943"/>
                  </a:lnTo>
                  <a:lnTo>
                    <a:pt x="1747" y="954"/>
                  </a:lnTo>
                  <a:lnTo>
                    <a:pt x="1623" y="961"/>
                  </a:lnTo>
                  <a:lnTo>
                    <a:pt x="1493" y="963"/>
                  </a:lnTo>
                  <a:lnTo>
                    <a:pt x="1364" y="961"/>
                  </a:lnTo>
                  <a:lnTo>
                    <a:pt x="1239" y="954"/>
                  </a:lnTo>
                  <a:lnTo>
                    <a:pt x="1117" y="943"/>
                  </a:lnTo>
                  <a:lnTo>
                    <a:pt x="999" y="925"/>
                  </a:lnTo>
                  <a:lnTo>
                    <a:pt x="885" y="905"/>
                  </a:lnTo>
                  <a:lnTo>
                    <a:pt x="776" y="880"/>
                  </a:lnTo>
                  <a:lnTo>
                    <a:pt x="671" y="852"/>
                  </a:lnTo>
                  <a:lnTo>
                    <a:pt x="573" y="819"/>
                  </a:lnTo>
                  <a:lnTo>
                    <a:pt x="481" y="785"/>
                  </a:lnTo>
                  <a:lnTo>
                    <a:pt x="396" y="746"/>
                  </a:lnTo>
                  <a:lnTo>
                    <a:pt x="318" y="703"/>
                  </a:lnTo>
                  <a:lnTo>
                    <a:pt x="247" y="658"/>
                  </a:lnTo>
                  <a:lnTo>
                    <a:pt x="184" y="611"/>
                  </a:lnTo>
                  <a:lnTo>
                    <a:pt x="130" y="563"/>
                  </a:lnTo>
                  <a:lnTo>
                    <a:pt x="84" y="510"/>
                  </a:lnTo>
                  <a:lnTo>
                    <a:pt x="49" y="457"/>
                  </a:lnTo>
                  <a:lnTo>
                    <a:pt x="22" y="402"/>
                  </a:lnTo>
                  <a:lnTo>
                    <a:pt x="6" y="344"/>
                  </a:lnTo>
                  <a:lnTo>
                    <a:pt x="0" y="286"/>
                  </a:lnTo>
                  <a:lnTo>
                    <a:pt x="0" y="138"/>
                  </a:lnTo>
                  <a:lnTo>
                    <a:pt x="5" y="91"/>
                  </a:lnTo>
                  <a:lnTo>
                    <a:pt x="14" y="46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EEBB1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uk-UA"/>
            </a:p>
          </p:txBody>
        </p:sp>
        <p:sp>
          <p:nvSpPr>
            <p:cNvPr id="82" name="Freeform 98"/>
            <p:cNvSpPr>
              <a:spLocks/>
            </p:cNvSpPr>
            <p:nvPr/>
          </p:nvSpPr>
          <p:spPr bwMode="auto">
            <a:xfrm>
              <a:off x="2669" y="2440"/>
              <a:ext cx="1493" cy="482"/>
            </a:xfrm>
            <a:custGeom>
              <a:avLst/>
              <a:gdLst>
                <a:gd name="T0" fmla="*/ 16 w 2986"/>
                <a:gd name="T1" fmla="*/ 14 h 964"/>
                <a:gd name="T2" fmla="*/ 37 w 2986"/>
                <a:gd name="T3" fmla="*/ 39 h 964"/>
                <a:gd name="T4" fmla="*/ 67 w 2986"/>
                <a:gd name="T5" fmla="*/ 63 h 964"/>
                <a:gd name="T6" fmla="*/ 105 w 2986"/>
                <a:gd name="T7" fmla="*/ 83 h 964"/>
                <a:gd name="T8" fmla="*/ 148 w 2986"/>
                <a:gd name="T9" fmla="*/ 101 h 964"/>
                <a:gd name="T10" fmla="*/ 198 w 2986"/>
                <a:gd name="T11" fmla="*/ 115 h 964"/>
                <a:gd name="T12" fmla="*/ 253 w 2986"/>
                <a:gd name="T13" fmla="*/ 126 h 964"/>
                <a:gd name="T14" fmla="*/ 312 w 2986"/>
                <a:gd name="T15" fmla="*/ 133 h 964"/>
                <a:gd name="T16" fmla="*/ 374 w 2986"/>
                <a:gd name="T17" fmla="*/ 135 h 964"/>
                <a:gd name="T18" fmla="*/ 436 w 2986"/>
                <a:gd name="T19" fmla="*/ 133 h 964"/>
                <a:gd name="T20" fmla="*/ 495 w 2986"/>
                <a:gd name="T21" fmla="*/ 126 h 964"/>
                <a:gd name="T22" fmla="*/ 549 w 2986"/>
                <a:gd name="T23" fmla="*/ 115 h 964"/>
                <a:gd name="T24" fmla="*/ 599 w 2986"/>
                <a:gd name="T25" fmla="*/ 101 h 964"/>
                <a:gd name="T26" fmla="*/ 643 w 2986"/>
                <a:gd name="T27" fmla="*/ 83 h 964"/>
                <a:gd name="T28" fmla="*/ 680 w 2986"/>
                <a:gd name="T29" fmla="*/ 63 h 964"/>
                <a:gd name="T30" fmla="*/ 710 w 2986"/>
                <a:gd name="T31" fmla="*/ 39 h 964"/>
                <a:gd name="T32" fmla="*/ 732 w 2986"/>
                <a:gd name="T33" fmla="*/ 14 h 964"/>
                <a:gd name="T34" fmla="*/ 743 w 2986"/>
                <a:gd name="T35" fmla="*/ 12 h 964"/>
                <a:gd name="T36" fmla="*/ 747 w 2986"/>
                <a:gd name="T37" fmla="*/ 35 h 964"/>
                <a:gd name="T38" fmla="*/ 745 w 2986"/>
                <a:gd name="T39" fmla="*/ 87 h 964"/>
                <a:gd name="T40" fmla="*/ 735 w 2986"/>
                <a:gd name="T41" fmla="*/ 115 h 964"/>
                <a:gd name="T42" fmla="*/ 715 w 2986"/>
                <a:gd name="T43" fmla="*/ 141 h 964"/>
                <a:gd name="T44" fmla="*/ 685 w 2986"/>
                <a:gd name="T45" fmla="*/ 165 h 964"/>
                <a:gd name="T46" fmla="*/ 648 w 2986"/>
                <a:gd name="T47" fmla="*/ 187 h 964"/>
                <a:gd name="T48" fmla="*/ 604 w 2986"/>
                <a:gd name="T49" fmla="*/ 206 h 964"/>
                <a:gd name="T50" fmla="*/ 553 w 2986"/>
                <a:gd name="T51" fmla="*/ 221 h 964"/>
                <a:gd name="T52" fmla="*/ 497 w 2986"/>
                <a:gd name="T53" fmla="*/ 232 h 964"/>
                <a:gd name="T54" fmla="*/ 437 w 2986"/>
                <a:gd name="T55" fmla="*/ 239 h 964"/>
                <a:gd name="T56" fmla="*/ 374 w 2986"/>
                <a:gd name="T57" fmla="*/ 241 h 964"/>
                <a:gd name="T58" fmla="*/ 310 w 2986"/>
                <a:gd name="T59" fmla="*/ 239 h 964"/>
                <a:gd name="T60" fmla="*/ 250 w 2986"/>
                <a:gd name="T61" fmla="*/ 232 h 964"/>
                <a:gd name="T62" fmla="*/ 194 w 2986"/>
                <a:gd name="T63" fmla="*/ 221 h 964"/>
                <a:gd name="T64" fmla="*/ 144 w 2986"/>
                <a:gd name="T65" fmla="*/ 206 h 964"/>
                <a:gd name="T66" fmla="*/ 99 w 2986"/>
                <a:gd name="T67" fmla="*/ 187 h 964"/>
                <a:gd name="T68" fmla="*/ 62 w 2986"/>
                <a:gd name="T69" fmla="*/ 165 h 964"/>
                <a:gd name="T70" fmla="*/ 33 w 2986"/>
                <a:gd name="T71" fmla="*/ 141 h 964"/>
                <a:gd name="T72" fmla="*/ 13 w 2986"/>
                <a:gd name="T73" fmla="*/ 115 h 964"/>
                <a:gd name="T74" fmla="*/ 2 w 2986"/>
                <a:gd name="T75" fmla="*/ 87 h 964"/>
                <a:gd name="T76" fmla="*/ 0 w 2986"/>
                <a:gd name="T77" fmla="*/ 35 h 964"/>
                <a:gd name="T78" fmla="*/ 4 w 2986"/>
                <a:gd name="T79" fmla="*/ 12 h 96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86" h="964">
                  <a:moveTo>
                    <a:pt x="31" y="0"/>
                  </a:moveTo>
                  <a:lnTo>
                    <a:pt x="61" y="53"/>
                  </a:lnTo>
                  <a:lnTo>
                    <a:pt x="100" y="105"/>
                  </a:lnTo>
                  <a:lnTo>
                    <a:pt x="148" y="155"/>
                  </a:lnTo>
                  <a:lnTo>
                    <a:pt x="203" y="203"/>
                  </a:lnTo>
                  <a:lnTo>
                    <a:pt x="267" y="249"/>
                  </a:lnTo>
                  <a:lnTo>
                    <a:pt x="339" y="291"/>
                  </a:lnTo>
                  <a:lnTo>
                    <a:pt x="417" y="332"/>
                  </a:lnTo>
                  <a:lnTo>
                    <a:pt x="501" y="367"/>
                  </a:lnTo>
                  <a:lnTo>
                    <a:pt x="591" y="402"/>
                  </a:lnTo>
                  <a:lnTo>
                    <a:pt x="688" y="433"/>
                  </a:lnTo>
                  <a:lnTo>
                    <a:pt x="791" y="460"/>
                  </a:lnTo>
                  <a:lnTo>
                    <a:pt x="897" y="483"/>
                  </a:lnTo>
                  <a:lnTo>
                    <a:pt x="1010" y="503"/>
                  </a:lnTo>
                  <a:lnTo>
                    <a:pt x="1125" y="519"/>
                  </a:lnTo>
                  <a:lnTo>
                    <a:pt x="1245" y="530"/>
                  </a:lnTo>
                  <a:lnTo>
                    <a:pt x="1367" y="538"/>
                  </a:lnTo>
                  <a:lnTo>
                    <a:pt x="1493" y="539"/>
                  </a:lnTo>
                  <a:lnTo>
                    <a:pt x="1620" y="538"/>
                  </a:lnTo>
                  <a:lnTo>
                    <a:pt x="1741" y="530"/>
                  </a:lnTo>
                  <a:lnTo>
                    <a:pt x="1861" y="519"/>
                  </a:lnTo>
                  <a:lnTo>
                    <a:pt x="1977" y="503"/>
                  </a:lnTo>
                  <a:lnTo>
                    <a:pt x="2089" y="483"/>
                  </a:lnTo>
                  <a:lnTo>
                    <a:pt x="2195" y="460"/>
                  </a:lnTo>
                  <a:lnTo>
                    <a:pt x="2298" y="433"/>
                  </a:lnTo>
                  <a:lnTo>
                    <a:pt x="2395" y="402"/>
                  </a:lnTo>
                  <a:lnTo>
                    <a:pt x="2485" y="367"/>
                  </a:lnTo>
                  <a:lnTo>
                    <a:pt x="2570" y="332"/>
                  </a:lnTo>
                  <a:lnTo>
                    <a:pt x="2648" y="291"/>
                  </a:lnTo>
                  <a:lnTo>
                    <a:pt x="2719" y="249"/>
                  </a:lnTo>
                  <a:lnTo>
                    <a:pt x="2783" y="203"/>
                  </a:lnTo>
                  <a:lnTo>
                    <a:pt x="2838" y="155"/>
                  </a:lnTo>
                  <a:lnTo>
                    <a:pt x="2886" y="105"/>
                  </a:lnTo>
                  <a:lnTo>
                    <a:pt x="2925" y="53"/>
                  </a:lnTo>
                  <a:lnTo>
                    <a:pt x="2953" y="0"/>
                  </a:lnTo>
                  <a:lnTo>
                    <a:pt x="2972" y="46"/>
                  </a:lnTo>
                  <a:lnTo>
                    <a:pt x="2981" y="92"/>
                  </a:lnTo>
                  <a:lnTo>
                    <a:pt x="2986" y="139"/>
                  </a:lnTo>
                  <a:lnTo>
                    <a:pt x="2986" y="286"/>
                  </a:lnTo>
                  <a:lnTo>
                    <a:pt x="2980" y="346"/>
                  </a:lnTo>
                  <a:lnTo>
                    <a:pt x="2964" y="402"/>
                  </a:lnTo>
                  <a:lnTo>
                    <a:pt x="2938" y="458"/>
                  </a:lnTo>
                  <a:lnTo>
                    <a:pt x="2902" y="511"/>
                  </a:lnTo>
                  <a:lnTo>
                    <a:pt x="2857" y="563"/>
                  </a:lnTo>
                  <a:lnTo>
                    <a:pt x="2802" y="613"/>
                  </a:lnTo>
                  <a:lnTo>
                    <a:pt x="2740" y="660"/>
                  </a:lnTo>
                  <a:lnTo>
                    <a:pt x="2668" y="705"/>
                  </a:lnTo>
                  <a:lnTo>
                    <a:pt x="2590" y="746"/>
                  </a:lnTo>
                  <a:lnTo>
                    <a:pt x="2506" y="785"/>
                  </a:lnTo>
                  <a:lnTo>
                    <a:pt x="2414" y="821"/>
                  </a:lnTo>
                  <a:lnTo>
                    <a:pt x="2315" y="852"/>
                  </a:lnTo>
                  <a:lnTo>
                    <a:pt x="2211" y="882"/>
                  </a:lnTo>
                  <a:lnTo>
                    <a:pt x="2102" y="905"/>
                  </a:lnTo>
                  <a:lnTo>
                    <a:pt x="1988" y="927"/>
                  </a:lnTo>
                  <a:lnTo>
                    <a:pt x="1869" y="943"/>
                  </a:lnTo>
                  <a:lnTo>
                    <a:pt x="1747" y="955"/>
                  </a:lnTo>
                  <a:lnTo>
                    <a:pt x="1623" y="961"/>
                  </a:lnTo>
                  <a:lnTo>
                    <a:pt x="1493" y="964"/>
                  </a:lnTo>
                  <a:lnTo>
                    <a:pt x="1364" y="961"/>
                  </a:lnTo>
                  <a:lnTo>
                    <a:pt x="1239" y="955"/>
                  </a:lnTo>
                  <a:lnTo>
                    <a:pt x="1117" y="943"/>
                  </a:lnTo>
                  <a:lnTo>
                    <a:pt x="999" y="927"/>
                  </a:lnTo>
                  <a:lnTo>
                    <a:pt x="885" y="905"/>
                  </a:lnTo>
                  <a:lnTo>
                    <a:pt x="776" y="882"/>
                  </a:lnTo>
                  <a:lnTo>
                    <a:pt x="671" y="852"/>
                  </a:lnTo>
                  <a:lnTo>
                    <a:pt x="573" y="821"/>
                  </a:lnTo>
                  <a:lnTo>
                    <a:pt x="481" y="785"/>
                  </a:lnTo>
                  <a:lnTo>
                    <a:pt x="396" y="746"/>
                  </a:lnTo>
                  <a:lnTo>
                    <a:pt x="318" y="705"/>
                  </a:lnTo>
                  <a:lnTo>
                    <a:pt x="247" y="660"/>
                  </a:lnTo>
                  <a:lnTo>
                    <a:pt x="184" y="613"/>
                  </a:lnTo>
                  <a:lnTo>
                    <a:pt x="130" y="563"/>
                  </a:lnTo>
                  <a:lnTo>
                    <a:pt x="84" y="511"/>
                  </a:lnTo>
                  <a:lnTo>
                    <a:pt x="49" y="458"/>
                  </a:lnTo>
                  <a:lnTo>
                    <a:pt x="22" y="402"/>
                  </a:lnTo>
                  <a:lnTo>
                    <a:pt x="6" y="346"/>
                  </a:lnTo>
                  <a:lnTo>
                    <a:pt x="0" y="286"/>
                  </a:lnTo>
                  <a:lnTo>
                    <a:pt x="0" y="139"/>
                  </a:lnTo>
                  <a:lnTo>
                    <a:pt x="5" y="92"/>
                  </a:lnTo>
                  <a:lnTo>
                    <a:pt x="14" y="46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EEBB1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uk-UA"/>
            </a:p>
          </p:txBody>
        </p:sp>
        <p:sp>
          <p:nvSpPr>
            <p:cNvPr id="83" name="Freeform 99"/>
            <p:cNvSpPr>
              <a:spLocks/>
            </p:cNvSpPr>
            <p:nvPr/>
          </p:nvSpPr>
          <p:spPr bwMode="auto">
            <a:xfrm>
              <a:off x="2669" y="2819"/>
              <a:ext cx="1493" cy="481"/>
            </a:xfrm>
            <a:custGeom>
              <a:avLst/>
              <a:gdLst>
                <a:gd name="T0" fmla="*/ 16 w 2986"/>
                <a:gd name="T1" fmla="*/ 13 h 963"/>
                <a:gd name="T2" fmla="*/ 37 w 2986"/>
                <a:gd name="T3" fmla="*/ 38 h 963"/>
                <a:gd name="T4" fmla="*/ 67 w 2986"/>
                <a:gd name="T5" fmla="*/ 61 h 963"/>
                <a:gd name="T6" fmla="*/ 105 w 2986"/>
                <a:gd name="T7" fmla="*/ 82 h 963"/>
                <a:gd name="T8" fmla="*/ 148 w 2986"/>
                <a:gd name="T9" fmla="*/ 100 h 963"/>
                <a:gd name="T10" fmla="*/ 198 w 2986"/>
                <a:gd name="T11" fmla="*/ 115 h 963"/>
                <a:gd name="T12" fmla="*/ 253 w 2986"/>
                <a:gd name="T13" fmla="*/ 125 h 963"/>
                <a:gd name="T14" fmla="*/ 312 w 2986"/>
                <a:gd name="T15" fmla="*/ 132 h 963"/>
                <a:gd name="T16" fmla="*/ 374 w 2986"/>
                <a:gd name="T17" fmla="*/ 134 h 963"/>
                <a:gd name="T18" fmla="*/ 436 w 2986"/>
                <a:gd name="T19" fmla="*/ 132 h 963"/>
                <a:gd name="T20" fmla="*/ 495 w 2986"/>
                <a:gd name="T21" fmla="*/ 125 h 963"/>
                <a:gd name="T22" fmla="*/ 549 w 2986"/>
                <a:gd name="T23" fmla="*/ 115 h 963"/>
                <a:gd name="T24" fmla="*/ 599 w 2986"/>
                <a:gd name="T25" fmla="*/ 100 h 963"/>
                <a:gd name="T26" fmla="*/ 643 w 2986"/>
                <a:gd name="T27" fmla="*/ 82 h 963"/>
                <a:gd name="T28" fmla="*/ 680 w 2986"/>
                <a:gd name="T29" fmla="*/ 61 h 963"/>
                <a:gd name="T30" fmla="*/ 710 w 2986"/>
                <a:gd name="T31" fmla="*/ 38 h 963"/>
                <a:gd name="T32" fmla="*/ 732 w 2986"/>
                <a:gd name="T33" fmla="*/ 13 h 963"/>
                <a:gd name="T34" fmla="*/ 743 w 2986"/>
                <a:gd name="T35" fmla="*/ 11 h 963"/>
                <a:gd name="T36" fmla="*/ 747 w 2986"/>
                <a:gd name="T37" fmla="*/ 34 h 963"/>
                <a:gd name="T38" fmla="*/ 745 w 2986"/>
                <a:gd name="T39" fmla="*/ 86 h 963"/>
                <a:gd name="T40" fmla="*/ 735 w 2986"/>
                <a:gd name="T41" fmla="*/ 114 h 963"/>
                <a:gd name="T42" fmla="*/ 715 w 2986"/>
                <a:gd name="T43" fmla="*/ 140 h 963"/>
                <a:gd name="T44" fmla="*/ 685 w 2986"/>
                <a:gd name="T45" fmla="*/ 164 h 963"/>
                <a:gd name="T46" fmla="*/ 648 w 2986"/>
                <a:gd name="T47" fmla="*/ 186 h 963"/>
                <a:gd name="T48" fmla="*/ 604 w 2986"/>
                <a:gd name="T49" fmla="*/ 204 h 963"/>
                <a:gd name="T50" fmla="*/ 553 w 2986"/>
                <a:gd name="T51" fmla="*/ 220 h 963"/>
                <a:gd name="T52" fmla="*/ 497 w 2986"/>
                <a:gd name="T53" fmla="*/ 231 h 963"/>
                <a:gd name="T54" fmla="*/ 437 w 2986"/>
                <a:gd name="T55" fmla="*/ 238 h 963"/>
                <a:gd name="T56" fmla="*/ 374 w 2986"/>
                <a:gd name="T57" fmla="*/ 240 h 963"/>
                <a:gd name="T58" fmla="*/ 310 w 2986"/>
                <a:gd name="T59" fmla="*/ 238 h 963"/>
                <a:gd name="T60" fmla="*/ 250 w 2986"/>
                <a:gd name="T61" fmla="*/ 231 h 963"/>
                <a:gd name="T62" fmla="*/ 194 w 2986"/>
                <a:gd name="T63" fmla="*/ 220 h 963"/>
                <a:gd name="T64" fmla="*/ 144 w 2986"/>
                <a:gd name="T65" fmla="*/ 204 h 963"/>
                <a:gd name="T66" fmla="*/ 99 w 2986"/>
                <a:gd name="T67" fmla="*/ 186 h 963"/>
                <a:gd name="T68" fmla="*/ 62 w 2986"/>
                <a:gd name="T69" fmla="*/ 164 h 963"/>
                <a:gd name="T70" fmla="*/ 33 w 2986"/>
                <a:gd name="T71" fmla="*/ 140 h 963"/>
                <a:gd name="T72" fmla="*/ 13 w 2986"/>
                <a:gd name="T73" fmla="*/ 114 h 963"/>
                <a:gd name="T74" fmla="*/ 2 w 2986"/>
                <a:gd name="T75" fmla="*/ 86 h 963"/>
                <a:gd name="T76" fmla="*/ 0 w 2986"/>
                <a:gd name="T77" fmla="*/ 34 h 963"/>
                <a:gd name="T78" fmla="*/ 4 w 2986"/>
                <a:gd name="T79" fmla="*/ 11 h 96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86" h="963">
                  <a:moveTo>
                    <a:pt x="31" y="0"/>
                  </a:moveTo>
                  <a:lnTo>
                    <a:pt x="61" y="53"/>
                  </a:lnTo>
                  <a:lnTo>
                    <a:pt x="100" y="105"/>
                  </a:lnTo>
                  <a:lnTo>
                    <a:pt x="148" y="155"/>
                  </a:lnTo>
                  <a:lnTo>
                    <a:pt x="203" y="202"/>
                  </a:lnTo>
                  <a:lnTo>
                    <a:pt x="267" y="247"/>
                  </a:lnTo>
                  <a:lnTo>
                    <a:pt x="339" y="289"/>
                  </a:lnTo>
                  <a:lnTo>
                    <a:pt x="417" y="330"/>
                  </a:lnTo>
                  <a:lnTo>
                    <a:pt x="501" y="367"/>
                  </a:lnTo>
                  <a:lnTo>
                    <a:pt x="591" y="402"/>
                  </a:lnTo>
                  <a:lnTo>
                    <a:pt x="688" y="431"/>
                  </a:lnTo>
                  <a:lnTo>
                    <a:pt x="791" y="460"/>
                  </a:lnTo>
                  <a:lnTo>
                    <a:pt x="897" y="483"/>
                  </a:lnTo>
                  <a:lnTo>
                    <a:pt x="1010" y="502"/>
                  </a:lnTo>
                  <a:lnTo>
                    <a:pt x="1125" y="517"/>
                  </a:lnTo>
                  <a:lnTo>
                    <a:pt x="1245" y="530"/>
                  </a:lnTo>
                  <a:lnTo>
                    <a:pt x="1367" y="536"/>
                  </a:lnTo>
                  <a:lnTo>
                    <a:pt x="1493" y="539"/>
                  </a:lnTo>
                  <a:lnTo>
                    <a:pt x="1620" y="536"/>
                  </a:lnTo>
                  <a:lnTo>
                    <a:pt x="1741" y="530"/>
                  </a:lnTo>
                  <a:lnTo>
                    <a:pt x="1861" y="517"/>
                  </a:lnTo>
                  <a:lnTo>
                    <a:pt x="1977" y="502"/>
                  </a:lnTo>
                  <a:lnTo>
                    <a:pt x="2089" y="483"/>
                  </a:lnTo>
                  <a:lnTo>
                    <a:pt x="2195" y="460"/>
                  </a:lnTo>
                  <a:lnTo>
                    <a:pt x="2298" y="431"/>
                  </a:lnTo>
                  <a:lnTo>
                    <a:pt x="2395" y="402"/>
                  </a:lnTo>
                  <a:lnTo>
                    <a:pt x="2485" y="367"/>
                  </a:lnTo>
                  <a:lnTo>
                    <a:pt x="2570" y="330"/>
                  </a:lnTo>
                  <a:lnTo>
                    <a:pt x="2648" y="289"/>
                  </a:lnTo>
                  <a:lnTo>
                    <a:pt x="2719" y="247"/>
                  </a:lnTo>
                  <a:lnTo>
                    <a:pt x="2783" y="202"/>
                  </a:lnTo>
                  <a:lnTo>
                    <a:pt x="2838" y="155"/>
                  </a:lnTo>
                  <a:lnTo>
                    <a:pt x="2886" y="105"/>
                  </a:lnTo>
                  <a:lnTo>
                    <a:pt x="2925" y="53"/>
                  </a:lnTo>
                  <a:lnTo>
                    <a:pt x="2953" y="0"/>
                  </a:lnTo>
                  <a:lnTo>
                    <a:pt x="2972" y="45"/>
                  </a:lnTo>
                  <a:lnTo>
                    <a:pt x="2981" y="91"/>
                  </a:lnTo>
                  <a:lnTo>
                    <a:pt x="2986" y="138"/>
                  </a:lnTo>
                  <a:lnTo>
                    <a:pt x="2986" y="286"/>
                  </a:lnTo>
                  <a:lnTo>
                    <a:pt x="2980" y="344"/>
                  </a:lnTo>
                  <a:lnTo>
                    <a:pt x="2964" y="402"/>
                  </a:lnTo>
                  <a:lnTo>
                    <a:pt x="2938" y="456"/>
                  </a:lnTo>
                  <a:lnTo>
                    <a:pt x="2902" y="510"/>
                  </a:lnTo>
                  <a:lnTo>
                    <a:pt x="2857" y="563"/>
                  </a:lnTo>
                  <a:lnTo>
                    <a:pt x="2802" y="611"/>
                  </a:lnTo>
                  <a:lnTo>
                    <a:pt x="2740" y="658"/>
                  </a:lnTo>
                  <a:lnTo>
                    <a:pt x="2668" y="703"/>
                  </a:lnTo>
                  <a:lnTo>
                    <a:pt x="2590" y="746"/>
                  </a:lnTo>
                  <a:lnTo>
                    <a:pt x="2506" y="783"/>
                  </a:lnTo>
                  <a:lnTo>
                    <a:pt x="2414" y="819"/>
                  </a:lnTo>
                  <a:lnTo>
                    <a:pt x="2315" y="852"/>
                  </a:lnTo>
                  <a:lnTo>
                    <a:pt x="2211" y="880"/>
                  </a:lnTo>
                  <a:lnTo>
                    <a:pt x="2102" y="905"/>
                  </a:lnTo>
                  <a:lnTo>
                    <a:pt x="1988" y="925"/>
                  </a:lnTo>
                  <a:lnTo>
                    <a:pt x="1869" y="941"/>
                  </a:lnTo>
                  <a:lnTo>
                    <a:pt x="1747" y="953"/>
                  </a:lnTo>
                  <a:lnTo>
                    <a:pt x="1623" y="961"/>
                  </a:lnTo>
                  <a:lnTo>
                    <a:pt x="1493" y="963"/>
                  </a:lnTo>
                  <a:lnTo>
                    <a:pt x="1364" y="961"/>
                  </a:lnTo>
                  <a:lnTo>
                    <a:pt x="1239" y="953"/>
                  </a:lnTo>
                  <a:lnTo>
                    <a:pt x="1117" y="941"/>
                  </a:lnTo>
                  <a:lnTo>
                    <a:pt x="999" y="925"/>
                  </a:lnTo>
                  <a:lnTo>
                    <a:pt x="885" y="905"/>
                  </a:lnTo>
                  <a:lnTo>
                    <a:pt x="776" y="880"/>
                  </a:lnTo>
                  <a:lnTo>
                    <a:pt x="671" y="852"/>
                  </a:lnTo>
                  <a:lnTo>
                    <a:pt x="573" y="819"/>
                  </a:lnTo>
                  <a:lnTo>
                    <a:pt x="481" y="783"/>
                  </a:lnTo>
                  <a:lnTo>
                    <a:pt x="396" y="746"/>
                  </a:lnTo>
                  <a:lnTo>
                    <a:pt x="318" y="703"/>
                  </a:lnTo>
                  <a:lnTo>
                    <a:pt x="247" y="658"/>
                  </a:lnTo>
                  <a:lnTo>
                    <a:pt x="184" y="611"/>
                  </a:lnTo>
                  <a:lnTo>
                    <a:pt x="130" y="563"/>
                  </a:lnTo>
                  <a:lnTo>
                    <a:pt x="84" y="510"/>
                  </a:lnTo>
                  <a:lnTo>
                    <a:pt x="49" y="456"/>
                  </a:lnTo>
                  <a:lnTo>
                    <a:pt x="22" y="402"/>
                  </a:lnTo>
                  <a:lnTo>
                    <a:pt x="6" y="344"/>
                  </a:lnTo>
                  <a:lnTo>
                    <a:pt x="0" y="286"/>
                  </a:lnTo>
                  <a:lnTo>
                    <a:pt x="0" y="138"/>
                  </a:lnTo>
                  <a:lnTo>
                    <a:pt x="5" y="91"/>
                  </a:lnTo>
                  <a:lnTo>
                    <a:pt x="14" y="45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EEBB1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uk-UA"/>
            </a:p>
          </p:txBody>
        </p:sp>
      </p:grpSp>
      <p:sp>
        <p:nvSpPr>
          <p:cNvPr id="84" name="Скругленная прямоугольная выноска 83"/>
          <p:cNvSpPr/>
          <p:nvPr/>
        </p:nvSpPr>
        <p:spPr bwMode="auto">
          <a:xfrm>
            <a:off x="8057645" y="2689576"/>
            <a:ext cx="2028228" cy="2313308"/>
          </a:xfrm>
          <a:prstGeom prst="wedgeRoundRectCallout">
            <a:avLst>
              <a:gd name="adj1" fmla="val -89613"/>
              <a:gd name="adj2" fmla="val -13927"/>
              <a:gd name="adj3" fmla="val 16667"/>
            </a:avLst>
          </a:prstGeom>
          <a:noFill/>
          <a:ln w="9525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uk-UA" sz="1400" b="1" dirty="0" smtClean="0">
                <a:solidFill>
                  <a:srgbClr val="143B4F"/>
                </a:solidFill>
                <a:latin typeface="Calibri Light" pitchFamily="34" charset="0"/>
              </a:rPr>
              <a:t>ЧЕМ БОЛЬШЕ КОЛИЧЕСТВО СЕЛЬСКИХ  ЖИТЕЛЕЙ И  </a:t>
            </a:r>
            <a:r>
              <a:rPr lang="uk-UA" sz="1400" b="1" dirty="0">
                <a:solidFill>
                  <a:srgbClr val="143B4F"/>
                </a:solidFill>
                <a:latin typeface="Calibri Light" pitchFamily="34" charset="0"/>
              </a:rPr>
              <a:t>ПЛОЩАДЬ </a:t>
            </a:r>
            <a:r>
              <a:rPr lang="uk-UA" sz="1400" b="1" dirty="0" smtClean="0">
                <a:solidFill>
                  <a:srgbClr val="143B4F"/>
                </a:solidFill>
                <a:latin typeface="Calibri Light" pitchFamily="34" charset="0"/>
              </a:rPr>
              <a:t>ТЕРИТОРІИИ,</a:t>
            </a:r>
            <a:endParaRPr lang="uk-UA" sz="1400" b="1" dirty="0">
              <a:solidFill>
                <a:srgbClr val="143B4F"/>
              </a:solidFill>
              <a:latin typeface="Calibri Light" pitchFamily="34" charset="0"/>
            </a:endParaRPr>
          </a:p>
          <a:p>
            <a:pPr algn="ctr"/>
            <a:r>
              <a:rPr lang="uk-UA" sz="1400" b="1" dirty="0" smtClean="0">
                <a:solidFill>
                  <a:srgbClr val="143B4F"/>
                </a:solidFill>
                <a:latin typeface="Calibri Light" pitchFamily="34" charset="0"/>
              </a:rPr>
              <a:t>ТЕМ БОЛЬШЕ РАЗМЕР СУБВЕНЦІИИ  ОТГ</a:t>
            </a:r>
            <a:r>
              <a:rPr lang="uk-UA" sz="1400" b="1" dirty="0">
                <a:solidFill>
                  <a:srgbClr val="143B4F"/>
                </a:solidFill>
                <a:latin typeface="Calibri Light" pitchFamily="34" charset="0"/>
              </a:rPr>
              <a:t>.</a:t>
            </a:r>
          </a:p>
        </p:txBody>
      </p:sp>
      <p:sp>
        <p:nvSpPr>
          <p:cNvPr id="85" name="TextBox 13"/>
          <p:cNvSpPr txBox="1">
            <a:spLocks noChangeArrowheads="1"/>
          </p:cNvSpPr>
          <p:nvPr/>
        </p:nvSpPr>
        <p:spPr bwMode="auto">
          <a:xfrm>
            <a:off x="392394" y="3983609"/>
            <a:ext cx="1925811" cy="584775"/>
          </a:xfrm>
          <a:prstGeom prst="rect">
            <a:avLst/>
          </a:prstGeom>
          <a:solidFill>
            <a:srgbClr val="2B8ACB"/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uk-UA" sz="1600" b="1" dirty="0" smtClean="0">
                <a:solidFill>
                  <a:srgbClr val="143B4F"/>
                </a:solidFill>
                <a:latin typeface="Calibri Light" pitchFamily="34" charset="0"/>
              </a:rPr>
              <a:t>ПЛОЩАДЬ</a:t>
            </a:r>
          </a:p>
          <a:p>
            <a:pPr algn="ctr" eaLnBrk="1" hangingPunct="1"/>
            <a:r>
              <a:rPr lang="uk-UA" sz="1600" b="1" dirty="0" smtClean="0">
                <a:solidFill>
                  <a:srgbClr val="143B4F"/>
                </a:solidFill>
                <a:latin typeface="Calibri Light" pitchFamily="34" charset="0"/>
              </a:rPr>
              <a:t>ОТГ</a:t>
            </a:r>
            <a:endParaRPr lang="uk-UA" sz="1600" b="1" dirty="0">
              <a:solidFill>
                <a:srgbClr val="143B4F"/>
              </a:solidFill>
              <a:latin typeface="Calibri Light" pitchFamily="34" charset="0"/>
            </a:endParaRPr>
          </a:p>
        </p:txBody>
      </p:sp>
      <p:sp>
        <p:nvSpPr>
          <p:cNvPr id="86" name="TextBox 11"/>
          <p:cNvSpPr txBox="1">
            <a:spLocks noChangeArrowheads="1"/>
          </p:cNvSpPr>
          <p:nvPr/>
        </p:nvSpPr>
        <p:spPr bwMode="auto">
          <a:xfrm>
            <a:off x="2763837" y="3966675"/>
            <a:ext cx="2223029" cy="584775"/>
          </a:xfrm>
          <a:prstGeom prst="rect">
            <a:avLst/>
          </a:prstGeom>
          <a:solidFill>
            <a:srgbClr val="2B8ACB"/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uk-UA" sz="1600" b="1" dirty="0" smtClean="0">
                <a:solidFill>
                  <a:srgbClr val="143B4F"/>
                </a:solidFill>
                <a:latin typeface="Calibri Light" pitchFamily="34" charset="0"/>
              </a:rPr>
              <a:t>КОЛИЧЕСТВО НАСЕЛЕНИЯ ОТГ</a:t>
            </a:r>
            <a:endParaRPr lang="en-US" sz="1600" b="1" dirty="0">
              <a:solidFill>
                <a:srgbClr val="143B4F"/>
              </a:solidFill>
              <a:latin typeface="Calibri Light" pitchFamily="34" charset="0"/>
            </a:endParaRPr>
          </a:p>
        </p:txBody>
      </p:sp>
      <p:sp>
        <p:nvSpPr>
          <p:cNvPr id="87" name="TextBox 12"/>
          <p:cNvSpPr txBox="1">
            <a:spLocks noChangeArrowheads="1"/>
          </p:cNvSpPr>
          <p:nvPr/>
        </p:nvSpPr>
        <p:spPr bwMode="auto">
          <a:xfrm>
            <a:off x="5302714" y="3965799"/>
            <a:ext cx="2554353" cy="584775"/>
          </a:xfrm>
          <a:prstGeom prst="rect">
            <a:avLst/>
          </a:prstGeom>
          <a:solidFill>
            <a:srgbClr val="2B8ACB"/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uk-UA" sz="1600" b="1" dirty="0" smtClean="0">
                <a:solidFill>
                  <a:srgbClr val="143B4F"/>
                </a:solidFill>
                <a:latin typeface="Calibri Light" pitchFamily="34" charset="0"/>
              </a:rPr>
              <a:t>РАЗМЕР СУБВЕНЦИИ ДЛЯ ОТГ</a:t>
            </a:r>
            <a:endParaRPr lang="uk-UA" sz="1600" b="1" dirty="0">
              <a:solidFill>
                <a:srgbClr val="143B4F"/>
              </a:solidFill>
              <a:latin typeface="Calibri Light" pitchFamily="34" charset="0"/>
            </a:endParaRPr>
          </a:p>
        </p:txBody>
      </p:sp>
      <p:sp>
        <p:nvSpPr>
          <p:cNvPr id="88" name="Штриховая стрелка вправо 87"/>
          <p:cNvSpPr/>
          <p:nvPr/>
        </p:nvSpPr>
        <p:spPr bwMode="auto">
          <a:xfrm rot="5400000">
            <a:off x="6452391" y="4537341"/>
            <a:ext cx="441092" cy="459611"/>
          </a:xfrm>
          <a:prstGeom prst="stripedRightArrow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uk-UA" sz="1000" b="0" i="0" u="sng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89" name="Скругленная прямоугольная выноска 88"/>
          <p:cNvSpPr/>
          <p:nvPr/>
        </p:nvSpPr>
        <p:spPr bwMode="auto">
          <a:xfrm>
            <a:off x="185220" y="4995333"/>
            <a:ext cx="11854379" cy="1701800"/>
          </a:xfrm>
          <a:prstGeom prst="wedgeRoundRectCallout">
            <a:avLst>
              <a:gd name="adj1" fmla="val 16655"/>
              <a:gd name="adj2" fmla="val -57705"/>
              <a:gd name="adj3" fmla="val 16667"/>
            </a:avLst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342900" indent="-342900">
              <a:buAutoNum type="arabicPeriod"/>
            </a:pPr>
            <a:r>
              <a:rPr lang="uk-UA" sz="1600" b="1" dirty="0">
                <a:solidFill>
                  <a:srgbClr val="143B4F"/>
                </a:solidFill>
                <a:latin typeface="Calibri Light" pitchFamily="34" charset="0"/>
              </a:rPr>
              <a:t>Підвищення якості адмінпослуг: створення ЦНАПів,  комунікаційних мереж, баз даних</a:t>
            </a:r>
          </a:p>
          <a:p>
            <a:pPr marL="342900" indent="-342900">
              <a:buAutoNum type="arabicPeriod"/>
            </a:pPr>
            <a:r>
              <a:rPr lang="uk-UA" sz="1600" b="1" dirty="0">
                <a:solidFill>
                  <a:srgbClr val="143B4F"/>
                </a:solidFill>
                <a:latin typeface="Calibri Light" pitchFamily="34" charset="0"/>
              </a:rPr>
              <a:t>Переобладнання будівель бюджетних установ для пристосування до нових повноважень</a:t>
            </a:r>
          </a:p>
          <a:p>
            <a:pPr marL="342900" indent="-342900">
              <a:buAutoNum type="arabicPeriod"/>
            </a:pPr>
            <a:r>
              <a:rPr lang="uk-UA" sz="1600" b="1" dirty="0">
                <a:solidFill>
                  <a:srgbClr val="143B4F"/>
                </a:solidFill>
                <a:latin typeface="Calibri Light" pitchFamily="34" charset="0"/>
              </a:rPr>
              <a:t>Формування об'єктів інфраструктури: доріг, мостів, переходів</a:t>
            </a:r>
          </a:p>
          <a:p>
            <a:pPr marL="342900" indent="-342900">
              <a:buAutoNum type="arabicPeriod"/>
            </a:pPr>
            <a:r>
              <a:rPr lang="uk-UA" sz="1600" b="1" dirty="0">
                <a:solidFill>
                  <a:srgbClr val="143B4F"/>
                </a:solidFill>
                <a:latin typeface="Calibri Light" pitchFamily="34" charset="0"/>
              </a:rPr>
              <a:t>Закупівля транспортних засобів: автобуси для школярів, спецтехніка (комунальна, </a:t>
            </a:r>
            <a:r>
              <a:rPr lang="uk-UA" sz="1600" b="1" dirty="0" smtClean="0">
                <a:solidFill>
                  <a:srgbClr val="143B4F"/>
                </a:solidFill>
                <a:latin typeface="Calibri Light" pitchFamily="34" charset="0"/>
              </a:rPr>
              <a:t>пожежна, </a:t>
            </a:r>
            <a:r>
              <a:rPr lang="uk-UA" sz="1600" b="1" dirty="0">
                <a:solidFill>
                  <a:srgbClr val="143B4F"/>
                </a:solidFill>
                <a:latin typeface="Calibri Light" pitchFamily="34" charset="0"/>
              </a:rPr>
              <a:t>рятувальна)</a:t>
            </a:r>
          </a:p>
          <a:p>
            <a:pPr marL="342900" indent="-342900">
              <a:buAutoNum type="arabicPeriod"/>
            </a:pPr>
            <a:r>
              <a:rPr lang="uk-UA" sz="1600" b="1" dirty="0">
                <a:solidFill>
                  <a:srgbClr val="143B4F"/>
                </a:solidFill>
                <a:latin typeface="Calibri Light" pitchFamily="34" charset="0"/>
              </a:rPr>
              <a:t>Роботи з благоустрою територій, будівництва мереж життєзабезпечення: водогони, каналізаційні мережі, </a:t>
            </a:r>
            <a:r>
              <a:rPr lang="uk-UA" sz="1600" b="1" dirty="0" err="1">
                <a:solidFill>
                  <a:srgbClr val="143B4F"/>
                </a:solidFill>
                <a:latin typeface="Calibri Light" pitchFamily="34" charset="0"/>
              </a:rPr>
              <a:t>сміттєпереробка</a:t>
            </a:r>
            <a:endParaRPr lang="uk-UA" sz="1600" b="1" dirty="0">
              <a:solidFill>
                <a:srgbClr val="143B4F"/>
              </a:solidFill>
              <a:latin typeface="Calibri Light" pitchFamily="34" charset="0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 smtClean="0"/>
              <a:t>Trieste, 13/12/2016</a:t>
            </a:r>
            <a:endParaRPr lang="it-IT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smtClean="0"/>
              <a:t>INTERNATIONAL PRACTICES IN INTER-MUNICIPAL COOPERATION</a:t>
            </a:r>
            <a:endParaRPr lang="it-IT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D1028-69C3-4FC6-8C6A-2696D319A159}" type="slidenum">
              <a:rPr lang="it-IT" smtClean="0"/>
              <a:pPr/>
              <a:t>11</a:t>
            </a:fld>
            <a:endParaRPr lang="it-IT"/>
          </a:p>
        </p:txBody>
      </p:sp>
      <p:sp>
        <p:nvSpPr>
          <p:cNvPr id="7" name="Прямокутник 2"/>
          <p:cNvSpPr/>
          <p:nvPr/>
        </p:nvSpPr>
        <p:spPr>
          <a:xfrm>
            <a:off x="473215" y="1197948"/>
            <a:ext cx="6306150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uk-UA" sz="9600" dirty="0" smtClean="0"/>
              <a:t>129</a:t>
            </a:r>
            <a:r>
              <a:rPr lang="uk-UA" dirty="0" smtClean="0"/>
              <a:t> </a:t>
            </a:r>
            <a:r>
              <a:rPr lang="uk-UA" sz="3000" dirty="0" err="1" smtClean="0"/>
              <a:t>объединенных</a:t>
            </a:r>
            <a:r>
              <a:rPr lang="uk-UA" sz="3000" dirty="0" smtClean="0"/>
              <a:t> громад</a:t>
            </a:r>
            <a:endParaRPr lang="uk-UA" sz="3000" dirty="0"/>
          </a:p>
        </p:txBody>
      </p:sp>
      <p:sp>
        <p:nvSpPr>
          <p:cNvPr id="8" name="Прямокутник 54"/>
          <p:cNvSpPr/>
          <p:nvPr/>
        </p:nvSpPr>
        <p:spPr>
          <a:xfrm>
            <a:off x="608606" y="2407053"/>
            <a:ext cx="663073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3000" dirty="0" err="1" smtClean="0"/>
              <a:t>готовы</a:t>
            </a:r>
            <a:r>
              <a:rPr lang="uk-UA" sz="3000" dirty="0" smtClean="0"/>
              <a:t> при </a:t>
            </a:r>
            <a:r>
              <a:rPr lang="uk-UA" sz="3000" dirty="0" err="1" smtClean="0"/>
              <a:t>поддержке</a:t>
            </a:r>
            <a:r>
              <a:rPr lang="uk-UA" sz="3000" dirty="0" smtClean="0"/>
              <a:t> </a:t>
            </a:r>
            <a:r>
              <a:rPr lang="uk-UA" sz="3000" dirty="0" err="1" smtClean="0"/>
              <a:t>государства</a:t>
            </a:r>
            <a:r>
              <a:rPr lang="uk-UA" sz="3000" dirty="0" smtClean="0"/>
              <a:t> </a:t>
            </a:r>
            <a:r>
              <a:rPr lang="uk-UA" sz="3000" dirty="0" err="1" smtClean="0"/>
              <a:t>начать</a:t>
            </a:r>
            <a:r>
              <a:rPr lang="uk-UA" sz="3000" dirty="0" smtClean="0"/>
              <a:t> </a:t>
            </a:r>
            <a:r>
              <a:rPr lang="uk-UA" sz="3000" dirty="0" err="1" smtClean="0"/>
              <a:t>реализацию</a:t>
            </a:r>
            <a:endParaRPr lang="uk-UA" sz="3000" dirty="0"/>
          </a:p>
        </p:txBody>
      </p:sp>
      <p:sp>
        <p:nvSpPr>
          <p:cNvPr id="10" name="TextBox 9"/>
          <p:cNvSpPr txBox="1"/>
          <p:nvPr/>
        </p:nvSpPr>
        <p:spPr>
          <a:xfrm>
            <a:off x="652248" y="3433026"/>
            <a:ext cx="2226652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uk-UA" sz="9600" dirty="0" smtClean="0"/>
              <a:t>711</a:t>
            </a:r>
            <a:endParaRPr lang="uk-UA" sz="9600" dirty="0"/>
          </a:p>
        </p:txBody>
      </p:sp>
      <p:grpSp>
        <p:nvGrpSpPr>
          <p:cNvPr id="11" name="Group 12"/>
          <p:cNvGrpSpPr>
            <a:grpSpLocks noChangeAspect="1"/>
          </p:cNvGrpSpPr>
          <p:nvPr/>
        </p:nvGrpSpPr>
        <p:grpSpPr bwMode="auto">
          <a:xfrm>
            <a:off x="811306" y="4776059"/>
            <a:ext cx="1798717" cy="1448512"/>
            <a:chOff x="1743" y="1165"/>
            <a:chExt cx="2273" cy="1983"/>
          </a:xfrm>
          <a:solidFill>
            <a:srgbClr val="EEBB10"/>
          </a:solidFill>
        </p:grpSpPr>
        <p:sp>
          <p:nvSpPr>
            <p:cNvPr id="12" name="Freeform 14"/>
            <p:cNvSpPr>
              <a:spLocks/>
            </p:cNvSpPr>
            <p:nvPr/>
          </p:nvSpPr>
          <p:spPr bwMode="auto">
            <a:xfrm>
              <a:off x="3259" y="1447"/>
              <a:ext cx="311" cy="637"/>
            </a:xfrm>
            <a:custGeom>
              <a:avLst/>
              <a:gdLst>
                <a:gd name="T0" fmla="*/ 358 w 623"/>
                <a:gd name="T1" fmla="*/ 4 h 1274"/>
                <a:gd name="T2" fmla="*/ 389 w 623"/>
                <a:gd name="T3" fmla="*/ 50 h 1274"/>
                <a:gd name="T4" fmla="*/ 391 w 623"/>
                <a:gd name="T5" fmla="*/ 146 h 1274"/>
                <a:gd name="T6" fmla="*/ 396 w 623"/>
                <a:gd name="T7" fmla="*/ 150 h 1274"/>
                <a:gd name="T8" fmla="*/ 412 w 623"/>
                <a:gd name="T9" fmla="*/ 153 h 1274"/>
                <a:gd name="T10" fmla="*/ 471 w 623"/>
                <a:gd name="T11" fmla="*/ 165 h 1274"/>
                <a:gd name="T12" fmla="*/ 542 w 623"/>
                <a:gd name="T13" fmla="*/ 185 h 1274"/>
                <a:gd name="T14" fmla="*/ 582 w 623"/>
                <a:gd name="T15" fmla="*/ 212 h 1274"/>
                <a:gd name="T16" fmla="*/ 558 w 623"/>
                <a:gd name="T17" fmla="*/ 306 h 1274"/>
                <a:gd name="T18" fmla="*/ 528 w 623"/>
                <a:gd name="T19" fmla="*/ 335 h 1274"/>
                <a:gd name="T20" fmla="*/ 491 w 623"/>
                <a:gd name="T21" fmla="*/ 331 h 1274"/>
                <a:gd name="T22" fmla="*/ 463 w 623"/>
                <a:gd name="T23" fmla="*/ 319 h 1274"/>
                <a:gd name="T24" fmla="*/ 394 w 623"/>
                <a:gd name="T25" fmla="*/ 300 h 1274"/>
                <a:gd name="T26" fmla="*/ 299 w 623"/>
                <a:gd name="T27" fmla="*/ 296 h 1274"/>
                <a:gd name="T28" fmla="*/ 232 w 623"/>
                <a:gd name="T29" fmla="*/ 322 h 1274"/>
                <a:gd name="T30" fmla="*/ 200 w 623"/>
                <a:gd name="T31" fmla="*/ 365 h 1274"/>
                <a:gd name="T32" fmla="*/ 196 w 623"/>
                <a:gd name="T33" fmla="*/ 416 h 1274"/>
                <a:gd name="T34" fmla="*/ 222 w 623"/>
                <a:gd name="T35" fmla="*/ 465 h 1274"/>
                <a:gd name="T36" fmla="*/ 292 w 623"/>
                <a:gd name="T37" fmla="*/ 511 h 1274"/>
                <a:gd name="T38" fmla="*/ 424 w 623"/>
                <a:gd name="T39" fmla="*/ 569 h 1274"/>
                <a:gd name="T40" fmla="*/ 549 w 623"/>
                <a:gd name="T41" fmla="*/ 651 h 1274"/>
                <a:gd name="T42" fmla="*/ 612 w 623"/>
                <a:gd name="T43" fmla="*/ 756 h 1274"/>
                <a:gd name="T44" fmla="*/ 620 w 623"/>
                <a:gd name="T45" fmla="*/ 884 h 1274"/>
                <a:gd name="T46" fmla="*/ 573 w 623"/>
                <a:gd name="T47" fmla="*/ 998 h 1274"/>
                <a:gd name="T48" fmla="*/ 477 w 623"/>
                <a:gd name="T49" fmla="*/ 1081 h 1274"/>
                <a:gd name="T50" fmla="*/ 387 w 623"/>
                <a:gd name="T51" fmla="*/ 1113 h 1274"/>
                <a:gd name="T52" fmla="*/ 382 w 623"/>
                <a:gd name="T53" fmla="*/ 1117 h 1274"/>
                <a:gd name="T54" fmla="*/ 380 w 623"/>
                <a:gd name="T55" fmla="*/ 1224 h 1274"/>
                <a:gd name="T56" fmla="*/ 349 w 623"/>
                <a:gd name="T57" fmla="*/ 1271 h 1274"/>
                <a:gd name="T58" fmla="*/ 263 w 623"/>
                <a:gd name="T59" fmla="*/ 1271 h 1274"/>
                <a:gd name="T60" fmla="*/ 232 w 623"/>
                <a:gd name="T61" fmla="*/ 1224 h 1274"/>
                <a:gd name="T62" fmla="*/ 230 w 623"/>
                <a:gd name="T63" fmla="*/ 1122 h 1274"/>
                <a:gd name="T64" fmla="*/ 223 w 623"/>
                <a:gd name="T65" fmla="*/ 1118 h 1274"/>
                <a:gd name="T66" fmla="*/ 203 w 623"/>
                <a:gd name="T67" fmla="*/ 1115 h 1274"/>
                <a:gd name="T68" fmla="*/ 131 w 623"/>
                <a:gd name="T69" fmla="*/ 1100 h 1274"/>
                <a:gd name="T70" fmla="*/ 47 w 623"/>
                <a:gd name="T71" fmla="*/ 1074 h 1274"/>
                <a:gd name="T72" fmla="*/ 3 w 623"/>
                <a:gd name="T73" fmla="*/ 1042 h 1274"/>
                <a:gd name="T74" fmla="*/ 26 w 623"/>
                <a:gd name="T75" fmla="*/ 947 h 1274"/>
                <a:gd name="T76" fmla="*/ 57 w 623"/>
                <a:gd name="T77" fmla="*/ 919 h 1274"/>
                <a:gd name="T78" fmla="*/ 85 w 623"/>
                <a:gd name="T79" fmla="*/ 919 h 1274"/>
                <a:gd name="T80" fmla="*/ 105 w 623"/>
                <a:gd name="T81" fmla="*/ 927 h 1274"/>
                <a:gd name="T82" fmla="*/ 157 w 623"/>
                <a:gd name="T83" fmla="*/ 946 h 1274"/>
                <a:gd name="T84" fmla="*/ 230 w 623"/>
                <a:gd name="T85" fmla="*/ 967 h 1274"/>
                <a:gd name="T86" fmla="*/ 318 w 623"/>
                <a:gd name="T87" fmla="*/ 969 h 1274"/>
                <a:gd name="T88" fmla="*/ 405 w 623"/>
                <a:gd name="T89" fmla="*/ 928 h 1274"/>
                <a:gd name="T90" fmla="*/ 438 w 623"/>
                <a:gd name="T91" fmla="*/ 851 h 1274"/>
                <a:gd name="T92" fmla="*/ 411 w 623"/>
                <a:gd name="T93" fmla="*/ 777 h 1274"/>
                <a:gd name="T94" fmla="*/ 324 w 623"/>
                <a:gd name="T95" fmla="*/ 716 h 1274"/>
                <a:gd name="T96" fmla="*/ 205 w 623"/>
                <a:gd name="T97" fmla="*/ 665 h 1274"/>
                <a:gd name="T98" fmla="*/ 106 w 623"/>
                <a:gd name="T99" fmla="*/ 607 h 1274"/>
                <a:gd name="T100" fmla="*/ 36 w 623"/>
                <a:gd name="T101" fmla="*/ 526 h 1274"/>
                <a:gd name="T102" fmla="*/ 10 w 623"/>
                <a:gd name="T103" fmla="*/ 416 h 1274"/>
                <a:gd name="T104" fmla="*/ 37 w 623"/>
                <a:gd name="T105" fmla="*/ 300 h 1274"/>
                <a:gd name="T106" fmla="*/ 113 w 623"/>
                <a:gd name="T107" fmla="*/ 211 h 1274"/>
                <a:gd name="T108" fmla="*/ 232 w 623"/>
                <a:gd name="T109" fmla="*/ 157 h 1274"/>
                <a:gd name="T110" fmla="*/ 238 w 623"/>
                <a:gd name="T111" fmla="*/ 154 h 1274"/>
                <a:gd name="T112" fmla="*/ 243 w 623"/>
                <a:gd name="T113" fmla="*/ 146 h 1274"/>
                <a:gd name="T114" fmla="*/ 258 w 623"/>
                <a:gd name="T115" fmla="*/ 14 h 1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23" h="1274">
                  <a:moveTo>
                    <a:pt x="294" y="0"/>
                  </a:moveTo>
                  <a:lnTo>
                    <a:pt x="338" y="0"/>
                  </a:lnTo>
                  <a:lnTo>
                    <a:pt x="358" y="4"/>
                  </a:lnTo>
                  <a:lnTo>
                    <a:pt x="375" y="14"/>
                  </a:lnTo>
                  <a:lnTo>
                    <a:pt x="386" y="30"/>
                  </a:lnTo>
                  <a:lnTo>
                    <a:pt x="389" y="50"/>
                  </a:lnTo>
                  <a:lnTo>
                    <a:pt x="390" y="140"/>
                  </a:lnTo>
                  <a:lnTo>
                    <a:pt x="390" y="145"/>
                  </a:lnTo>
                  <a:lnTo>
                    <a:pt x="391" y="146"/>
                  </a:lnTo>
                  <a:lnTo>
                    <a:pt x="393" y="147"/>
                  </a:lnTo>
                  <a:lnTo>
                    <a:pt x="394" y="149"/>
                  </a:lnTo>
                  <a:lnTo>
                    <a:pt x="396" y="150"/>
                  </a:lnTo>
                  <a:lnTo>
                    <a:pt x="397" y="150"/>
                  </a:lnTo>
                  <a:lnTo>
                    <a:pt x="401" y="150"/>
                  </a:lnTo>
                  <a:lnTo>
                    <a:pt x="412" y="153"/>
                  </a:lnTo>
                  <a:lnTo>
                    <a:pt x="429" y="156"/>
                  </a:lnTo>
                  <a:lnTo>
                    <a:pt x="448" y="160"/>
                  </a:lnTo>
                  <a:lnTo>
                    <a:pt x="471" y="165"/>
                  </a:lnTo>
                  <a:lnTo>
                    <a:pt x="495" y="171"/>
                  </a:lnTo>
                  <a:lnTo>
                    <a:pt x="520" y="178"/>
                  </a:lnTo>
                  <a:lnTo>
                    <a:pt x="542" y="185"/>
                  </a:lnTo>
                  <a:lnTo>
                    <a:pt x="562" y="193"/>
                  </a:lnTo>
                  <a:lnTo>
                    <a:pt x="573" y="200"/>
                  </a:lnTo>
                  <a:lnTo>
                    <a:pt x="582" y="212"/>
                  </a:lnTo>
                  <a:lnTo>
                    <a:pt x="586" y="226"/>
                  </a:lnTo>
                  <a:lnTo>
                    <a:pt x="583" y="242"/>
                  </a:lnTo>
                  <a:lnTo>
                    <a:pt x="558" y="306"/>
                  </a:lnTo>
                  <a:lnTo>
                    <a:pt x="551" y="318"/>
                  </a:lnTo>
                  <a:lnTo>
                    <a:pt x="540" y="328"/>
                  </a:lnTo>
                  <a:lnTo>
                    <a:pt x="528" y="335"/>
                  </a:lnTo>
                  <a:lnTo>
                    <a:pt x="514" y="336"/>
                  </a:lnTo>
                  <a:lnTo>
                    <a:pt x="502" y="335"/>
                  </a:lnTo>
                  <a:lnTo>
                    <a:pt x="491" y="331"/>
                  </a:lnTo>
                  <a:lnTo>
                    <a:pt x="488" y="329"/>
                  </a:lnTo>
                  <a:lnTo>
                    <a:pt x="478" y="325"/>
                  </a:lnTo>
                  <a:lnTo>
                    <a:pt x="463" y="319"/>
                  </a:lnTo>
                  <a:lnTo>
                    <a:pt x="444" y="313"/>
                  </a:lnTo>
                  <a:lnTo>
                    <a:pt x="420" y="306"/>
                  </a:lnTo>
                  <a:lnTo>
                    <a:pt x="394" y="300"/>
                  </a:lnTo>
                  <a:lnTo>
                    <a:pt x="364" y="296"/>
                  </a:lnTo>
                  <a:lnTo>
                    <a:pt x="331" y="295"/>
                  </a:lnTo>
                  <a:lnTo>
                    <a:pt x="299" y="296"/>
                  </a:lnTo>
                  <a:lnTo>
                    <a:pt x="273" y="302"/>
                  </a:lnTo>
                  <a:lnTo>
                    <a:pt x="251" y="311"/>
                  </a:lnTo>
                  <a:lnTo>
                    <a:pt x="232" y="322"/>
                  </a:lnTo>
                  <a:lnTo>
                    <a:pt x="218" y="335"/>
                  </a:lnTo>
                  <a:lnTo>
                    <a:pt x="207" y="350"/>
                  </a:lnTo>
                  <a:lnTo>
                    <a:pt x="200" y="365"/>
                  </a:lnTo>
                  <a:lnTo>
                    <a:pt x="194" y="381"/>
                  </a:lnTo>
                  <a:lnTo>
                    <a:pt x="193" y="398"/>
                  </a:lnTo>
                  <a:lnTo>
                    <a:pt x="196" y="416"/>
                  </a:lnTo>
                  <a:lnTo>
                    <a:pt x="200" y="434"/>
                  </a:lnTo>
                  <a:lnTo>
                    <a:pt x="208" y="450"/>
                  </a:lnTo>
                  <a:lnTo>
                    <a:pt x="222" y="465"/>
                  </a:lnTo>
                  <a:lnTo>
                    <a:pt x="240" y="481"/>
                  </a:lnTo>
                  <a:lnTo>
                    <a:pt x="263" y="496"/>
                  </a:lnTo>
                  <a:lnTo>
                    <a:pt x="292" y="511"/>
                  </a:lnTo>
                  <a:lnTo>
                    <a:pt x="327" y="527"/>
                  </a:lnTo>
                  <a:lnTo>
                    <a:pt x="369" y="544"/>
                  </a:lnTo>
                  <a:lnTo>
                    <a:pt x="424" y="569"/>
                  </a:lnTo>
                  <a:lnTo>
                    <a:pt x="473" y="595"/>
                  </a:lnTo>
                  <a:lnTo>
                    <a:pt x="514" y="622"/>
                  </a:lnTo>
                  <a:lnTo>
                    <a:pt x="549" y="651"/>
                  </a:lnTo>
                  <a:lnTo>
                    <a:pt x="576" y="684"/>
                  </a:lnTo>
                  <a:lnTo>
                    <a:pt x="597" y="719"/>
                  </a:lnTo>
                  <a:lnTo>
                    <a:pt x="612" y="756"/>
                  </a:lnTo>
                  <a:lnTo>
                    <a:pt x="620" y="796"/>
                  </a:lnTo>
                  <a:lnTo>
                    <a:pt x="623" y="840"/>
                  </a:lnTo>
                  <a:lnTo>
                    <a:pt x="620" y="884"/>
                  </a:lnTo>
                  <a:lnTo>
                    <a:pt x="611" y="925"/>
                  </a:lnTo>
                  <a:lnTo>
                    <a:pt x="595" y="963"/>
                  </a:lnTo>
                  <a:lnTo>
                    <a:pt x="573" y="998"/>
                  </a:lnTo>
                  <a:lnTo>
                    <a:pt x="546" y="1030"/>
                  </a:lnTo>
                  <a:lnTo>
                    <a:pt x="514" y="1058"/>
                  </a:lnTo>
                  <a:lnTo>
                    <a:pt x="477" y="1081"/>
                  </a:lnTo>
                  <a:lnTo>
                    <a:pt x="434" y="1099"/>
                  </a:lnTo>
                  <a:lnTo>
                    <a:pt x="389" y="1113"/>
                  </a:lnTo>
                  <a:lnTo>
                    <a:pt x="387" y="1113"/>
                  </a:lnTo>
                  <a:lnTo>
                    <a:pt x="386" y="1114"/>
                  </a:lnTo>
                  <a:lnTo>
                    <a:pt x="383" y="1115"/>
                  </a:lnTo>
                  <a:lnTo>
                    <a:pt x="382" y="1117"/>
                  </a:lnTo>
                  <a:lnTo>
                    <a:pt x="380" y="1120"/>
                  </a:lnTo>
                  <a:lnTo>
                    <a:pt x="380" y="1124"/>
                  </a:lnTo>
                  <a:lnTo>
                    <a:pt x="380" y="1224"/>
                  </a:lnTo>
                  <a:lnTo>
                    <a:pt x="376" y="1244"/>
                  </a:lnTo>
                  <a:lnTo>
                    <a:pt x="365" y="1260"/>
                  </a:lnTo>
                  <a:lnTo>
                    <a:pt x="349" y="1271"/>
                  </a:lnTo>
                  <a:lnTo>
                    <a:pt x="329" y="1274"/>
                  </a:lnTo>
                  <a:lnTo>
                    <a:pt x="283" y="1274"/>
                  </a:lnTo>
                  <a:lnTo>
                    <a:pt x="263" y="1271"/>
                  </a:lnTo>
                  <a:lnTo>
                    <a:pt x="247" y="1260"/>
                  </a:lnTo>
                  <a:lnTo>
                    <a:pt x="236" y="1244"/>
                  </a:lnTo>
                  <a:lnTo>
                    <a:pt x="232" y="1224"/>
                  </a:lnTo>
                  <a:lnTo>
                    <a:pt x="232" y="1129"/>
                  </a:lnTo>
                  <a:lnTo>
                    <a:pt x="232" y="1125"/>
                  </a:lnTo>
                  <a:lnTo>
                    <a:pt x="230" y="1122"/>
                  </a:lnTo>
                  <a:lnTo>
                    <a:pt x="227" y="1121"/>
                  </a:lnTo>
                  <a:lnTo>
                    <a:pt x="226" y="1120"/>
                  </a:lnTo>
                  <a:lnTo>
                    <a:pt x="223" y="1118"/>
                  </a:lnTo>
                  <a:lnTo>
                    <a:pt x="222" y="1118"/>
                  </a:lnTo>
                  <a:lnTo>
                    <a:pt x="216" y="1118"/>
                  </a:lnTo>
                  <a:lnTo>
                    <a:pt x="203" y="1115"/>
                  </a:lnTo>
                  <a:lnTo>
                    <a:pt x="183" y="1111"/>
                  </a:lnTo>
                  <a:lnTo>
                    <a:pt x="158" y="1106"/>
                  </a:lnTo>
                  <a:lnTo>
                    <a:pt x="131" y="1100"/>
                  </a:lnTo>
                  <a:lnTo>
                    <a:pt x="103" y="1092"/>
                  </a:lnTo>
                  <a:lnTo>
                    <a:pt x="74" y="1084"/>
                  </a:lnTo>
                  <a:lnTo>
                    <a:pt x="47" y="1074"/>
                  </a:lnTo>
                  <a:lnTo>
                    <a:pt x="23" y="1063"/>
                  </a:lnTo>
                  <a:lnTo>
                    <a:pt x="12" y="1055"/>
                  </a:lnTo>
                  <a:lnTo>
                    <a:pt x="3" y="1042"/>
                  </a:lnTo>
                  <a:lnTo>
                    <a:pt x="0" y="1029"/>
                  </a:lnTo>
                  <a:lnTo>
                    <a:pt x="3" y="1012"/>
                  </a:lnTo>
                  <a:lnTo>
                    <a:pt x="26" y="947"/>
                  </a:lnTo>
                  <a:lnTo>
                    <a:pt x="33" y="935"/>
                  </a:lnTo>
                  <a:lnTo>
                    <a:pt x="44" y="925"/>
                  </a:lnTo>
                  <a:lnTo>
                    <a:pt x="57" y="919"/>
                  </a:lnTo>
                  <a:lnTo>
                    <a:pt x="72" y="916"/>
                  </a:lnTo>
                  <a:lnTo>
                    <a:pt x="79" y="917"/>
                  </a:lnTo>
                  <a:lnTo>
                    <a:pt x="85" y="919"/>
                  </a:lnTo>
                  <a:lnTo>
                    <a:pt x="92" y="921"/>
                  </a:lnTo>
                  <a:lnTo>
                    <a:pt x="96" y="923"/>
                  </a:lnTo>
                  <a:lnTo>
                    <a:pt x="105" y="927"/>
                  </a:lnTo>
                  <a:lnTo>
                    <a:pt x="119" y="932"/>
                  </a:lnTo>
                  <a:lnTo>
                    <a:pt x="136" y="939"/>
                  </a:lnTo>
                  <a:lnTo>
                    <a:pt x="157" y="946"/>
                  </a:lnTo>
                  <a:lnTo>
                    <a:pt x="181" y="954"/>
                  </a:lnTo>
                  <a:lnTo>
                    <a:pt x="205" y="961"/>
                  </a:lnTo>
                  <a:lnTo>
                    <a:pt x="230" y="967"/>
                  </a:lnTo>
                  <a:lnTo>
                    <a:pt x="256" y="971"/>
                  </a:lnTo>
                  <a:lnTo>
                    <a:pt x="280" y="972"/>
                  </a:lnTo>
                  <a:lnTo>
                    <a:pt x="318" y="969"/>
                  </a:lnTo>
                  <a:lnTo>
                    <a:pt x="353" y="960"/>
                  </a:lnTo>
                  <a:lnTo>
                    <a:pt x="382" y="946"/>
                  </a:lnTo>
                  <a:lnTo>
                    <a:pt x="405" y="928"/>
                  </a:lnTo>
                  <a:lnTo>
                    <a:pt x="423" y="906"/>
                  </a:lnTo>
                  <a:lnTo>
                    <a:pt x="434" y="880"/>
                  </a:lnTo>
                  <a:lnTo>
                    <a:pt x="438" y="851"/>
                  </a:lnTo>
                  <a:lnTo>
                    <a:pt x="436" y="824"/>
                  </a:lnTo>
                  <a:lnTo>
                    <a:pt x="426" y="800"/>
                  </a:lnTo>
                  <a:lnTo>
                    <a:pt x="411" y="777"/>
                  </a:lnTo>
                  <a:lnTo>
                    <a:pt x="390" y="756"/>
                  </a:lnTo>
                  <a:lnTo>
                    <a:pt x="361" y="735"/>
                  </a:lnTo>
                  <a:lnTo>
                    <a:pt x="324" y="716"/>
                  </a:lnTo>
                  <a:lnTo>
                    <a:pt x="280" y="697"/>
                  </a:lnTo>
                  <a:lnTo>
                    <a:pt x="243" y="682"/>
                  </a:lnTo>
                  <a:lnTo>
                    <a:pt x="205" y="665"/>
                  </a:lnTo>
                  <a:lnTo>
                    <a:pt x="170" y="647"/>
                  </a:lnTo>
                  <a:lnTo>
                    <a:pt x="136" y="628"/>
                  </a:lnTo>
                  <a:lnTo>
                    <a:pt x="106" y="607"/>
                  </a:lnTo>
                  <a:lnTo>
                    <a:pt x="79" y="583"/>
                  </a:lnTo>
                  <a:lnTo>
                    <a:pt x="55" y="556"/>
                  </a:lnTo>
                  <a:lnTo>
                    <a:pt x="36" y="526"/>
                  </a:lnTo>
                  <a:lnTo>
                    <a:pt x="22" y="493"/>
                  </a:lnTo>
                  <a:lnTo>
                    <a:pt x="12" y="456"/>
                  </a:lnTo>
                  <a:lnTo>
                    <a:pt x="10" y="416"/>
                  </a:lnTo>
                  <a:lnTo>
                    <a:pt x="12" y="375"/>
                  </a:lnTo>
                  <a:lnTo>
                    <a:pt x="22" y="336"/>
                  </a:lnTo>
                  <a:lnTo>
                    <a:pt x="37" y="300"/>
                  </a:lnTo>
                  <a:lnTo>
                    <a:pt x="58" y="267"/>
                  </a:lnTo>
                  <a:lnTo>
                    <a:pt x="83" y="237"/>
                  </a:lnTo>
                  <a:lnTo>
                    <a:pt x="113" y="211"/>
                  </a:lnTo>
                  <a:lnTo>
                    <a:pt x="149" y="189"/>
                  </a:lnTo>
                  <a:lnTo>
                    <a:pt x="187" y="171"/>
                  </a:lnTo>
                  <a:lnTo>
                    <a:pt x="232" y="157"/>
                  </a:lnTo>
                  <a:lnTo>
                    <a:pt x="233" y="157"/>
                  </a:lnTo>
                  <a:lnTo>
                    <a:pt x="236" y="156"/>
                  </a:lnTo>
                  <a:lnTo>
                    <a:pt x="238" y="154"/>
                  </a:lnTo>
                  <a:lnTo>
                    <a:pt x="240" y="151"/>
                  </a:lnTo>
                  <a:lnTo>
                    <a:pt x="243" y="149"/>
                  </a:lnTo>
                  <a:lnTo>
                    <a:pt x="243" y="146"/>
                  </a:lnTo>
                  <a:lnTo>
                    <a:pt x="243" y="50"/>
                  </a:lnTo>
                  <a:lnTo>
                    <a:pt x="247" y="30"/>
                  </a:lnTo>
                  <a:lnTo>
                    <a:pt x="258" y="14"/>
                  </a:lnTo>
                  <a:lnTo>
                    <a:pt x="274" y="4"/>
                  </a:lnTo>
                  <a:lnTo>
                    <a:pt x="29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96497"/>
                </a:solidFill>
                <a:latin typeface="Calibri" pitchFamily="34" charset="0"/>
              </a:endParaRPr>
            </a:p>
          </p:txBody>
        </p:sp>
        <p:sp>
          <p:nvSpPr>
            <p:cNvPr id="13" name="Freeform 15"/>
            <p:cNvSpPr>
              <a:spLocks noEditPoints="1"/>
            </p:cNvSpPr>
            <p:nvPr/>
          </p:nvSpPr>
          <p:spPr bwMode="auto">
            <a:xfrm>
              <a:off x="2814" y="1165"/>
              <a:ext cx="1202" cy="1201"/>
            </a:xfrm>
            <a:custGeom>
              <a:avLst/>
              <a:gdLst>
                <a:gd name="T0" fmla="*/ 1026 w 2403"/>
                <a:gd name="T1" fmla="*/ 296 h 2403"/>
                <a:gd name="T2" fmla="*/ 785 w 2403"/>
                <a:gd name="T3" fmla="*/ 379 h 2403"/>
                <a:gd name="T4" fmla="*/ 579 w 2403"/>
                <a:gd name="T5" fmla="*/ 521 h 2403"/>
                <a:gd name="T6" fmla="*/ 419 w 2403"/>
                <a:gd name="T7" fmla="*/ 712 h 2403"/>
                <a:gd name="T8" fmla="*/ 315 w 2403"/>
                <a:gd name="T9" fmla="*/ 942 h 2403"/>
                <a:gd name="T10" fmla="*/ 278 w 2403"/>
                <a:gd name="T11" fmla="*/ 1203 h 2403"/>
                <a:gd name="T12" fmla="*/ 315 w 2403"/>
                <a:gd name="T13" fmla="*/ 1461 h 2403"/>
                <a:gd name="T14" fmla="*/ 419 w 2403"/>
                <a:gd name="T15" fmla="*/ 1691 h 2403"/>
                <a:gd name="T16" fmla="*/ 579 w 2403"/>
                <a:gd name="T17" fmla="*/ 1883 h 2403"/>
                <a:gd name="T18" fmla="*/ 785 w 2403"/>
                <a:gd name="T19" fmla="*/ 2026 h 2403"/>
                <a:gd name="T20" fmla="*/ 1026 w 2403"/>
                <a:gd name="T21" fmla="*/ 2107 h 2403"/>
                <a:gd name="T22" fmla="*/ 1291 w 2403"/>
                <a:gd name="T23" fmla="*/ 2120 h 2403"/>
                <a:gd name="T24" fmla="*/ 1542 w 2403"/>
                <a:gd name="T25" fmla="*/ 2061 h 2403"/>
                <a:gd name="T26" fmla="*/ 1760 w 2403"/>
                <a:gd name="T27" fmla="*/ 1937 h 2403"/>
                <a:gd name="T28" fmla="*/ 1936 w 2403"/>
                <a:gd name="T29" fmla="*/ 1760 h 2403"/>
                <a:gd name="T30" fmla="*/ 2060 w 2403"/>
                <a:gd name="T31" fmla="*/ 1541 h 2403"/>
                <a:gd name="T32" fmla="*/ 2121 w 2403"/>
                <a:gd name="T33" fmla="*/ 1291 h 2403"/>
                <a:gd name="T34" fmla="*/ 2108 w 2403"/>
                <a:gd name="T35" fmla="*/ 1026 h 2403"/>
                <a:gd name="T36" fmla="*/ 2026 w 2403"/>
                <a:gd name="T37" fmla="*/ 785 h 2403"/>
                <a:gd name="T38" fmla="*/ 1884 w 2403"/>
                <a:gd name="T39" fmla="*/ 580 h 2403"/>
                <a:gd name="T40" fmla="*/ 1692 w 2403"/>
                <a:gd name="T41" fmla="*/ 420 h 2403"/>
                <a:gd name="T42" fmla="*/ 1461 w 2403"/>
                <a:gd name="T43" fmla="*/ 316 h 2403"/>
                <a:gd name="T44" fmla="*/ 1201 w 2403"/>
                <a:gd name="T45" fmla="*/ 280 h 2403"/>
                <a:gd name="T46" fmla="*/ 1396 w 2403"/>
                <a:gd name="T47" fmla="*/ 17 h 2403"/>
                <a:gd name="T48" fmla="*/ 1669 w 2403"/>
                <a:gd name="T49" fmla="*/ 95 h 2403"/>
                <a:gd name="T50" fmla="*/ 1911 w 2403"/>
                <a:gd name="T51" fmla="*/ 233 h 2403"/>
                <a:gd name="T52" fmla="*/ 2114 w 2403"/>
                <a:gd name="T53" fmla="*/ 420 h 2403"/>
                <a:gd name="T54" fmla="*/ 2270 w 2403"/>
                <a:gd name="T55" fmla="*/ 650 h 2403"/>
                <a:gd name="T56" fmla="*/ 2369 w 2403"/>
                <a:gd name="T57" fmla="*/ 913 h 2403"/>
                <a:gd name="T58" fmla="*/ 2403 w 2403"/>
                <a:gd name="T59" fmla="*/ 1203 h 2403"/>
                <a:gd name="T60" fmla="*/ 2369 w 2403"/>
                <a:gd name="T61" fmla="*/ 1490 h 2403"/>
                <a:gd name="T62" fmla="*/ 2270 w 2403"/>
                <a:gd name="T63" fmla="*/ 1753 h 2403"/>
                <a:gd name="T64" fmla="*/ 2114 w 2403"/>
                <a:gd name="T65" fmla="*/ 1983 h 2403"/>
                <a:gd name="T66" fmla="*/ 1911 w 2403"/>
                <a:gd name="T67" fmla="*/ 2171 h 2403"/>
                <a:gd name="T68" fmla="*/ 1669 w 2403"/>
                <a:gd name="T69" fmla="*/ 2308 h 2403"/>
                <a:gd name="T70" fmla="*/ 1396 w 2403"/>
                <a:gd name="T71" fmla="*/ 2387 h 2403"/>
                <a:gd name="T72" fmla="*/ 1102 w 2403"/>
                <a:gd name="T73" fmla="*/ 2399 h 2403"/>
                <a:gd name="T74" fmla="*/ 821 w 2403"/>
                <a:gd name="T75" fmla="*/ 2341 h 2403"/>
                <a:gd name="T76" fmla="*/ 569 w 2403"/>
                <a:gd name="T77" fmla="*/ 2223 h 2403"/>
                <a:gd name="T78" fmla="*/ 351 w 2403"/>
                <a:gd name="T79" fmla="*/ 2051 h 2403"/>
                <a:gd name="T80" fmla="*/ 180 w 2403"/>
                <a:gd name="T81" fmla="*/ 1835 h 2403"/>
                <a:gd name="T82" fmla="*/ 60 w 2403"/>
                <a:gd name="T83" fmla="*/ 1581 h 2403"/>
                <a:gd name="T84" fmla="*/ 4 w 2403"/>
                <a:gd name="T85" fmla="*/ 1300 h 2403"/>
                <a:gd name="T86" fmla="*/ 15 w 2403"/>
                <a:gd name="T87" fmla="*/ 1007 h 2403"/>
                <a:gd name="T88" fmla="*/ 93 w 2403"/>
                <a:gd name="T89" fmla="*/ 734 h 2403"/>
                <a:gd name="T90" fmla="*/ 231 w 2403"/>
                <a:gd name="T91" fmla="*/ 492 h 2403"/>
                <a:gd name="T92" fmla="*/ 419 w 2403"/>
                <a:gd name="T93" fmla="*/ 290 h 2403"/>
                <a:gd name="T94" fmla="*/ 649 w 2403"/>
                <a:gd name="T95" fmla="*/ 135 h 2403"/>
                <a:gd name="T96" fmla="*/ 912 w 2403"/>
                <a:gd name="T97" fmla="*/ 36 h 2403"/>
                <a:gd name="T98" fmla="*/ 1201 w 2403"/>
                <a:gd name="T99" fmla="*/ 0 h 2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403" h="2403">
                  <a:moveTo>
                    <a:pt x="1201" y="280"/>
                  </a:moveTo>
                  <a:lnTo>
                    <a:pt x="1112" y="284"/>
                  </a:lnTo>
                  <a:lnTo>
                    <a:pt x="1026" y="296"/>
                  </a:lnTo>
                  <a:lnTo>
                    <a:pt x="942" y="316"/>
                  </a:lnTo>
                  <a:lnTo>
                    <a:pt x="861" y="343"/>
                  </a:lnTo>
                  <a:lnTo>
                    <a:pt x="785" y="379"/>
                  </a:lnTo>
                  <a:lnTo>
                    <a:pt x="711" y="420"/>
                  </a:lnTo>
                  <a:lnTo>
                    <a:pt x="643" y="467"/>
                  </a:lnTo>
                  <a:lnTo>
                    <a:pt x="579" y="521"/>
                  </a:lnTo>
                  <a:lnTo>
                    <a:pt x="519" y="580"/>
                  </a:lnTo>
                  <a:lnTo>
                    <a:pt x="467" y="643"/>
                  </a:lnTo>
                  <a:lnTo>
                    <a:pt x="419" y="712"/>
                  </a:lnTo>
                  <a:lnTo>
                    <a:pt x="377" y="785"/>
                  </a:lnTo>
                  <a:lnTo>
                    <a:pt x="343" y="862"/>
                  </a:lnTo>
                  <a:lnTo>
                    <a:pt x="315" y="942"/>
                  </a:lnTo>
                  <a:lnTo>
                    <a:pt x="295" y="1026"/>
                  </a:lnTo>
                  <a:lnTo>
                    <a:pt x="282" y="1113"/>
                  </a:lnTo>
                  <a:lnTo>
                    <a:pt x="278" y="1203"/>
                  </a:lnTo>
                  <a:lnTo>
                    <a:pt x="282" y="1291"/>
                  </a:lnTo>
                  <a:lnTo>
                    <a:pt x="295" y="1377"/>
                  </a:lnTo>
                  <a:lnTo>
                    <a:pt x="315" y="1461"/>
                  </a:lnTo>
                  <a:lnTo>
                    <a:pt x="343" y="1541"/>
                  </a:lnTo>
                  <a:lnTo>
                    <a:pt x="377" y="1618"/>
                  </a:lnTo>
                  <a:lnTo>
                    <a:pt x="419" y="1691"/>
                  </a:lnTo>
                  <a:lnTo>
                    <a:pt x="467" y="1760"/>
                  </a:lnTo>
                  <a:lnTo>
                    <a:pt x="519" y="1824"/>
                  </a:lnTo>
                  <a:lnTo>
                    <a:pt x="579" y="1883"/>
                  </a:lnTo>
                  <a:lnTo>
                    <a:pt x="643" y="1937"/>
                  </a:lnTo>
                  <a:lnTo>
                    <a:pt x="711" y="1985"/>
                  </a:lnTo>
                  <a:lnTo>
                    <a:pt x="785" y="2026"/>
                  </a:lnTo>
                  <a:lnTo>
                    <a:pt x="861" y="2061"/>
                  </a:lnTo>
                  <a:lnTo>
                    <a:pt x="942" y="2088"/>
                  </a:lnTo>
                  <a:lnTo>
                    <a:pt x="1026" y="2107"/>
                  </a:lnTo>
                  <a:lnTo>
                    <a:pt x="1112" y="2120"/>
                  </a:lnTo>
                  <a:lnTo>
                    <a:pt x="1201" y="2125"/>
                  </a:lnTo>
                  <a:lnTo>
                    <a:pt x="1291" y="2120"/>
                  </a:lnTo>
                  <a:lnTo>
                    <a:pt x="1376" y="2107"/>
                  </a:lnTo>
                  <a:lnTo>
                    <a:pt x="1461" y="2088"/>
                  </a:lnTo>
                  <a:lnTo>
                    <a:pt x="1542" y="2061"/>
                  </a:lnTo>
                  <a:lnTo>
                    <a:pt x="1618" y="2026"/>
                  </a:lnTo>
                  <a:lnTo>
                    <a:pt x="1692" y="1985"/>
                  </a:lnTo>
                  <a:lnTo>
                    <a:pt x="1760" y="1937"/>
                  </a:lnTo>
                  <a:lnTo>
                    <a:pt x="1824" y="1883"/>
                  </a:lnTo>
                  <a:lnTo>
                    <a:pt x="1884" y="1824"/>
                  </a:lnTo>
                  <a:lnTo>
                    <a:pt x="1936" y="1760"/>
                  </a:lnTo>
                  <a:lnTo>
                    <a:pt x="1984" y="1691"/>
                  </a:lnTo>
                  <a:lnTo>
                    <a:pt x="2026" y="1618"/>
                  </a:lnTo>
                  <a:lnTo>
                    <a:pt x="2060" y="1541"/>
                  </a:lnTo>
                  <a:lnTo>
                    <a:pt x="2088" y="1461"/>
                  </a:lnTo>
                  <a:lnTo>
                    <a:pt x="2108" y="1377"/>
                  </a:lnTo>
                  <a:lnTo>
                    <a:pt x="2121" y="1291"/>
                  </a:lnTo>
                  <a:lnTo>
                    <a:pt x="2125" y="1203"/>
                  </a:lnTo>
                  <a:lnTo>
                    <a:pt x="2121" y="1113"/>
                  </a:lnTo>
                  <a:lnTo>
                    <a:pt x="2108" y="1026"/>
                  </a:lnTo>
                  <a:lnTo>
                    <a:pt x="2088" y="942"/>
                  </a:lnTo>
                  <a:lnTo>
                    <a:pt x="2060" y="862"/>
                  </a:lnTo>
                  <a:lnTo>
                    <a:pt x="2026" y="785"/>
                  </a:lnTo>
                  <a:lnTo>
                    <a:pt x="1984" y="712"/>
                  </a:lnTo>
                  <a:lnTo>
                    <a:pt x="1936" y="643"/>
                  </a:lnTo>
                  <a:lnTo>
                    <a:pt x="1884" y="580"/>
                  </a:lnTo>
                  <a:lnTo>
                    <a:pt x="1824" y="521"/>
                  </a:lnTo>
                  <a:lnTo>
                    <a:pt x="1760" y="467"/>
                  </a:lnTo>
                  <a:lnTo>
                    <a:pt x="1692" y="420"/>
                  </a:lnTo>
                  <a:lnTo>
                    <a:pt x="1618" y="379"/>
                  </a:lnTo>
                  <a:lnTo>
                    <a:pt x="1542" y="343"/>
                  </a:lnTo>
                  <a:lnTo>
                    <a:pt x="1461" y="316"/>
                  </a:lnTo>
                  <a:lnTo>
                    <a:pt x="1376" y="296"/>
                  </a:lnTo>
                  <a:lnTo>
                    <a:pt x="1291" y="284"/>
                  </a:lnTo>
                  <a:lnTo>
                    <a:pt x="1201" y="280"/>
                  </a:lnTo>
                  <a:close/>
                  <a:moveTo>
                    <a:pt x="1201" y="0"/>
                  </a:moveTo>
                  <a:lnTo>
                    <a:pt x="1301" y="5"/>
                  </a:lnTo>
                  <a:lnTo>
                    <a:pt x="1396" y="17"/>
                  </a:lnTo>
                  <a:lnTo>
                    <a:pt x="1491" y="36"/>
                  </a:lnTo>
                  <a:lnTo>
                    <a:pt x="1582" y="62"/>
                  </a:lnTo>
                  <a:lnTo>
                    <a:pt x="1669" y="95"/>
                  </a:lnTo>
                  <a:lnTo>
                    <a:pt x="1754" y="135"/>
                  </a:lnTo>
                  <a:lnTo>
                    <a:pt x="1834" y="181"/>
                  </a:lnTo>
                  <a:lnTo>
                    <a:pt x="1911" y="233"/>
                  </a:lnTo>
                  <a:lnTo>
                    <a:pt x="1984" y="290"/>
                  </a:lnTo>
                  <a:lnTo>
                    <a:pt x="2052" y="353"/>
                  </a:lnTo>
                  <a:lnTo>
                    <a:pt x="2114" y="420"/>
                  </a:lnTo>
                  <a:lnTo>
                    <a:pt x="2172" y="492"/>
                  </a:lnTo>
                  <a:lnTo>
                    <a:pt x="2223" y="569"/>
                  </a:lnTo>
                  <a:lnTo>
                    <a:pt x="2270" y="650"/>
                  </a:lnTo>
                  <a:lnTo>
                    <a:pt x="2310" y="734"/>
                  </a:lnTo>
                  <a:lnTo>
                    <a:pt x="2343" y="823"/>
                  </a:lnTo>
                  <a:lnTo>
                    <a:pt x="2369" y="913"/>
                  </a:lnTo>
                  <a:lnTo>
                    <a:pt x="2388" y="1007"/>
                  </a:lnTo>
                  <a:lnTo>
                    <a:pt x="2399" y="1103"/>
                  </a:lnTo>
                  <a:lnTo>
                    <a:pt x="2403" y="1203"/>
                  </a:lnTo>
                  <a:lnTo>
                    <a:pt x="2399" y="1300"/>
                  </a:lnTo>
                  <a:lnTo>
                    <a:pt x="2388" y="1397"/>
                  </a:lnTo>
                  <a:lnTo>
                    <a:pt x="2369" y="1490"/>
                  </a:lnTo>
                  <a:lnTo>
                    <a:pt x="2343" y="1581"/>
                  </a:lnTo>
                  <a:lnTo>
                    <a:pt x="2310" y="1669"/>
                  </a:lnTo>
                  <a:lnTo>
                    <a:pt x="2270" y="1753"/>
                  </a:lnTo>
                  <a:lnTo>
                    <a:pt x="2223" y="1835"/>
                  </a:lnTo>
                  <a:lnTo>
                    <a:pt x="2172" y="1912"/>
                  </a:lnTo>
                  <a:lnTo>
                    <a:pt x="2114" y="1983"/>
                  </a:lnTo>
                  <a:lnTo>
                    <a:pt x="2052" y="2051"/>
                  </a:lnTo>
                  <a:lnTo>
                    <a:pt x="1984" y="2114"/>
                  </a:lnTo>
                  <a:lnTo>
                    <a:pt x="1911" y="2171"/>
                  </a:lnTo>
                  <a:lnTo>
                    <a:pt x="1834" y="2223"/>
                  </a:lnTo>
                  <a:lnTo>
                    <a:pt x="1754" y="2268"/>
                  </a:lnTo>
                  <a:lnTo>
                    <a:pt x="1669" y="2308"/>
                  </a:lnTo>
                  <a:lnTo>
                    <a:pt x="1582" y="2341"/>
                  </a:lnTo>
                  <a:lnTo>
                    <a:pt x="1491" y="2368"/>
                  </a:lnTo>
                  <a:lnTo>
                    <a:pt x="1396" y="2387"/>
                  </a:lnTo>
                  <a:lnTo>
                    <a:pt x="1301" y="2399"/>
                  </a:lnTo>
                  <a:lnTo>
                    <a:pt x="1201" y="2403"/>
                  </a:lnTo>
                  <a:lnTo>
                    <a:pt x="1102" y="2399"/>
                  </a:lnTo>
                  <a:lnTo>
                    <a:pt x="1007" y="2387"/>
                  </a:lnTo>
                  <a:lnTo>
                    <a:pt x="912" y="2368"/>
                  </a:lnTo>
                  <a:lnTo>
                    <a:pt x="821" y="2341"/>
                  </a:lnTo>
                  <a:lnTo>
                    <a:pt x="734" y="2308"/>
                  </a:lnTo>
                  <a:lnTo>
                    <a:pt x="649" y="2268"/>
                  </a:lnTo>
                  <a:lnTo>
                    <a:pt x="569" y="2223"/>
                  </a:lnTo>
                  <a:lnTo>
                    <a:pt x="492" y="2171"/>
                  </a:lnTo>
                  <a:lnTo>
                    <a:pt x="419" y="2114"/>
                  </a:lnTo>
                  <a:lnTo>
                    <a:pt x="351" y="2051"/>
                  </a:lnTo>
                  <a:lnTo>
                    <a:pt x="289" y="1983"/>
                  </a:lnTo>
                  <a:lnTo>
                    <a:pt x="231" y="1912"/>
                  </a:lnTo>
                  <a:lnTo>
                    <a:pt x="180" y="1835"/>
                  </a:lnTo>
                  <a:lnTo>
                    <a:pt x="133" y="1753"/>
                  </a:lnTo>
                  <a:lnTo>
                    <a:pt x="93" y="1669"/>
                  </a:lnTo>
                  <a:lnTo>
                    <a:pt x="60" y="1581"/>
                  </a:lnTo>
                  <a:lnTo>
                    <a:pt x="34" y="1490"/>
                  </a:lnTo>
                  <a:lnTo>
                    <a:pt x="15" y="1397"/>
                  </a:lnTo>
                  <a:lnTo>
                    <a:pt x="4" y="1300"/>
                  </a:lnTo>
                  <a:lnTo>
                    <a:pt x="0" y="1203"/>
                  </a:lnTo>
                  <a:lnTo>
                    <a:pt x="4" y="1103"/>
                  </a:lnTo>
                  <a:lnTo>
                    <a:pt x="15" y="1007"/>
                  </a:lnTo>
                  <a:lnTo>
                    <a:pt x="34" y="913"/>
                  </a:lnTo>
                  <a:lnTo>
                    <a:pt x="60" y="823"/>
                  </a:lnTo>
                  <a:lnTo>
                    <a:pt x="93" y="734"/>
                  </a:lnTo>
                  <a:lnTo>
                    <a:pt x="133" y="650"/>
                  </a:lnTo>
                  <a:lnTo>
                    <a:pt x="180" y="569"/>
                  </a:lnTo>
                  <a:lnTo>
                    <a:pt x="231" y="492"/>
                  </a:lnTo>
                  <a:lnTo>
                    <a:pt x="289" y="420"/>
                  </a:lnTo>
                  <a:lnTo>
                    <a:pt x="351" y="353"/>
                  </a:lnTo>
                  <a:lnTo>
                    <a:pt x="419" y="290"/>
                  </a:lnTo>
                  <a:lnTo>
                    <a:pt x="492" y="233"/>
                  </a:lnTo>
                  <a:lnTo>
                    <a:pt x="569" y="181"/>
                  </a:lnTo>
                  <a:lnTo>
                    <a:pt x="649" y="135"/>
                  </a:lnTo>
                  <a:lnTo>
                    <a:pt x="734" y="95"/>
                  </a:lnTo>
                  <a:lnTo>
                    <a:pt x="821" y="62"/>
                  </a:lnTo>
                  <a:lnTo>
                    <a:pt x="912" y="36"/>
                  </a:lnTo>
                  <a:lnTo>
                    <a:pt x="1007" y="17"/>
                  </a:lnTo>
                  <a:lnTo>
                    <a:pt x="1102" y="5"/>
                  </a:lnTo>
                  <a:lnTo>
                    <a:pt x="12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96497"/>
                </a:solidFill>
                <a:latin typeface="Calibri" pitchFamily="34" charset="0"/>
              </a:endParaRPr>
            </a:p>
          </p:txBody>
        </p:sp>
        <p:sp>
          <p:nvSpPr>
            <p:cNvPr id="14" name="Freeform 16"/>
            <p:cNvSpPr>
              <a:spLocks/>
            </p:cNvSpPr>
            <p:nvPr/>
          </p:nvSpPr>
          <p:spPr bwMode="auto">
            <a:xfrm>
              <a:off x="2367" y="2423"/>
              <a:ext cx="1647" cy="725"/>
            </a:xfrm>
            <a:custGeom>
              <a:avLst/>
              <a:gdLst>
                <a:gd name="T0" fmla="*/ 1042 w 3293"/>
                <a:gd name="T1" fmla="*/ 18 h 1448"/>
                <a:gd name="T2" fmla="*/ 1294 w 3293"/>
                <a:gd name="T3" fmla="*/ 74 h 1448"/>
                <a:gd name="T4" fmla="*/ 1565 w 3293"/>
                <a:gd name="T5" fmla="*/ 150 h 1448"/>
                <a:gd name="T6" fmla="*/ 1817 w 3293"/>
                <a:gd name="T7" fmla="*/ 230 h 1448"/>
                <a:gd name="T8" fmla="*/ 2012 w 3293"/>
                <a:gd name="T9" fmla="*/ 292 h 1448"/>
                <a:gd name="T10" fmla="*/ 2119 w 3293"/>
                <a:gd name="T11" fmla="*/ 323 h 1448"/>
                <a:gd name="T12" fmla="*/ 2185 w 3293"/>
                <a:gd name="T13" fmla="*/ 389 h 1448"/>
                <a:gd name="T14" fmla="*/ 2194 w 3293"/>
                <a:gd name="T15" fmla="*/ 486 h 1448"/>
                <a:gd name="T16" fmla="*/ 2129 w 3293"/>
                <a:gd name="T17" fmla="*/ 582 h 1448"/>
                <a:gd name="T18" fmla="*/ 1976 w 3293"/>
                <a:gd name="T19" fmla="*/ 641 h 1448"/>
                <a:gd name="T20" fmla="*/ 1775 w 3293"/>
                <a:gd name="T21" fmla="*/ 653 h 1448"/>
                <a:gd name="T22" fmla="*/ 1567 w 3293"/>
                <a:gd name="T23" fmla="*/ 632 h 1448"/>
                <a:gd name="T24" fmla="*/ 1381 w 3293"/>
                <a:gd name="T25" fmla="*/ 600 h 1448"/>
                <a:gd name="T26" fmla="*/ 1247 w 3293"/>
                <a:gd name="T27" fmla="*/ 577 h 1448"/>
                <a:gd name="T28" fmla="*/ 1196 w 3293"/>
                <a:gd name="T29" fmla="*/ 585 h 1448"/>
                <a:gd name="T30" fmla="*/ 1266 w 3293"/>
                <a:gd name="T31" fmla="*/ 669 h 1448"/>
                <a:gd name="T32" fmla="*/ 1444 w 3293"/>
                <a:gd name="T33" fmla="*/ 739 h 1448"/>
                <a:gd name="T34" fmla="*/ 1681 w 3293"/>
                <a:gd name="T35" fmla="*/ 786 h 1448"/>
                <a:gd name="T36" fmla="*/ 1929 w 3293"/>
                <a:gd name="T37" fmla="*/ 804 h 1448"/>
                <a:gd name="T38" fmla="*/ 2225 w 3293"/>
                <a:gd name="T39" fmla="*/ 770 h 1448"/>
                <a:gd name="T40" fmla="*/ 2730 w 3293"/>
                <a:gd name="T41" fmla="*/ 618 h 1448"/>
                <a:gd name="T42" fmla="*/ 3090 w 3293"/>
                <a:gd name="T43" fmla="*/ 450 h 1448"/>
                <a:gd name="T44" fmla="*/ 3219 w 3293"/>
                <a:gd name="T45" fmla="*/ 461 h 1448"/>
                <a:gd name="T46" fmla="*/ 3289 w 3293"/>
                <a:gd name="T47" fmla="*/ 563 h 1448"/>
                <a:gd name="T48" fmla="*/ 3258 w 3293"/>
                <a:gd name="T49" fmla="*/ 717 h 1448"/>
                <a:gd name="T50" fmla="*/ 3138 w 3293"/>
                <a:gd name="T51" fmla="*/ 845 h 1448"/>
                <a:gd name="T52" fmla="*/ 2972 w 3293"/>
                <a:gd name="T53" fmla="*/ 960 h 1448"/>
                <a:gd name="T54" fmla="*/ 2749 w 3293"/>
                <a:gd name="T55" fmla="*/ 1099 h 1448"/>
                <a:gd name="T56" fmla="*/ 2501 w 3293"/>
                <a:gd name="T57" fmla="*/ 1238 h 1448"/>
                <a:gd name="T58" fmla="*/ 2264 w 3293"/>
                <a:gd name="T59" fmla="*/ 1356 h 1448"/>
                <a:gd name="T60" fmla="*/ 2072 w 3293"/>
                <a:gd name="T61" fmla="*/ 1433 h 1448"/>
                <a:gd name="T62" fmla="*/ 1939 w 3293"/>
                <a:gd name="T63" fmla="*/ 1448 h 1448"/>
                <a:gd name="T64" fmla="*/ 1717 w 3293"/>
                <a:gd name="T65" fmla="*/ 1429 h 1448"/>
                <a:gd name="T66" fmla="*/ 1426 w 3293"/>
                <a:gd name="T67" fmla="*/ 1391 h 1448"/>
                <a:gd name="T68" fmla="*/ 1105 w 3293"/>
                <a:gd name="T69" fmla="*/ 1341 h 1448"/>
                <a:gd name="T70" fmla="*/ 796 w 3293"/>
                <a:gd name="T71" fmla="*/ 1289 h 1448"/>
                <a:gd name="T72" fmla="*/ 541 w 3293"/>
                <a:gd name="T73" fmla="*/ 1242 h 1448"/>
                <a:gd name="T74" fmla="*/ 380 w 3293"/>
                <a:gd name="T75" fmla="*/ 1212 h 1448"/>
                <a:gd name="T76" fmla="*/ 246 w 3293"/>
                <a:gd name="T77" fmla="*/ 1216 h 1448"/>
                <a:gd name="T78" fmla="*/ 107 w 3293"/>
                <a:gd name="T79" fmla="*/ 1296 h 1448"/>
                <a:gd name="T80" fmla="*/ 34 w 3293"/>
                <a:gd name="T81" fmla="*/ 1341 h 1448"/>
                <a:gd name="T82" fmla="*/ 7 w 3293"/>
                <a:gd name="T83" fmla="*/ 1316 h 1448"/>
                <a:gd name="T84" fmla="*/ 0 w 3293"/>
                <a:gd name="T85" fmla="*/ 1290 h 1448"/>
                <a:gd name="T86" fmla="*/ 22 w 3293"/>
                <a:gd name="T87" fmla="*/ 955 h 1448"/>
                <a:gd name="T88" fmla="*/ 46 w 3293"/>
                <a:gd name="T89" fmla="*/ 567 h 1448"/>
                <a:gd name="T90" fmla="*/ 69 w 3293"/>
                <a:gd name="T91" fmla="*/ 220 h 1448"/>
                <a:gd name="T92" fmla="*/ 92 w 3293"/>
                <a:gd name="T93" fmla="*/ 106 h 1448"/>
                <a:gd name="T94" fmla="*/ 157 w 3293"/>
                <a:gd name="T95" fmla="*/ 87 h 1448"/>
                <a:gd name="T96" fmla="*/ 330 w 3293"/>
                <a:gd name="T97" fmla="*/ 59 h 1448"/>
                <a:gd name="T98" fmla="*/ 576 w 3293"/>
                <a:gd name="T99" fmla="*/ 25 h 1448"/>
                <a:gd name="T100" fmla="*/ 803 w 3293"/>
                <a:gd name="T101" fmla="*/ 3 h 1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293" h="1448">
                  <a:moveTo>
                    <a:pt x="889" y="0"/>
                  </a:moveTo>
                  <a:lnTo>
                    <a:pt x="935" y="3"/>
                  </a:lnTo>
                  <a:lnTo>
                    <a:pt x="986" y="9"/>
                  </a:lnTo>
                  <a:lnTo>
                    <a:pt x="1042" y="18"/>
                  </a:lnTo>
                  <a:lnTo>
                    <a:pt x="1101" y="29"/>
                  </a:lnTo>
                  <a:lnTo>
                    <a:pt x="1163" y="42"/>
                  </a:lnTo>
                  <a:lnTo>
                    <a:pt x="1228" y="58"/>
                  </a:lnTo>
                  <a:lnTo>
                    <a:pt x="1294" y="74"/>
                  </a:lnTo>
                  <a:lnTo>
                    <a:pt x="1361" y="92"/>
                  </a:lnTo>
                  <a:lnTo>
                    <a:pt x="1430" y="111"/>
                  </a:lnTo>
                  <a:lnTo>
                    <a:pt x="1498" y="131"/>
                  </a:lnTo>
                  <a:lnTo>
                    <a:pt x="1565" y="150"/>
                  </a:lnTo>
                  <a:lnTo>
                    <a:pt x="1631" y="171"/>
                  </a:lnTo>
                  <a:lnTo>
                    <a:pt x="1696" y="191"/>
                  </a:lnTo>
                  <a:lnTo>
                    <a:pt x="1758" y="210"/>
                  </a:lnTo>
                  <a:lnTo>
                    <a:pt x="1817" y="230"/>
                  </a:lnTo>
                  <a:lnTo>
                    <a:pt x="1873" y="248"/>
                  </a:lnTo>
                  <a:lnTo>
                    <a:pt x="1924" y="264"/>
                  </a:lnTo>
                  <a:lnTo>
                    <a:pt x="1970" y="278"/>
                  </a:lnTo>
                  <a:lnTo>
                    <a:pt x="2012" y="292"/>
                  </a:lnTo>
                  <a:lnTo>
                    <a:pt x="2046" y="301"/>
                  </a:lnTo>
                  <a:lnTo>
                    <a:pt x="2075" y="310"/>
                  </a:lnTo>
                  <a:lnTo>
                    <a:pt x="2097" y="315"/>
                  </a:lnTo>
                  <a:lnTo>
                    <a:pt x="2119" y="323"/>
                  </a:lnTo>
                  <a:lnTo>
                    <a:pt x="2140" y="336"/>
                  </a:lnTo>
                  <a:lnTo>
                    <a:pt x="2158" y="351"/>
                  </a:lnTo>
                  <a:lnTo>
                    <a:pt x="2173" y="369"/>
                  </a:lnTo>
                  <a:lnTo>
                    <a:pt x="2185" y="389"/>
                  </a:lnTo>
                  <a:lnTo>
                    <a:pt x="2192" y="412"/>
                  </a:lnTo>
                  <a:lnTo>
                    <a:pt x="2198" y="436"/>
                  </a:lnTo>
                  <a:lnTo>
                    <a:pt x="2198" y="461"/>
                  </a:lnTo>
                  <a:lnTo>
                    <a:pt x="2194" y="486"/>
                  </a:lnTo>
                  <a:lnTo>
                    <a:pt x="2184" y="512"/>
                  </a:lnTo>
                  <a:lnTo>
                    <a:pt x="2172" y="537"/>
                  </a:lnTo>
                  <a:lnTo>
                    <a:pt x="2152" y="560"/>
                  </a:lnTo>
                  <a:lnTo>
                    <a:pt x="2129" y="582"/>
                  </a:lnTo>
                  <a:lnTo>
                    <a:pt x="2099" y="602"/>
                  </a:lnTo>
                  <a:lnTo>
                    <a:pt x="2063" y="618"/>
                  </a:lnTo>
                  <a:lnTo>
                    <a:pt x="2021" y="632"/>
                  </a:lnTo>
                  <a:lnTo>
                    <a:pt x="1976" y="641"/>
                  </a:lnTo>
                  <a:lnTo>
                    <a:pt x="1928" y="648"/>
                  </a:lnTo>
                  <a:lnTo>
                    <a:pt x="1878" y="653"/>
                  </a:lnTo>
                  <a:lnTo>
                    <a:pt x="1827" y="654"/>
                  </a:lnTo>
                  <a:lnTo>
                    <a:pt x="1775" y="653"/>
                  </a:lnTo>
                  <a:lnTo>
                    <a:pt x="1722" y="650"/>
                  </a:lnTo>
                  <a:lnTo>
                    <a:pt x="1669" y="646"/>
                  </a:lnTo>
                  <a:lnTo>
                    <a:pt x="1618" y="639"/>
                  </a:lnTo>
                  <a:lnTo>
                    <a:pt x="1567" y="632"/>
                  </a:lnTo>
                  <a:lnTo>
                    <a:pt x="1516" y="624"/>
                  </a:lnTo>
                  <a:lnTo>
                    <a:pt x="1469" y="615"/>
                  </a:lnTo>
                  <a:lnTo>
                    <a:pt x="1423" y="607"/>
                  </a:lnTo>
                  <a:lnTo>
                    <a:pt x="1381" y="600"/>
                  </a:lnTo>
                  <a:lnTo>
                    <a:pt x="1341" y="592"/>
                  </a:lnTo>
                  <a:lnTo>
                    <a:pt x="1305" y="586"/>
                  </a:lnTo>
                  <a:lnTo>
                    <a:pt x="1273" y="581"/>
                  </a:lnTo>
                  <a:lnTo>
                    <a:pt x="1247" y="577"/>
                  </a:lnTo>
                  <a:lnTo>
                    <a:pt x="1225" y="575"/>
                  </a:lnTo>
                  <a:lnTo>
                    <a:pt x="1210" y="575"/>
                  </a:lnTo>
                  <a:lnTo>
                    <a:pt x="1199" y="580"/>
                  </a:lnTo>
                  <a:lnTo>
                    <a:pt x="1196" y="585"/>
                  </a:lnTo>
                  <a:lnTo>
                    <a:pt x="1200" y="607"/>
                  </a:lnTo>
                  <a:lnTo>
                    <a:pt x="1214" y="628"/>
                  </a:lnTo>
                  <a:lnTo>
                    <a:pt x="1236" y="648"/>
                  </a:lnTo>
                  <a:lnTo>
                    <a:pt x="1266" y="669"/>
                  </a:lnTo>
                  <a:lnTo>
                    <a:pt x="1302" y="688"/>
                  </a:lnTo>
                  <a:lnTo>
                    <a:pt x="1345" y="706"/>
                  </a:lnTo>
                  <a:lnTo>
                    <a:pt x="1392" y="723"/>
                  </a:lnTo>
                  <a:lnTo>
                    <a:pt x="1444" y="739"/>
                  </a:lnTo>
                  <a:lnTo>
                    <a:pt x="1499" y="753"/>
                  </a:lnTo>
                  <a:lnTo>
                    <a:pt x="1558" y="765"/>
                  </a:lnTo>
                  <a:lnTo>
                    <a:pt x="1619" y="776"/>
                  </a:lnTo>
                  <a:lnTo>
                    <a:pt x="1681" y="786"/>
                  </a:lnTo>
                  <a:lnTo>
                    <a:pt x="1744" y="794"/>
                  </a:lnTo>
                  <a:lnTo>
                    <a:pt x="1806" y="800"/>
                  </a:lnTo>
                  <a:lnTo>
                    <a:pt x="1868" y="803"/>
                  </a:lnTo>
                  <a:lnTo>
                    <a:pt x="1929" y="804"/>
                  </a:lnTo>
                  <a:lnTo>
                    <a:pt x="1988" y="803"/>
                  </a:lnTo>
                  <a:lnTo>
                    <a:pt x="2043" y="800"/>
                  </a:lnTo>
                  <a:lnTo>
                    <a:pt x="2094" y="793"/>
                  </a:lnTo>
                  <a:lnTo>
                    <a:pt x="2225" y="770"/>
                  </a:lnTo>
                  <a:lnTo>
                    <a:pt x="2356" y="739"/>
                  </a:lnTo>
                  <a:lnTo>
                    <a:pt x="2484" y="703"/>
                  </a:lnTo>
                  <a:lnTo>
                    <a:pt x="2609" y="662"/>
                  </a:lnTo>
                  <a:lnTo>
                    <a:pt x="2730" y="618"/>
                  </a:lnTo>
                  <a:lnTo>
                    <a:pt x="2844" y="570"/>
                  </a:lnTo>
                  <a:lnTo>
                    <a:pt x="2952" y="519"/>
                  </a:lnTo>
                  <a:lnTo>
                    <a:pt x="3052" y="467"/>
                  </a:lnTo>
                  <a:lnTo>
                    <a:pt x="3090" y="450"/>
                  </a:lnTo>
                  <a:lnTo>
                    <a:pt x="3125" y="443"/>
                  </a:lnTo>
                  <a:lnTo>
                    <a:pt x="3158" y="442"/>
                  </a:lnTo>
                  <a:lnTo>
                    <a:pt x="3190" y="449"/>
                  </a:lnTo>
                  <a:lnTo>
                    <a:pt x="3219" y="461"/>
                  </a:lnTo>
                  <a:lnTo>
                    <a:pt x="3244" y="479"/>
                  </a:lnTo>
                  <a:lnTo>
                    <a:pt x="3265" y="502"/>
                  </a:lnTo>
                  <a:lnTo>
                    <a:pt x="3280" y="531"/>
                  </a:lnTo>
                  <a:lnTo>
                    <a:pt x="3289" y="563"/>
                  </a:lnTo>
                  <a:lnTo>
                    <a:pt x="3293" y="597"/>
                  </a:lnTo>
                  <a:lnTo>
                    <a:pt x="3289" y="636"/>
                  </a:lnTo>
                  <a:lnTo>
                    <a:pt x="3277" y="676"/>
                  </a:lnTo>
                  <a:lnTo>
                    <a:pt x="3258" y="717"/>
                  </a:lnTo>
                  <a:lnTo>
                    <a:pt x="3227" y="760"/>
                  </a:lnTo>
                  <a:lnTo>
                    <a:pt x="3189" y="803"/>
                  </a:lnTo>
                  <a:lnTo>
                    <a:pt x="3167" y="822"/>
                  </a:lnTo>
                  <a:lnTo>
                    <a:pt x="3138" y="845"/>
                  </a:lnTo>
                  <a:lnTo>
                    <a:pt x="3105" y="870"/>
                  </a:lnTo>
                  <a:lnTo>
                    <a:pt x="3065" y="898"/>
                  </a:lnTo>
                  <a:lnTo>
                    <a:pt x="3021" y="928"/>
                  </a:lnTo>
                  <a:lnTo>
                    <a:pt x="2972" y="960"/>
                  </a:lnTo>
                  <a:lnTo>
                    <a:pt x="2921" y="994"/>
                  </a:lnTo>
                  <a:lnTo>
                    <a:pt x="2866" y="1027"/>
                  </a:lnTo>
                  <a:lnTo>
                    <a:pt x="2808" y="1063"/>
                  </a:lnTo>
                  <a:lnTo>
                    <a:pt x="2749" y="1099"/>
                  </a:lnTo>
                  <a:lnTo>
                    <a:pt x="2688" y="1134"/>
                  </a:lnTo>
                  <a:lnTo>
                    <a:pt x="2626" y="1169"/>
                  </a:lnTo>
                  <a:lnTo>
                    <a:pt x="2563" y="1203"/>
                  </a:lnTo>
                  <a:lnTo>
                    <a:pt x="2501" y="1238"/>
                  </a:lnTo>
                  <a:lnTo>
                    <a:pt x="2439" y="1271"/>
                  </a:lnTo>
                  <a:lnTo>
                    <a:pt x="2380" y="1301"/>
                  </a:lnTo>
                  <a:lnTo>
                    <a:pt x="2320" y="1330"/>
                  </a:lnTo>
                  <a:lnTo>
                    <a:pt x="2264" y="1356"/>
                  </a:lnTo>
                  <a:lnTo>
                    <a:pt x="2210" y="1381"/>
                  </a:lnTo>
                  <a:lnTo>
                    <a:pt x="2161" y="1402"/>
                  </a:lnTo>
                  <a:lnTo>
                    <a:pt x="2114" y="1420"/>
                  </a:lnTo>
                  <a:lnTo>
                    <a:pt x="2072" y="1433"/>
                  </a:lnTo>
                  <a:lnTo>
                    <a:pt x="2035" y="1443"/>
                  </a:lnTo>
                  <a:lnTo>
                    <a:pt x="2010" y="1447"/>
                  </a:lnTo>
                  <a:lnTo>
                    <a:pt x="1979" y="1448"/>
                  </a:lnTo>
                  <a:lnTo>
                    <a:pt x="1939" y="1448"/>
                  </a:lnTo>
                  <a:lnTo>
                    <a:pt x="1892" y="1446"/>
                  </a:lnTo>
                  <a:lnTo>
                    <a:pt x="1840" y="1442"/>
                  </a:lnTo>
                  <a:lnTo>
                    <a:pt x="1780" y="1436"/>
                  </a:lnTo>
                  <a:lnTo>
                    <a:pt x="1717" y="1429"/>
                  </a:lnTo>
                  <a:lnTo>
                    <a:pt x="1649" y="1421"/>
                  </a:lnTo>
                  <a:lnTo>
                    <a:pt x="1578" y="1413"/>
                  </a:lnTo>
                  <a:lnTo>
                    <a:pt x="1503" y="1402"/>
                  </a:lnTo>
                  <a:lnTo>
                    <a:pt x="1426" y="1391"/>
                  </a:lnTo>
                  <a:lnTo>
                    <a:pt x="1346" y="1380"/>
                  </a:lnTo>
                  <a:lnTo>
                    <a:pt x="1266" y="1367"/>
                  </a:lnTo>
                  <a:lnTo>
                    <a:pt x="1186" y="1355"/>
                  </a:lnTo>
                  <a:lnTo>
                    <a:pt x="1105" y="1341"/>
                  </a:lnTo>
                  <a:lnTo>
                    <a:pt x="1025" y="1329"/>
                  </a:lnTo>
                  <a:lnTo>
                    <a:pt x="946" y="1315"/>
                  </a:lnTo>
                  <a:lnTo>
                    <a:pt x="871" y="1301"/>
                  </a:lnTo>
                  <a:lnTo>
                    <a:pt x="796" y="1289"/>
                  </a:lnTo>
                  <a:lnTo>
                    <a:pt x="726" y="1276"/>
                  </a:lnTo>
                  <a:lnTo>
                    <a:pt x="660" y="1264"/>
                  </a:lnTo>
                  <a:lnTo>
                    <a:pt x="598" y="1253"/>
                  </a:lnTo>
                  <a:lnTo>
                    <a:pt x="541" y="1242"/>
                  </a:lnTo>
                  <a:lnTo>
                    <a:pt x="490" y="1232"/>
                  </a:lnTo>
                  <a:lnTo>
                    <a:pt x="446" y="1224"/>
                  </a:lnTo>
                  <a:lnTo>
                    <a:pt x="409" y="1217"/>
                  </a:lnTo>
                  <a:lnTo>
                    <a:pt x="380" y="1212"/>
                  </a:lnTo>
                  <a:lnTo>
                    <a:pt x="359" y="1206"/>
                  </a:lnTo>
                  <a:lnTo>
                    <a:pt x="322" y="1202"/>
                  </a:lnTo>
                  <a:lnTo>
                    <a:pt x="284" y="1206"/>
                  </a:lnTo>
                  <a:lnTo>
                    <a:pt x="246" y="1216"/>
                  </a:lnTo>
                  <a:lnTo>
                    <a:pt x="210" y="1231"/>
                  </a:lnTo>
                  <a:lnTo>
                    <a:pt x="175" y="1250"/>
                  </a:lnTo>
                  <a:lnTo>
                    <a:pt x="140" y="1272"/>
                  </a:lnTo>
                  <a:lnTo>
                    <a:pt x="107" y="1296"/>
                  </a:lnTo>
                  <a:lnTo>
                    <a:pt x="78" y="1320"/>
                  </a:lnTo>
                  <a:lnTo>
                    <a:pt x="60" y="1333"/>
                  </a:lnTo>
                  <a:lnTo>
                    <a:pt x="45" y="1340"/>
                  </a:lnTo>
                  <a:lnTo>
                    <a:pt x="34" y="1341"/>
                  </a:lnTo>
                  <a:lnTo>
                    <a:pt x="24" y="1338"/>
                  </a:lnTo>
                  <a:lnTo>
                    <a:pt x="16" y="1333"/>
                  </a:lnTo>
                  <a:lnTo>
                    <a:pt x="11" y="1326"/>
                  </a:lnTo>
                  <a:lnTo>
                    <a:pt x="7" y="1316"/>
                  </a:lnTo>
                  <a:lnTo>
                    <a:pt x="2" y="1308"/>
                  </a:lnTo>
                  <a:lnTo>
                    <a:pt x="1" y="1300"/>
                  </a:lnTo>
                  <a:lnTo>
                    <a:pt x="1" y="1293"/>
                  </a:lnTo>
                  <a:lnTo>
                    <a:pt x="0" y="1290"/>
                  </a:lnTo>
                  <a:lnTo>
                    <a:pt x="5" y="1217"/>
                  </a:lnTo>
                  <a:lnTo>
                    <a:pt x="11" y="1136"/>
                  </a:lnTo>
                  <a:lnTo>
                    <a:pt x="16" y="1049"/>
                  </a:lnTo>
                  <a:lnTo>
                    <a:pt x="22" y="955"/>
                  </a:lnTo>
                  <a:lnTo>
                    <a:pt x="29" y="860"/>
                  </a:lnTo>
                  <a:lnTo>
                    <a:pt x="34" y="763"/>
                  </a:lnTo>
                  <a:lnTo>
                    <a:pt x="41" y="664"/>
                  </a:lnTo>
                  <a:lnTo>
                    <a:pt x="46" y="567"/>
                  </a:lnTo>
                  <a:lnTo>
                    <a:pt x="53" y="472"/>
                  </a:lnTo>
                  <a:lnTo>
                    <a:pt x="59" y="383"/>
                  </a:lnTo>
                  <a:lnTo>
                    <a:pt x="64" y="297"/>
                  </a:lnTo>
                  <a:lnTo>
                    <a:pt x="69" y="220"/>
                  </a:lnTo>
                  <a:lnTo>
                    <a:pt x="74" y="151"/>
                  </a:lnTo>
                  <a:lnTo>
                    <a:pt x="77" y="132"/>
                  </a:lnTo>
                  <a:lnTo>
                    <a:pt x="82" y="117"/>
                  </a:lnTo>
                  <a:lnTo>
                    <a:pt x="92" y="106"/>
                  </a:lnTo>
                  <a:lnTo>
                    <a:pt x="104" y="99"/>
                  </a:lnTo>
                  <a:lnTo>
                    <a:pt x="120" y="93"/>
                  </a:lnTo>
                  <a:lnTo>
                    <a:pt x="136" y="89"/>
                  </a:lnTo>
                  <a:lnTo>
                    <a:pt x="157" y="87"/>
                  </a:lnTo>
                  <a:lnTo>
                    <a:pt x="179" y="82"/>
                  </a:lnTo>
                  <a:lnTo>
                    <a:pt x="224" y="75"/>
                  </a:lnTo>
                  <a:lnTo>
                    <a:pt x="275" y="67"/>
                  </a:lnTo>
                  <a:lnTo>
                    <a:pt x="330" y="59"/>
                  </a:lnTo>
                  <a:lnTo>
                    <a:pt x="390" y="49"/>
                  </a:lnTo>
                  <a:lnTo>
                    <a:pt x="450" y="41"/>
                  </a:lnTo>
                  <a:lnTo>
                    <a:pt x="514" y="33"/>
                  </a:lnTo>
                  <a:lnTo>
                    <a:pt x="576" y="25"/>
                  </a:lnTo>
                  <a:lnTo>
                    <a:pt x="638" y="18"/>
                  </a:lnTo>
                  <a:lnTo>
                    <a:pt x="697" y="11"/>
                  </a:lnTo>
                  <a:lnTo>
                    <a:pt x="752" y="5"/>
                  </a:lnTo>
                  <a:lnTo>
                    <a:pt x="803" y="3"/>
                  </a:lnTo>
                  <a:lnTo>
                    <a:pt x="850" y="0"/>
                  </a:lnTo>
                  <a:lnTo>
                    <a:pt x="88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96497"/>
                </a:solidFill>
                <a:latin typeface="Calibri" pitchFamily="34" charset="0"/>
              </a:endParaRPr>
            </a:p>
          </p:txBody>
        </p:sp>
        <p:sp>
          <p:nvSpPr>
            <p:cNvPr id="15" name="Freeform 17"/>
            <p:cNvSpPr>
              <a:spLocks noEditPoints="1"/>
            </p:cNvSpPr>
            <p:nvPr/>
          </p:nvSpPr>
          <p:spPr bwMode="auto">
            <a:xfrm>
              <a:off x="1743" y="2442"/>
              <a:ext cx="522" cy="673"/>
            </a:xfrm>
            <a:custGeom>
              <a:avLst/>
              <a:gdLst>
                <a:gd name="T0" fmla="*/ 542 w 1045"/>
                <a:gd name="T1" fmla="*/ 806 h 1345"/>
                <a:gd name="T2" fmla="*/ 502 w 1045"/>
                <a:gd name="T3" fmla="*/ 810 h 1345"/>
                <a:gd name="T4" fmla="*/ 466 w 1045"/>
                <a:gd name="T5" fmla="*/ 821 h 1345"/>
                <a:gd name="T6" fmla="*/ 433 w 1045"/>
                <a:gd name="T7" fmla="*/ 839 h 1345"/>
                <a:gd name="T8" fmla="*/ 404 w 1045"/>
                <a:gd name="T9" fmla="*/ 862 h 1345"/>
                <a:gd name="T10" fmla="*/ 380 w 1045"/>
                <a:gd name="T11" fmla="*/ 891 h 1345"/>
                <a:gd name="T12" fmla="*/ 362 w 1045"/>
                <a:gd name="T13" fmla="*/ 923 h 1345"/>
                <a:gd name="T14" fmla="*/ 351 w 1045"/>
                <a:gd name="T15" fmla="*/ 960 h 1345"/>
                <a:gd name="T16" fmla="*/ 347 w 1045"/>
                <a:gd name="T17" fmla="*/ 998 h 1345"/>
                <a:gd name="T18" fmla="*/ 351 w 1045"/>
                <a:gd name="T19" fmla="*/ 1037 h 1345"/>
                <a:gd name="T20" fmla="*/ 362 w 1045"/>
                <a:gd name="T21" fmla="*/ 1074 h 1345"/>
                <a:gd name="T22" fmla="*/ 380 w 1045"/>
                <a:gd name="T23" fmla="*/ 1107 h 1345"/>
                <a:gd name="T24" fmla="*/ 404 w 1045"/>
                <a:gd name="T25" fmla="*/ 1136 h 1345"/>
                <a:gd name="T26" fmla="*/ 433 w 1045"/>
                <a:gd name="T27" fmla="*/ 1159 h 1345"/>
                <a:gd name="T28" fmla="*/ 466 w 1045"/>
                <a:gd name="T29" fmla="*/ 1177 h 1345"/>
                <a:gd name="T30" fmla="*/ 502 w 1045"/>
                <a:gd name="T31" fmla="*/ 1188 h 1345"/>
                <a:gd name="T32" fmla="*/ 542 w 1045"/>
                <a:gd name="T33" fmla="*/ 1193 h 1345"/>
                <a:gd name="T34" fmla="*/ 580 w 1045"/>
                <a:gd name="T35" fmla="*/ 1188 h 1345"/>
                <a:gd name="T36" fmla="*/ 616 w 1045"/>
                <a:gd name="T37" fmla="*/ 1177 h 1345"/>
                <a:gd name="T38" fmla="*/ 649 w 1045"/>
                <a:gd name="T39" fmla="*/ 1159 h 1345"/>
                <a:gd name="T40" fmla="*/ 678 w 1045"/>
                <a:gd name="T41" fmla="*/ 1136 h 1345"/>
                <a:gd name="T42" fmla="*/ 701 w 1045"/>
                <a:gd name="T43" fmla="*/ 1107 h 1345"/>
                <a:gd name="T44" fmla="*/ 719 w 1045"/>
                <a:gd name="T45" fmla="*/ 1074 h 1345"/>
                <a:gd name="T46" fmla="*/ 730 w 1045"/>
                <a:gd name="T47" fmla="*/ 1037 h 1345"/>
                <a:gd name="T48" fmla="*/ 735 w 1045"/>
                <a:gd name="T49" fmla="*/ 998 h 1345"/>
                <a:gd name="T50" fmla="*/ 730 w 1045"/>
                <a:gd name="T51" fmla="*/ 960 h 1345"/>
                <a:gd name="T52" fmla="*/ 719 w 1045"/>
                <a:gd name="T53" fmla="*/ 923 h 1345"/>
                <a:gd name="T54" fmla="*/ 701 w 1045"/>
                <a:gd name="T55" fmla="*/ 891 h 1345"/>
                <a:gd name="T56" fmla="*/ 678 w 1045"/>
                <a:gd name="T57" fmla="*/ 862 h 1345"/>
                <a:gd name="T58" fmla="*/ 649 w 1045"/>
                <a:gd name="T59" fmla="*/ 839 h 1345"/>
                <a:gd name="T60" fmla="*/ 616 w 1045"/>
                <a:gd name="T61" fmla="*/ 821 h 1345"/>
                <a:gd name="T62" fmla="*/ 580 w 1045"/>
                <a:gd name="T63" fmla="*/ 810 h 1345"/>
                <a:gd name="T64" fmla="*/ 542 w 1045"/>
                <a:gd name="T65" fmla="*/ 806 h 1345"/>
                <a:gd name="T66" fmla="*/ 254 w 1045"/>
                <a:gd name="T67" fmla="*/ 0 h 1345"/>
                <a:gd name="T68" fmla="*/ 954 w 1045"/>
                <a:gd name="T69" fmla="*/ 34 h 1345"/>
                <a:gd name="T70" fmla="*/ 980 w 1045"/>
                <a:gd name="T71" fmla="*/ 40 h 1345"/>
                <a:gd name="T72" fmla="*/ 1002 w 1045"/>
                <a:gd name="T73" fmla="*/ 51 h 1345"/>
                <a:gd name="T74" fmla="*/ 1021 w 1045"/>
                <a:gd name="T75" fmla="*/ 67 h 1345"/>
                <a:gd name="T76" fmla="*/ 1035 w 1045"/>
                <a:gd name="T77" fmla="*/ 88 h 1345"/>
                <a:gd name="T78" fmla="*/ 1043 w 1045"/>
                <a:gd name="T79" fmla="*/ 111 h 1345"/>
                <a:gd name="T80" fmla="*/ 1045 w 1045"/>
                <a:gd name="T81" fmla="*/ 138 h 1345"/>
                <a:gd name="T82" fmla="*/ 959 w 1045"/>
                <a:gd name="T83" fmla="*/ 1250 h 1345"/>
                <a:gd name="T84" fmla="*/ 954 w 1045"/>
                <a:gd name="T85" fmla="*/ 1277 h 1345"/>
                <a:gd name="T86" fmla="*/ 941 w 1045"/>
                <a:gd name="T87" fmla="*/ 1300 h 1345"/>
                <a:gd name="T88" fmla="*/ 925 w 1045"/>
                <a:gd name="T89" fmla="*/ 1319 h 1345"/>
                <a:gd name="T90" fmla="*/ 904 w 1045"/>
                <a:gd name="T91" fmla="*/ 1333 h 1345"/>
                <a:gd name="T92" fmla="*/ 879 w 1045"/>
                <a:gd name="T93" fmla="*/ 1343 h 1345"/>
                <a:gd name="T94" fmla="*/ 853 w 1045"/>
                <a:gd name="T95" fmla="*/ 1345 h 1345"/>
                <a:gd name="T96" fmla="*/ 77 w 1045"/>
                <a:gd name="T97" fmla="*/ 1345 h 1345"/>
                <a:gd name="T98" fmla="*/ 52 w 1045"/>
                <a:gd name="T99" fmla="*/ 1341 h 1345"/>
                <a:gd name="T100" fmla="*/ 30 w 1045"/>
                <a:gd name="T101" fmla="*/ 1330 h 1345"/>
                <a:gd name="T102" fmla="*/ 15 w 1045"/>
                <a:gd name="T103" fmla="*/ 1315 h 1345"/>
                <a:gd name="T104" fmla="*/ 4 w 1045"/>
                <a:gd name="T105" fmla="*/ 1294 h 1345"/>
                <a:gd name="T106" fmla="*/ 0 w 1045"/>
                <a:gd name="T107" fmla="*/ 1271 h 1345"/>
                <a:gd name="T108" fmla="*/ 3 w 1045"/>
                <a:gd name="T109" fmla="*/ 1246 h 1345"/>
                <a:gd name="T110" fmla="*/ 131 w 1045"/>
                <a:gd name="T111" fmla="*/ 91 h 1345"/>
                <a:gd name="T112" fmla="*/ 141 w 1045"/>
                <a:gd name="T113" fmla="*/ 66 h 1345"/>
                <a:gd name="T114" fmla="*/ 156 w 1045"/>
                <a:gd name="T115" fmla="*/ 44 h 1345"/>
                <a:gd name="T116" fmla="*/ 176 w 1045"/>
                <a:gd name="T117" fmla="*/ 25 h 1345"/>
                <a:gd name="T118" fmla="*/ 200 w 1045"/>
                <a:gd name="T119" fmla="*/ 11 h 1345"/>
                <a:gd name="T120" fmla="*/ 226 w 1045"/>
                <a:gd name="T121" fmla="*/ 3 h 1345"/>
                <a:gd name="T122" fmla="*/ 254 w 1045"/>
                <a:gd name="T123" fmla="*/ 0 h 1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45" h="1345">
                  <a:moveTo>
                    <a:pt x="542" y="806"/>
                  </a:moveTo>
                  <a:lnTo>
                    <a:pt x="502" y="810"/>
                  </a:lnTo>
                  <a:lnTo>
                    <a:pt x="466" y="821"/>
                  </a:lnTo>
                  <a:lnTo>
                    <a:pt x="433" y="839"/>
                  </a:lnTo>
                  <a:lnTo>
                    <a:pt x="404" y="862"/>
                  </a:lnTo>
                  <a:lnTo>
                    <a:pt x="380" y="891"/>
                  </a:lnTo>
                  <a:lnTo>
                    <a:pt x="362" y="923"/>
                  </a:lnTo>
                  <a:lnTo>
                    <a:pt x="351" y="960"/>
                  </a:lnTo>
                  <a:lnTo>
                    <a:pt x="347" y="998"/>
                  </a:lnTo>
                  <a:lnTo>
                    <a:pt x="351" y="1037"/>
                  </a:lnTo>
                  <a:lnTo>
                    <a:pt x="362" y="1074"/>
                  </a:lnTo>
                  <a:lnTo>
                    <a:pt x="380" y="1107"/>
                  </a:lnTo>
                  <a:lnTo>
                    <a:pt x="404" y="1136"/>
                  </a:lnTo>
                  <a:lnTo>
                    <a:pt x="433" y="1159"/>
                  </a:lnTo>
                  <a:lnTo>
                    <a:pt x="466" y="1177"/>
                  </a:lnTo>
                  <a:lnTo>
                    <a:pt x="502" y="1188"/>
                  </a:lnTo>
                  <a:lnTo>
                    <a:pt x="542" y="1193"/>
                  </a:lnTo>
                  <a:lnTo>
                    <a:pt x="580" y="1188"/>
                  </a:lnTo>
                  <a:lnTo>
                    <a:pt x="616" y="1177"/>
                  </a:lnTo>
                  <a:lnTo>
                    <a:pt x="649" y="1159"/>
                  </a:lnTo>
                  <a:lnTo>
                    <a:pt x="678" y="1136"/>
                  </a:lnTo>
                  <a:lnTo>
                    <a:pt x="701" y="1107"/>
                  </a:lnTo>
                  <a:lnTo>
                    <a:pt x="719" y="1074"/>
                  </a:lnTo>
                  <a:lnTo>
                    <a:pt x="730" y="1037"/>
                  </a:lnTo>
                  <a:lnTo>
                    <a:pt x="735" y="998"/>
                  </a:lnTo>
                  <a:lnTo>
                    <a:pt x="730" y="960"/>
                  </a:lnTo>
                  <a:lnTo>
                    <a:pt x="719" y="923"/>
                  </a:lnTo>
                  <a:lnTo>
                    <a:pt x="701" y="891"/>
                  </a:lnTo>
                  <a:lnTo>
                    <a:pt x="678" y="862"/>
                  </a:lnTo>
                  <a:lnTo>
                    <a:pt x="649" y="839"/>
                  </a:lnTo>
                  <a:lnTo>
                    <a:pt x="616" y="821"/>
                  </a:lnTo>
                  <a:lnTo>
                    <a:pt x="580" y="810"/>
                  </a:lnTo>
                  <a:lnTo>
                    <a:pt x="542" y="806"/>
                  </a:lnTo>
                  <a:close/>
                  <a:moveTo>
                    <a:pt x="254" y="0"/>
                  </a:moveTo>
                  <a:lnTo>
                    <a:pt x="954" y="34"/>
                  </a:lnTo>
                  <a:lnTo>
                    <a:pt x="980" y="40"/>
                  </a:lnTo>
                  <a:lnTo>
                    <a:pt x="1002" y="51"/>
                  </a:lnTo>
                  <a:lnTo>
                    <a:pt x="1021" y="67"/>
                  </a:lnTo>
                  <a:lnTo>
                    <a:pt x="1035" y="88"/>
                  </a:lnTo>
                  <a:lnTo>
                    <a:pt x="1043" y="111"/>
                  </a:lnTo>
                  <a:lnTo>
                    <a:pt x="1045" y="138"/>
                  </a:lnTo>
                  <a:lnTo>
                    <a:pt x="959" y="1250"/>
                  </a:lnTo>
                  <a:lnTo>
                    <a:pt x="954" y="1277"/>
                  </a:lnTo>
                  <a:lnTo>
                    <a:pt x="941" y="1300"/>
                  </a:lnTo>
                  <a:lnTo>
                    <a:pt x="925" y="1319"/>
                  </a:lnTo>
                  <a:lnTo>
                    <a:pt x="904" y="1333"/>
                  </a:lnTo>
                  <a:lnTo>
                    <a:pt x="879" y="1343"/>
                  </a:lnTo>
                  <a:lnTo>
                    <a:pt x="853" y="1345"/>
                  </a:lnTo>
                  <a:lnTo>
                    <a:pt x="77" y="1345"/>
                  </a:lnTo>
                  <a:lnTo>
                    <a:pt x="52" y="1341"/>
                  </a:lnTo>
                  <a:lnTo>
                    <a:pt x="30" y="1330"/>
                  </a:lnTo>
                  <a:lnTo>
                    <a:pt x="15" y="1315"/>
                  </a:lnTo>
                  <a:lnTo>
                    <a:pt x="4" y="1294"/>
                  </a:lnTo>
                  <a:lnTo>
                    <a:pt x="0" y="1271"/>
                  </a:lnTo>
                  <a:lnTo>
                    <a:pt x="3" y="1246"/>
                  </a:lnTo>
                  <a:lnTo>
                    <a:pt x="131" y="91"/>
                  </a:lnTo>
                  <a:lnTo>
                    <a:pt x="141" y="66"/>
                  </a:lnTo>
                  <a:lnTo>
                    <a:pt x="156" y="44"/>
                  </a:lnTo>
                  <a:lnTo>
                    <a:pt x="176" y="25"/>
                  </a:lnTo>
                  <a:lnTo>
                    <a:pt x="200" y="11"/>
                  </a:lnTo>
                  <a:lnTo>
                    <a:pt x="226" y="3"/>
                  </a:lnTo>
                  <a:lnTo>
                    <a:pt x="2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96497"/>
                </a:solidFill>
                <a:latin typeface="Calibri" pitchFamily="34" charset="0"/>
              </a:endParaRPr>
            </a:p>
          </p:txBody>
        </p:sp>
      </p:grpSp>
      <p:sp>
        <p:nvSpPr>
          <p:cNvPr id="16" name="Freeform 115"/>
          <p:cNvSpPr>
            <a:spLocks noEditPoints="1"/>
          </p:cNvSpPr>
          <p:nvPr/>
        </p:nvSpPr>
        <p:spPr bwMode="auto">
          <a:xfrm>
            <a:off x="3721582" y="3509310"/>
            <a:ext cx="1549534" cy="1425644"/>
          </a:xfrm>
          <a:custGeom>
            <a:avLst/>
            <a:gdLst>
              <a:gd name="T0" fmla="*/ 3140 w 3147"/>
              <a:gd name="T1" fmla="*/ 3017 h 3169"/>
              <a:gd name="T2" fmla="*/ 3018 w 3147"/>
              <a:gd name="T3" fmla="*/ 3155 h 3169"/>
              <a:gd name="T4" fmla="*/ 2841 w 3147"/>
              <a:gd name="T5" fmla="*/ 3137 h 3169"/>
              <a:gd name="T6" fmla="*/ 3085 w 3147"/>
              <a:gd name="T7" fmla="*/ 2798 h 3169"/>
              <a:gd name="T8" fmla="*/ 1281 w 3147"/>
              <a:gd name="T9" fmla="*/ 2364 h 3169"/>
              <a:gd name="T10" fmla="*/ 398 w 3147"/>
              <a:gd name="T11" fmla="*/ 1910 h 3169"/>
              <a:gd name="T12" fmla="*/ 1882 w 3147"/>
              <a:gd name="T13" fmla="*/ 1574 h 3169"/>
              <a:gd name="T14" fmla="*/ 398 w 3147"/>
              <a:gd name="T15" fmla="*/ 1457 h 3169"/>
              <a:gd name="T16" fmla="*/ 1986 w 3147"/>
              <a:gd name="T17" fmla="*/ 1023 h 3169"/>
              <a:gd name="T18" fmla="*/ 1710 w 3147"/>
              <a:gd name="T19" fmla="*/ 1218 h 3169"/>
              <a:gd name="T20" fmla="*/ 1565 w 3147"/>
              <a:gd name="T21" fmla="*/ 1515 h 3169"/>
              <a:gd name="T22" fmla="*/ 1572 w 3147"/>
              <a:gd name="T23" fmla="*/ 1848 h 3169"/>
              <a:gd name="T24" fmla="*/ 1741 w 3147"/>
              <a:gd name="T25" fmla="*/ 2147 h 3169"/>
              <a:gd name="T26" fmla="*/ 2019 w 3147"/>
              <a:gd name="T27" fmla="*/ 2320 h 3169"/>
              <a:gd name="T28" fmla="*/ 2341 w 3147"/>
              <a:gd name="T29" fmla="*/ 2340 h 3169"/>
              <a:gd name="T30" fmla="*/ 2650 w 3147"/>
              <a:gd name="T31" fmla="*/ 2189 h 3169"/>
              <a:gd name="T32" fmla="*/ 2846 w 3147"/>
              <a:gd name="T33" fmla="*/ 1899 h 3169"/>
              <a:gd name="T34" fmla="*/ 2877 w 3147"/>
              <a:gd name="T35" fmla="*/ 1551 h 3169"/>
              <a:gd name="T36" fmla="*/ 2731 w 3147"/>
              <a:gd name="T37" fmla="*/ 1227 h 3169"/>
              <a:gd name="T38" fmla="*/ 2468 w 3147"/>
              <a:gd name="T39" fmla="*/ 1030 h 3169"/>
              <a:gd name="T40" fmla="*/ 398 w 3147"/>
              <a:gd name="T41" fmla="*/ 901 h 3169"/>
              <a:gd name="T42" fmla="*/ 2303 w 3147"/>
              <a:gd name="T43" fmla="*/ 848 h 3169"/>
              <a:gd name="T44" fmla="*/ 2650 w 3147"/>
              <a:gd name="T45" fmla="*/ 974 h 3169"/>
              <a:gd name="T46" fmla="*/ 2911 w 3147"/>
              <a:gd name="T47" fmla="*/ 1255 h 3169"/>
              <a:gd name="T48" fmla="*/ 3017 w 3147"/>
              <a:gd name="T49" fmla="*/ 1628 h 3169"/>
              <a:gd name="T50" fmla="*/ 2950 w 3147"/>
              <a:gd name="T51" fmla="*/ 1998 h 3169"/>
              <a:gd name="T52" fmla="*/ 2725 w 3147"/>
              <a:gd name="T53" fmla="*/ 2302 h 3169"/>
              <a:gd name="T54" fmla="*/ 2378 w 3147"/>
              <a:gd name="T55" fmla="*/ 2471 h 3169"/>
              <a:gd name="T56" fmla="*/ 2011 w 3147"/>
              <a:gd name="T57" fmla="*/ 2460 h 3169"/>
              <a:gd name="T58" fmla="*/ 1685 w 3147"/>
              <a:gd name="T59" fmla="*/ 2280 h 3169"/>
              <a:gd name="T60" fmla="*/ 1467 w 3147"/>
              <a:gd name="T61" fmla="*/ 1957 h 3169"/>
              <a:gd name="T62" fmla="*/ 1421 w 3147"/>
              <a:gd name="T63" fmla="*/ 1577 h 3169"/>
              <a:gd name="T64" fmla="*/ 1542 w 3147"/>
              <a:gd name="T65" fmla="*/ 1223 h 3169"/>
              <a:gd name="T66" fmla="*/ 1817 w 3147"/>
              <a:gd name="T67" fmla="*/ 953 h 3169"/>
              <a:gd name="T68" fmla="*/ 2180 w 3147"/>
              <a:gd name="T69" fmla="*/ 844 h 3169"/>
              <a:gd name="T70" fmla="*/ 2080 w 3147"/>
              <a:gd name="T71" fmla="*/ 28 h 3169"/>
              <a:gd name="T72" fmla="*/ 2315 w 3147"/>
              <a:gd name="T73" fmla="*/ 221 h 3169"/>
              <a:gd name="T74" fmla="*/ 2387 w 3147"/>
              <a:gd name="T75" fmla="*/ 800 h 3169"/>
              <a:gd name="T76" fmla="*/ 2229 w 3147"/>
              <a:gd name="T77" fmla="*/ 344 h 3169"/>
              <a:gd name="T78" fmla="*/ 2053 w 3147"/>
              <a:gd name="T79" fmla="*/ 163 h 3169"/>
              <a:gd name="T80" fmla="*/ 1196 w 3147"/>
              <a:gd name="T81" fmla="*/ 147 h 3169"/>
              <a:gd name="T82" fmla="*/ 1001 w 3147"/>
              <a:gd name="T83" fmla="*/ 291 h 3169"/>
              <a:gd name="T84" fmla="*/ 1758 w 3147"/>
              <a:gd name="T85" fmla="*/ 418 h 3169"/>
              <a:gd name="T86" fmla="*/ 2006 w 3147"/>
              <a:gd name="T87" fmla="*/ 568 h 3169"/>
              <a:gd name="T88" fmla="*/ 2048 w 3147"/>
              <a:gd name="T89" fmla="*/ 800 h 3169"/>
              <a:gd name="T90" fmla="*/ 1885 w 3147"/>
              <a:gd name="T91" fmla="*/ 635 h 3169"/>
              <a:gd name="T92" fmla="*/ 1659 w 3147"/>
              <a:gd name="T93" fmla="*/ 544 h 3169"/>
              <a:gd name="T94" fmla="*/ 262 w 3147"/>
              <a:gd name="T95" fmla="*/ 614 h 3169"/>
              <a:gd name="T96" fmla="*/ 137 w 3147"/>
              <a:gd name="T97" fmla="*/ 838 h 3169"/>
              <a:gd name="T98" fmla="*/ 179 w 3147"/>
              <a:gd name="T99" fmla="*/ 2552 h 3169"/>
              <a:gd name="T100" fmla="*/ 377 w 3147"/>
              <a:gd name="T101" fmla="*/ 2709 h 3169"/>
              <a:gd name="T102" fmla="*/ 1789 w 3147"/>
              <a:gd name="T103" fmla="*/ 2694 h 3169"/>
              <a:gd name="T104" fmla="*/ 1964 w 3147"/>
              <a:gd name="T105" fmla="*/ 2510 h 3169"/>
              <a:gd name="T106" fmla="*/ 1985 w 3147"/>
              <a:gd name="T107" fmla="*/ 2717 h 3169"/>
              <a:gd name="T108" fmla="*/ 1712 w 3147"/>
              <a:gd name="T109" fmla="*/ 2854 h 3169"/>
              <a:gd name="T110" fmla="*/ 261 w 3147"/>
              <a:gd name="T111" fmla="*/ 2809 h 3169"/>
              <a:gd name="T112" fmla="*/ 48 w 3147"/>
              <a:gd name="T113" fmla="*/ 2591 h 3169"/>
              <a:gd name="T114" fmla="*/ 4 w 3147"/>
              <a:gd name="T115" fmla="*/ 829 h 3169"/>
              <a:gd name="T116" fmla="*/ 137 w 3147"/>
              <a:gd name="T117" fmla="*/ 547 h 3169"/>
              <a:gd name="T118" fmla="*/ 411 w 3147"/>
              <a:gd name="T119" fmla="*/ 411 h 3169"/>
              <a:gd name="T120" fmla="*/ 894 w 3147"/>
              <a:gd name="T121" fmla="*/ 213 h 3169"/>
              <a:gd name="T122" fmla="*/ 1126 w 3147"/>
              <a:gd name="T123" fmla="*/ 27 h 31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147" h="3169">
                <a:moveTo>
                  <a:pt x="3120" y="2863"/>
                </a:moveTo>
                <a:lnTo>
                  <a:pt x="3134" y="2893"/>
                </a:lnTo>
                <a:lnTo>
                  <a:pt x="3143" y="2924"/>
                </a:lnTo>
                <a:lnTo>
                  <a:pt x="3147" y="2956"/>
                </a:lnTo>
                <a:lnTo>
                  <a:pt x="3146" y="2986"/>
                </a:lnTo>
                <a:lnTo>
                  <a:pt x="3140" y="3017"/>
                </a:lnTo>
                <a:lnTo>
                  <a:pt x="3130" y="3047"/>
                </a:lnTo>
                <a:lnTo>
                  <a:pt x="3116" y="3075"/>
                </a:lnTo>
                <a:lnTo>
                  <a:pt x="3097" y="3100"/>
                </a:lnTo>
                <a:lnTo>
                  <a:pt x="3075" y="3123"/>
                </a:lnTo>
                <a:lnTo>
                  <a:pt x="3048" y="3141"/>
                </a:lnTo>
                <a:lnTo>
                  <a:pt x="3018" y="3155"/>
                </a:lnTo>
                <a:lnTo>
                  <a:pt x="2988" y="3165"/>
                </a:lnTo>
                <a:lnTo>
                  <a:pt x="2957" y="3169"/>
                </a:lnTo>
                <a:lnTo>
                  <a:pt x="2927" y="3168"/>
                </a:lnTo>
                <a:lnTo>
                  <a:pt x="2897" y="3162"/>
                </a:lnTo>
                <a:lnTo>
                  <a:pt x="2868" y="3151"/>
                </a:lnTo>
                <a:lnTo>
                  <a:pt x="2841" y="3137"/>
                </a:lnTo>
                <a:lnTo>
                  <a:pt x="2815" y="3117"/>
                </a:lnTo>
                <a:lnTo>
                  <a:pt x="2794" y="3094"/>
                </a:lnTo>
                <a:lnTo>
                  <a:pt x="2775" y="3067"/>
                </a:lnTo>
                <a:lnTo>
                  <a:pt x="3120" y="2863"/>
                </a:lnTo>
                <a:close/>
                <a:moveTo>
                  <a:pt x="2819" y="2327"/>
                </a:moveTo>
                <a:lnTo>
                  <a:pt x="3085" y="2798"/>
                </a:lnTo>
                <a:lnTo>
                  <a:pt x="2740" y="3003"/>
                </a:lnTo>
                <a:lnTo>
                  <a:pt x="2475" y="2531"/>
                </a:lnTo>
                <a:lnTo>
                  <a:pt x="2819" y="2327"/>
                </a:lnTo>
                <a:close/>
                <a:moveTo>
                  <a:pt x="398" y="2262"/>
                </a:moveTo>
                <a:lnTo>
                  <a:pt x="1281" y="2262"/>
                </a:lnTo>
                <a:lnTo>
                  <a:pt x="1281" y="2364"/>
                </a:lnTo>
                <a:lnTo>
                  <a:pt x="398" y="2364"/>
                </a:lnTo>
                <a:lnTo>
                  <a:pt x="398" y="2262"/>
                </a:lnTo>
                <a:close/>
                <a:moveTo>
                  <a:pt x="398" y="1808"/>
                </a:moveTo>
                <a:lnTo>
                  <a:pt x="1078" y="1808"/>
                </a:lnTo>
                <a:lnTo>
                  <a:pt x="1078" y="1910"/>
                </a:lnTo>
                <a:lnTo>
                  <a:pt x="398" y="1910"/>
                </a:lnTo>
                <a:lnTo>
                  <a:pt x="398" y="1808"/>
                </a:lnTo>
                <a:close/>
                <a:moveTo>
                  <a:pt x="2559" y="1404"/>
                </a:moveTo>
                <a:lnTo>
                  <a:pt x="2644" y="1509"/>
                </a:lnTo>
                <a:lnTo>
                  <a:pt x="2075" y="1996"/>
                </a:lnTo>
                <a:lnTo>
                  <a:pt x="1783" y="1665"/>
                </a:lnTo>
                <a:lnTo>
                  <a:pt x="1882" y="1574"/>
                </a:lnTo>
                <a:lnTo>
                  <a:pt x="2088" y="1808"/>
                </a:lnTo>
                <a:lnTo>
                  <a:pt x="2559" y="1404"/>
                </a:lnTo>
                <a:close/>
                <a:moveTo>
                  <a:pt x="398" y="1355"/>
                </a:moveTo>
                <a:lnTo>
                  <a:pt x="1078" y="1355"/>
                </a:lnTo>
                <a:lnTo>
                  <a:pt x="1078" y="1457"/>
                </a:lnTo>
                <a:lnTo>
                  <a:pt x="398" y="1457"/>
                </a:lnTo>
                <a:lnTo>
                  <a:pt x="398" y="1355"/>
                </a:lnTo>
                <a:close/>
                <a:moveTo>
                  <a:pt x="2202" y="980"/>
                </a:moveTo>
                <a:lnTo>
                  <a:pt x="2148" y="983"/>
                </a:lnTo>
                <a:lnTo>
                  <a:pt x="2094" y="992"/>
                </a:lnTo>
                <a:lnTo>
                  <a:pt x="2040" y="1004"/>
                </a:lnTo>
                <a:lnTo>
                  <a:pt x="1986" y="1023"/>
                </a:lnTo>
                <a:lnTo>
                  <a:pt x="1934" y="1044"/>
                </a:lnTo>
                <a:lnTo>
                  <a:pt x="1883" y="1072"/>
                </a:lnTo>
                <a:lnTo>
                  <a:pt x="1835" y="1104"/>
                </a:lnTo>
                <a:lnTo>
                  <a:pt x="1790" y="1139"/>
                </a:lnTo>
                <a:lnTo>
                  <a:pt x="1747" y="1177"/>
                </a:lnTo>
                <a:lnTo>
                  <a:pt x="1710" y="1218"/>
                </a:lnTo>
                <a:lnTo>
                  <a:pt x="1676" y="1263"/>
                </a:lnTo>
                <a:lnTo>
                  <a:pt x="1646" y="1310"/>
                </a:lnTo>
                <a:lnTo>
                  <a:pt x="1620" y="1359"/>
                </a:lnTo>
                <a:lnTo>
                  <a:pt x="1598" y="1409"/>
                </a:lnTo>
                <a:lnTo>
                  <a:pt x="1580" y="1462"/>
                </a:lnTo>
                <a:lnTo>
                  <a:pt x="1565" y="1515"/>
                </a:lnTo>
                <a:lnTo>
                  <a:pt x="1555" y="1570"/>
                </a:lnTo>
                <a:lnTo>
                  <a:pt x="1550" y="1626"/>
                </a:lnTo>
                <a:lnTo>
                  <a:pt x="1548" y="1681"/>
                </a:lnTo>
                <a:lnTo>
                  <a:pt x="1552" y="1737"/>
                </a:lnTo>
                <a:lnTo>
                  <a:pt x="1560" y="1793"/>
                </a:lnTo>
                <a:lnTo>
                  <a:pt x="1572" y="1848"/>
                </a:lnTo>
                <a:lnTo>
                  <a:pt x="1590" y="1903"/>
                </a:lnTo>
                <a:lnTo>
                  <a:pt x="1612" y="1957"/>
                </a:lnTo>
                <a:lnTo>
                  <a:pt x="1639" y="2009"/>
                </a:lnTo>
                <a:lnTo>
                  <a:pt x="1669" y="2059"/>
                </a:lnTo>
                <a:lnTo>
                  <a:pt x="1703" y="2105"/>
                </a:lnTo>
                <a:lnTo>
                  <a:pt x="1741" y="2147"/>
                </a:lnTo>
                <a:lnTo>
                  <a:pt x="1781" y="2186"/>
                </a:lnTo>
                <a:lnTo>
                  <a:pt x="1825" y="2221"/>
                </a:lnTo>
                <a:lnTo>
                  <a:pt x="1870" y="2252"/>
                </a:lnTo>
                <a:lnTo>
                  <a:pt x="1918" y="2279"/>
                </a:lnTo>
                <a:lnTo>
                  <a:pt x="1967" y="2302"/>
                </a:lnTo>
                <a:lnTo>
                  <a:pt x="2019" y="2320"/>
                </a:lnTo>
                <a:lnTo>
                  <a:pt x="2071" y="2335"/>
                </a:lnTo>
                <a:lnTo>
                  <a:pt x="2123" y="2345"/>
                </a:lnTo>
                <a:lnTo>
                  <a:pt x="2177" y="2350"/>
                </a:lnTo>
                <a:lnTo>
                  <a:pt x="2232" y="2351"/>
                </a:lnTo>
                <a:lnTo>
                  <a:pt x="2286" y="2348"/>
                </a:lnTo>
                <a:lnTo>
                  <a:pt x="2341" y="2340"/>
                </a:lnTo>
                <a:lnTo>
                  <a:pt x="2394" y="2328"/>
                </a:lnTo>
                <a:lnTo>
                  <a:pt x="2448" y="2310"/>
                </a:lnTo>
                <a:lnTo>
                  <a:pt x="2500" y="2287"/>
                </a:lnTo>
                <a:lnTo>
                  <a:pt x="2551" y="2260"/>
                </a:lnTo>
                <a:lnTo>
                  <a:pt x="2602" y="2227"/>
                </a:lnTo>
                <a:lnTo>
                  <a:pt x="2650" y="2189"/>
                </a:lnTo>
                <a:lnTo>
                  <a:pt x="2693" y="2147"/>
                </a:lnTo>
                <a:lnTo>
                  <a:pt x="2732" y="2103"/>
                </a:lnTo>
                <a:lnTo>
                  <a:pt x="2767" y="2056"/>
                </a:lnTo>
                <a:lnTo>
                  <a:pt x="2797" y="2006"/>
                </a:lnTo>
                <a:lnTo>
                  <a:pt x="2823" y="1953"/>
                </a:lnTo>
                <a:lnTo>
                  <a:pt x="2846" y="1899"/>
                </a:lnTo>
                <a:lnTo>
                  <a:pt x="2863" y="1843"/>
                </a:lnTo>
                <a:lnTo>
                  <a:pt x="2875" y="1786"/>
                </a:lnTo>
                <a:lnTo>
                  <a:pt x="2883" y="1729"/>
                </a:lnTo>
                <a:lnTo>
                  <a:pt x="2886" y="1670"/>
                </a:lnTo>
                <a:lnTo>
                  <a:pt x="2884" y="1610"/>
                </a:lnTo>
                <a:lnTo>
                  <a:pt x="2877" y="1551"/>
                </a:lnTo>
                <a:lnTo>
                  <a:pt x="2865" y="1493"/>
                </a:lnTo>
                <a:lnTo>
                  <a:pt x="2847" y="1435"/>
                </a:lnTo>
                <a:lnTo>
                  <a:pt x="2824" y="1378"/>
                </a:lnTo>
                <a:lnTo>
                  <a:pt x="2796" y="1324"/>
                </a:lnTo>
                <a:lnTo>
                  <a:pt x="2765" y="1273"/>
                </a:lnTo>
                <a:lnTo>
                  <a:pt x="2731" y="1227"/>
                </a:lnTo>
                <a:lnTo>
                  <a:pt x="2694" y="1184"/>
                </a:lnTo>
                <a:lnTo>
                  <a:pt x="2653" y="1145"/>
                </a:lnTo>
                <a:lnTo>
                  <a:pt x="2609" y="1111"/>
                </a:lnTo>
                <a:lnTo>
                  <a:pt x="2564" y="1079"/>
                </a:lnTo>
                <a:lnTo>
                  <a:pt x="2517" y="1052"/>
                </a:lnTo>
                <a:lnTo>
                  <a:pt x="2468" y="1030"/>
                </a:lnTo>
                <a:lnTo>
                  <a:pt x="2417" y="1011"/>
                </a:lnTo>
                <a:lnTo>
                  <a:pt x="2364" y="997"/>
                </a:lnTo>
                <a:lnTo>
                  <a:pt x="2311" y="987"/>
                </a:lnTo>
                <a:lnTo>
                  <a:pt x="2257" y="981"/>
                </a:lnTo>
                <a:lnTo>
                  <a:pt x="2202" y="980"/>
                </a:lnTo>
                <a:close/>
                <a:moveTo>
                  <a:pt x="398" y="901"/>
                </a:moveTo>
                <a:lnTo>
                  <a:pt x="1281" y="901"/>
                </a:lnTo>
                <a:lnTo>
                  <a:pt x="1281" y="1003"/>
                </a:lnTo>
                <a:lnTo>
                  <a:pt x="398" y="1003"/>
                </a:lnTo>
                <a:lnTo>
                  <a:pt x="398" y="901"/>
                </a:lnTo>
                <a:close/>
                <a:moveTo>
                  <a:pt x="2242" y="844"/>
                </a:moveTo>
                <a:lnTo>
                  <a:pt x="2303" y="848"/>
                </a:lnTo>
                <a:lnTo>
                  <a:pt x="2364" y="858"/>
                </a:lnTo>
                <a:lnTo>
                  <a:pt x="2425" y="872"/>
                </a:lnTo>
                <a:lnTo>
                  <a:pt x="2483" y="891"/>
                </a:lnTo>
                <a:lnTo>
                  <a:pt x="2540" y="914"/>
                </a:lnTo>
                <a:lnTo>
                  <a:pt x="2596" y="941"/>
                </a:lnTo>
                <a:lnTo>
                  <a:pt x="2650" y="974"/>
                </a:lnTo>
                <a:lnTo>
                  <a:pt x="2701" y="1010"/>
                </a:lnTo>
                <a:lnTo>
                  <a:pt x="2749" y="1050"/>
                </a:lnTo>
                <a:lnTo>
                  <a:pt x="2794" y="1096"/>
                </a:lnTo>
                <a:lnTo>
                  <a:pt x="2837" y="1145"/>
                </a:lnTo>
                <a:lnTo>
                  <a:pt x="2876" y="1198"/>
                </a:lnTo>
                <a:lnTo>
                  <a:pt x="2911" y="1255"/>
                </a:lnTo>
                <a:lnTo>
                  <a:pt x="2942" y="1314"/>
                </a:lnTo>
                <a:lnTo>
                  <a:pt x="2967" y="1375"/>
                </a:lnTo>
                <a:lnTo>
                  <a:pt x="2987" y="1438"/>
                </a:lnTo>
                <a:lnTo>
                  <a:pt x="3002" y="1501"/>
                </a:lnTo>
                <a:lnTo>
                  <a:pt x="3012" y="1564"/>
                </a:lnTo>
                <a:lnTo>
                  <a:pt x="3017" y="1628"/>
                </a:lnTo>
                <a:lnTo>
                  <a:pt x="3018" y="1692"/>
                </a:lnTo>
                <a:lnTo>
                  <a:pt x="3013" y="1754"/>
                </a:lnTo>
                <a:lnTo>
                  <a:pt x="3004" y="1817"/>
                </a:lnTo>
                <a:lnTo>
                  <a:pt x="2991" y="1878"/>
                </a:lnTo>
                <a:lnTo>
                  <a:pt x="2973" y="1939"/>
                </a:lnTo>
                <a:lnTo>
                  <a:pt x="2950" y="1998"/>
                </a:lnTo>
                <a:lnTo>
                  <a:pt x="2923" y="2054"/>
                </a:lnTo>
                <a:lnTo>
                  <a:pt x="2892" y="2109"/>
                </a:lnTo>
                <a:lnTo>
                  <a:pt x="2857" y="2162"/>
                </a:lnTo>
                <a:lnTo>
                  <a:pt x="2816" y="2211"/>
                </a:lnTo>
                <a:lnTo>
                  <a:pt x="2773" y="2259"/>
                </a:lnTo>
                <a:lnTo>
                  <a:pt x="2725" y="2302"/>
                </a:lnTo>
                <a:lnTo>
                  <a:pt x="2674" y="2341"/>
                </a:lnTo>
                <a:lnTo>
                  <a:pt x="2618" y="2377"/>
                </a:lnTo>
                <a:lnTo>
                  <a:pt x="2560" y="2409"/>
                </a:lnTo>
                <a:lnTo>
                  <a:pt x="2501" y="2435"/>
                </a:lnTo>
                <a:lnTo>
                  <a:pt x="2440" y="2456"/>
                </a:lnTo>
                <a:lnTo>
                  <a:pt x="2378" y="2471"/>
                </a:lnTo>
                <a:lnTo>
                  <a:pt x="2317" y="2481"/>
                </a:lnTo>
                <a:lnTo>
                  <a:pt x="2255" y="2486"/>
                </a:lnTo>
                <a:lnTo>
                  <a:pt x="2192" y="2487"/>
                </a:lnTo>
                <a:lnTo>
                  <a:pt x="2131" y="2482"/>
                </a:lnTo>
                <a:lnTo>
                  <a:pt x="2070" y="2473"/>
                </a:lnTo>
                <a:lnTo>
                  <a:pt x="2011" y="2460"/>
                </a:lnTo>
                <a:lnTo>
                  <a:pt x="1951" y="2441"/>
                </a:lnTo>
                <a:lnTo>
                  <a:pt x="1894" y="2417"/>
                </a:lnTo>
                <a:lnTo>
                  <a:pt x="1839" y="2390"/>
                </a:lnTo>
                <a:lnTo>
                  <a:pt x="1784" y="2358"/>
                </a:lnTo>
                <a:lnTo>
                  <a:pt x="1734" y="2321"/>
                </a:lnTo>
                <a:lnTo>
                  <a:pt x="1685" y="2280"/>
                </a:lnTo>
                <a:lnTo>
                  <a:pt x="1640" y="2236"/>
                </a:lnTo>
                <a:lnTo>
                  <a:pt x="1598" y="2186"/>
                </a:lnTo>
                <a:lnTo>
                  <a:pt x="1558" y="2134"/>
                </a:lnTo>
                <a:lnTo>
                  <a:pt x="1523" y="2077"/>
                </a:lnTo>
                <a:lnTo>
                  <a:pt x="1493" y="2017"/>
                </a:lnTo>
                <a:lnTo>
                  <a:pt x="1467" y="1957"/>
                </a:lnTo>
                <a:lnTo>
                  <a:pt x="1447" y="1894"/>
                </a:lnTo>
                <a:lnTo>
                  <a:pt x="1432" y="1831"/>
                </a:lnTo>
                <a:lnTo>
                  <a:pt x="1422" y="1768"/>
                </a:lnTo>
                <a:lnTo>
                  <a:pt x="1417" y="1704"/>
                </a:lnTo>
                <a:lnTo>
                  <a:pt x="1417" y="1640"/>
                </a:lnTo>
                <a:lnTo>
                  <a:pt x="1421" y="1577"/>
                </a:lnTo>
                <a:lnTo>
                  <a:pt x="1430" y="1514"/>
                </a:lnTo>
                <a:lnTo>
                  <a:pt x="1444" y="1453"/>
                </a:lnTo>
                <a:lnTo>
                  <a:pt x="1462" y="1393"/>
                </a:lnTo>
                <a:lnTo>
                  <a:pt x="1484" y="1334"/>
                </a:lnTo>
                <a:lnTo>
                  <a:pt x="1511" y="1277"/>
                </a:lnTo>
                <a:lnTo>
                  <a:pt x="1542" y="1223"/>
                </a:lnTo>
                <a:lnTo>
                  <a:pt x="1579" y="1170"/>
                </a:lnTo>
                <a:lnTo>
                  <a:pt x="1618" y="1119"/>
                </a:lnTo>
                <a:lnTo>
                  <a:pt x="1662" y="1073"/>
                </a:lnTo>
                <a:lnTo>
                  <a:pt x="1709" y="1030"/>
                </a:lnTo>
                <a:lnTo>
                  <a:pt x="1761" y="990"/>
                </a:lnTo>
                <a:lnTo>
                  <a:pt x="1817" y="953"/>
                </a:lnTo>
                <a:lnTo>
                  <a:pt x="1875" y="923"/>
                </a:lnTo>
                <a:lnTo>
                  <a:pt x="1934" y="897"/>
                </a:lnTo>
                <a:lnTo>
                  <a:pt x="1994" y="876"/>
                </a:lnTo>
                <a:lnTo>
                  <a:pt x="2056" y="861"/>
                </a:lnTo>
                <a:lnTo>
                  <a:pt x="2118" y="850"/>
                </a:lnTo>
                <a:lnTo>
                  <a:pt x="2180" y="844"/>
                </a:lnTo>
                <a:lnTo>
                  <a:pt x="2242" y="844"/>
                </a:lnTo>
                <a:close/>
                <a:moveTo>
                  <a:pt x="1279" y="0"/>
                </a:moveTo>
                <a:lnTo>
                  <a:pt x="1923" y="0"/>
                </a:lnTo>
                <a:lnTo>
                  <a:pt x="1977" y="3"/>
                </a:lnTo>
                <a:lnTo>
                  <a:pt x="2030" y="12"/>
                </a:lnTo>
                <a:lnTo>
                  <a:pt x="2080" y="28"/>
                </a:lnTo>
                <a:lnTo>
                  <a:pt x="2127" y="48"/>
                </a:lnTo>
                <a:lnTo>
                  <a:pt x="2172" y="74"/>
                </a:lnTo>
                <a:lnTo>
                  <a:pt x="2214" y="104"/>
                </a:lnTo>
                <a:lnTo>
                  <a:pt x="2252" y="139"/>
                </a:lnTo>
                <a:lnTo>
                  <a:pt x="2286" y="178"/>
                </a:lnTo>
                <a:lnTo>
                  <a:pt x="2315" y="221"/>
                </a:lnTo>
                <a:lnTo>
                  <a:pt x="2340" y="267"/>
                </a:lnTo>
                <a:lnTo>
                  <a:pt x="2360" y="315"/>
                </a:lnTo>
                <a:lnTo>
                  <a:pt x="2375" y="367"/>
                </a:lnTo>
                <a:lnTo>
                  <a:pt x="2384" y="420"/>
                </a:lnTo>
                <a:lnTo>
                  <a:pt x="2387" y="476"/>
                </a:lnTo>
                <a:lnTo>
                  <a:pt x="2387" y="800"/>
                </a:lnTo>
                <a:lnTo>
                  <a:pt x="2322" y="790"/>
                </a:lnTo>
                <a:lnTo>
                  <a:pt x="2255" y="783"/>
                </a:lnTo>
                <a:lnTo>
                  <a:pt x="2255" y="476"/>
                </a:lnTo>
                <a:lnTo>
                  <a:pt x="2252" y="430"/>
                </a:lnTo>
                <a:lnTo>
                  <a:pt x="2243" y="385"/>
                </a:lnTo>
                <a:lnTo>
                  <a:pt x="2229" y="344"/>
                </a:lnTo>
                <a:lnTo>
                  <a:pt x="2210" y="304"/>
                </a:lnTo>
                <a:lnTo>
                  <a:pt x="2185" y="268"/>
                </a:lnTo>
                <a:lnTo>
                  <a:pt x="2158" y="236"/>
                </a:lnTo>
                <a:lnTo>
                  <a:pt x="2126" y="207"/>
                </a:lnTo>
                <a:lnTo>
                  <a:pt x="2091" y="182"/>
                </a:lnTo>
                <a:lnTo>
                  <a:pt x="2053" y="163"/>
                </a:lnTo>
                <a:lnTo>
                  <a:pt x="2012" y="148"/>
                </a:lnTo>
                <a:lnTo>
                  <a:pt x="1968" y="139"/>
                </a:lnTo>
                <a:lnTo>
                  <a:pt x="1923" y="136"/>
                </a:lnTo>
                <a:lnTo>
                  <a:pt x="1279" y="136"/>
                </a:lnTo>
                <a:lnTo>
                  <a:pt x="1237" y="138"/>
                </a:lnTo>
                <a:lnTo>
                  <a:pt x="1196" y="147"/>
                </a:lnTo>
                <a:lnTo>
                  <a:pt x="1157" y="160"/>
                </a:lnTo>
                <a:lnTo>
                  <a:pt x="1119" y="178"/>
                </a:lnTo>
                <a:lnTo>
                  <a:pt x="1085" y="201"/>
                </a:lnTo>
                <a:lnTo>
                  <a:pt x="1053" y="228"/>
                </a:lnTo>
                <a:lnTo>
                  <a:pt x="1026" y="258"/>
                </a:lnTo>
                <a:lnTo>
                  <a:pt x="1001" y="291"/>
                </a:lnTo>
                <a:lnTo>
                  <a:pt x="981" y="328"/>
                </a:lnTo>
                <a:lnTo>
                  <a:pt x="966" y="366"/>
                </a:lnTo>
                <a:lnTo>
                  <a:pt x="955" y="407"/>
                </a:lnTo>
                <a:lnTo>
                  <a:pt x="1659" y="407"/>
                </a:lnTo>
                <a:lnTo>
                  <a:pt x="1709" y="410"/>
                </a:lnTo>
                <a:lnTo>
                  <a:pt x="1758" y="418"/>
                </a:lnTo>
                <a:lnTo>
                  <a:pt x="1807" y="432"/>
                </a:lnTo>
                <a:lnTo>
                  <a:pt x="1852" y="450"/>
                </a:lnTo>
                <a:lnTo>
                  <a:pt x="1894" y="474"/>
                </a:lnTo>
                <a:lnTo>
                  <a:pt x="1934" y="501"/>
                </a:lnTo>
                <a:lnTo>
                  <a:pt x="1971" y="533"/>
                </a:lnTo>
                <a:lnTo>
                  <a:pt x="2006" y="568"/>
                </a:lnTo>
                <a:lnTo>
                  <a:pt x="2036" y="606"/>
                </a:lnTo>
                <a:lnTo>
                  <a:pt x="2061" y="648"/>
                </a:lnTo>
                <a:lnTo>
                  <a:pt x="2083" y="693"/>
                </a:lnTo>
                <a:lnTo>
                  <a:pt x="2100" y="739"/>
                </a:lnTo>
                <a:lnTo>
                  <a:pt x="2113" y="789"/>
                </a:lnTo>
                <a:lnTo>
                  <a:pt x="2048" y="800"/>
                </a:lnTo>
                <a:lnTo>
                  <a:pt x="1983" y="815"/>
                </a:lnTo>
                <a:lnTo>
                  <a:pt x="1972" y="774"/>
                </a:lnTo>
                <a:lnTo>
                  <a:pt x="1956" y="735"/>
                </a:lnTo>
                <a:lnTo>
                  <a:pt x="1936" y="699"/>
                </a:lnTo>
                <a:lnTo>
                  <a:pt x="1912" y="666"/>
                </a:lnTo>
                <a:lnTo>
                  <a:pt x="1885" y="635"/>
                </a:lnTo>
                <a:lnTo>
                  <a:pt x="1853" y="609"/>
                </a:lnTo>
                <a:lnTo>
                  <a:pt x="1819" y="586"/>
                </a:lnTo>
                <a:lnTo>
                  <a:pt x="1781" y="568"/>
                </a:lnTo>
                <a:lnTo>
                  <a:pt x="1742" y="555"/>
                </a:lnTo>
                <a:lnTo>
                  <a:pt x="1701" y="546"/>
                </a:lnTo>
                <a:lnTo>
                  <a:pt x="1659" y="544"/>
                </a:lnTo>
                <a:lnTo>
                  <a:pt x="465" y="544"/>
                </a:lnTo>
                <a:lnTo>
                  <a:pt x="420" y="547"/>
                </a:lnTo>
                <a:lnTo>
                  <a:pt x="377" y="556"/>
                </a:lnTo>
                <a:lnTo>
                  <a:pt x="336" y="571"/>
                </a:lnTo>
                <a:lnTo>
                  <a:pt x="297" y="591"/>
                </a:lnTo>
                <a:lnTo>
                  <a:pt x="262" y="614"/>
                </a:lnTo>
                <a:lnTo>
                  <a:pt x="230" y="643"/>
                </a:lnTo>
                <a:lnTo>
                  <a:pt x="203" y="676"/>
                </a:lnTo>
                <a:lnTo>
                  <a:pt x="179" y="712"/>
                </a:lnTo>
                <a:lnTo>
                  <a:pt x="160" y="751"/>
                </a:lnTo>
                <a:lnTo>
                  <a:pt x="145" y="794"/>
                </a:lnTo>
                <a:lnTo>
                  <a:pt x="137" y="838"/>
                </a:lnTo>
                <a:lnTo>
                  <a:pt x="134" y="884"/>
                </a:lnTo>
                <a:lnTo>
                  <a:pt x="134" y="2381"/>
                </a:lnTo>
                <a:lnTo>
                  <a:pt x="137" y="2427"/>
                </a:lnTo>
                <a:lnTo>
                  <a:pt x="145" y="2471"/>
                </a:lnTo>
                <a:lnTo>
                  <a:pt x="160" y="2513"/>
                </a:lnTo>
                <a:lnTo>
                  <a:pt x="179" y="2552"/>
                </a:lnTo>
                <a:lnTo>
                  <a:pt x="203" y="2588"/>
                </a:lnTo>
                <a:lnTo>
                  <a:pt x="230" y="2621"/>
                </a:lnTo>
                <a:lnTo>
                  <a:pt x="262" y="2650"/>
                </a:lnTo>
                <a:lnTo>
                  <a:pt x="297" y="2675"/>
                </a:lnTo>
                <a:lnTo>
                  <a:pt x="336" y="2695"/>
                </a:lnTo>
                <a:lnTo>
                  <a:pt x="377" y="2709"/>
                </a:lnTo>
                <a:lnTo>
                  <a:pt x="420" y="2718"/>
                </a:lnTo>
                <a:lnTo>
                  <a:pt x="465" y="2721"/>
                </a:lnTo>
                <a:lnTo>
                  <a:pt x="1659" y="2721"/>
                </a:lnTo>
                <a:lnTo>
                  <a:pt x="1703" y="2718"/>
                </a:lnTo>
                <a:lnTo>
                  <a:pt x="1747" y="2709"/>
                </a:lnTo>
                <a:lnTo>
                  <a:pt x="1789" y="2694"/>
                </a:lnTo>
                <a:lnTo>
                  <a:pt x="1827" y="2674"/>
                </a:lnTo>
                <a:lnTo>
                  <a:pt x="1862" y="2649"/>
                </a:lnTo>
                <a:lnTo>
                  <a:pt x="1894" y="2620"/>
                </a:lnTo>
                <a:lnTo>
                  <a:pt x="1922" y="2586"/>
                </a:lnTo>
                <a:lnTo>
                  <a:pt x="1945" y="2550"/>
                </a:lnTo>
                <a:lnTo>
                  <a:pt x="1964" y="2510"/>
                </a:lnTo>
                <a:lnTo>
                  <a:pt x="2029" y="2528"/>
                </a:lnTo>
                <a:lnTo>
                  <a:pt x="2094" y="2540"/>
                </a:lnTo>
                <a:lnTo>
                  <a:pt x="2074" y="2590"/>
                </a:lnTo>
                <a:lnTo>
                  <a:pt x="2049" y="2635"/>
                </a:lnTo>
                <a:lnTo>
                  <a:pt x="2019" y="2678"/>
                </a:lnTo>
                <a:lnTo>
                  <a:pt x="1985" y="2717"/>
                </a:lnTo>
                <a:lnTo>
                  <a:pt x="1947" y="2752"/>
                </a:lnTo>
                <a:lnTo>
                  <a:pt x="1906" y="2782"/>
                </a:lnTo>
                <a:lnTo>
                  <a:pt x="1862" y="2808"/>
                </a:lnTo>
                <a:lnTo>
                  <a:pt x="1815" y="2830"/>
                </a:lnTo>
                <a:lnTo>
                  <a:pt x="1764" y="2844"/>
                </a:lnTo>
                <a:lnTo>
                  <a:pt x="1712" y="2854"/>
                </a:lnTo>
                <a:lnTo>
                  <a:pt x="1659" y="2858"/>
                </a:lnTo>
                <a:lnTo>
                  <a:pt x="465" y="2858"/>
                </a:lnTo>
                <a:lnTo>
                  <a:pt x="411" y="2854"/>
                </a:lnTo>
                <a:lnTo>
                  <a:pt x="359" y="2844"/>
                </a:lnTo>
                <a:lnTo>
                  <a:pt x="308" y="2830"/>
                </a:lnTo>
                <a:lnTo>
                  <a:pt x="261" y="2809"/>
                </a:lnTo>
                <a:lnTo>
                  <a:pt x="216" y="2783"/>
                </a:lnTo>
                <a:lnTo>
                  <a:pt x="175" y="2752"/>
                </a:lnTo>
                <a:lnTo>
                  <a:pt x="137" y="2717"/>
                </a:lnTo>
                <a:lnTo>
                  <a:pt x="102" y="2678"/>
                </a:lnTo>
                <a:lnTo>
                  <a:pt x="73" y="2636"/>
                </a:lnTo>
                <a:lnTo>
                  <a:pt x="48" y="2591"/>
                </a:lnTo>
                <a:lnTo>
                  <a:pt x="28" y="2541"/>
                </a:lnTo>
                <a:lnTo>
                  <a:pt x="13" y="2490"/>
                </a:lnTo>
                <a:lnTo>
                  <a:pt x="4" y="2436"/>
                </a:lnTo>
                <a:lnTo>
                  <a:pt x="0" y="2381"/>
                </a:lnTo>
                <a:lnTo>
                  <a:pt x="0" y="884"/>
                </a:lnTo>
                <a:lnTo>
                  <a:pt x="4" y="829"/>
                </a:lnTo>
                <a:lnTo>
                  <a:pt x="13" y="775"/>
                </a:lnTo>
                <a:lnTo>
                  <a:pt x="28" y="724"/>
                </a:lnTo>
                <a:lnTo>
                  <a:pt x="48" y="675"/>
                </a:lnTo>
                <a:lnTo>
                  <a:pt x="73" y="629"/>
                </a:lnTo>
                <a:lnTo>
                  <a:pt x="102" y="586"/>
                </a:lnTo>
                <a:lnTo>
                  <a:pt x="137" y="547"/>
                </a:lnTo>
                <a:lnTo>
                  <a:pt x="175" y="512"/>
                </a:lnTo>
                <a:lnTo>
                  <a:pt x="216" y="482"/>
                </a:lnTo>
                <a:lnTo>
                  <a:pt x="261" y="456"/>
                </a:lnTo>
                <a:lnTo>
                  <a:pt x="308" y="435"/>
                </a:lnTo>
                <a:lnTo>
                  <a:pt x="359" y="420"/>
                </a:lnTo>
                <a:lnTo>
                  <a:pt x="411" y="411"/>
                </a:lnTo>
                <a:lnTo>
                  <a:pt x="465" y="407"/>
                </a:lnTo>
                <a:lnTo>
                  <a:pt x="822" y="407"/>
                </a:lnTo>
                <a:lnTo>
                  <a:pt x="833" y="356"/>
                </a:lnTo>
                <a:lnTo>
                  <a:pt x="848" y="306"/>
                </a:lnTo>
                <a:lnTo>
                  <a:pt x="869" y="259"/>
                </a:lnTo>
                <a:lnTo>
                  <a:pt x="894" y="213"/>
                </a:lnTo>
                <a:lnTo>
                  <a:pt x="923" y="172"/>
                </a:lnTo>
                <a:lnTo>
                  <a:pt x="958" y="135"/>
                </a:lnTo>
                <a:lnTo>
                  <a:pt x="995" y="101"/>
                </a:lnTo>
                <a:lnTo>
                  <a:pt x="1036" y="71"/>
                </a:lnTo>
                <a:lnTo>
                  <a:pt x="1079" y="46"/>
                </a:lnTo>
                <a:lnTo>
                  <a:pt x="1126" y="27"/>
                </a:lnTo>
                <a:lnTo>
                  <a:pt x="1176" y="12"/>
                </a:lnTo>
                <a:lnTo>
                  <a:pt x="1227" y="3"/>
                </a:lnTo>
                <a:lnTo>
                  <a:pt x="1279" y="0"/>
                </a:lnTo>
                <a:close/>
              </a:path>
            </a:pathLst>
          </a:custGeom>
          <a:solidFill>
            <a:srgbClr val="EEBB1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uk-UA" dirty="0">
              <a:solidFill>
                <a:srgbClr val="EEBB10"/>
              </a:solidFill>
            </a:endParaRPr>
          </a:p>
        </p:txBody>
      </p:sp>
      <p:sp>
        <p:nvSpPr>
          <p:cNvPr id="17" name="Прямокутник 62"/>
          <p:cNvSpPr/>
          <p:nvPr/>
        </p:nvSpPr>
        <p:spPr>
          <a:xfrm>
            <a:off x="5718041" y="3699850"/>
            <a:ext cx="518702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3000" dirty="0" err="1" smtClean="0"/>
              <a:t>инфраструктурных</a:t>
            </a:r>
            <a:r>
              <a:rPr lang="uk-UA" sz="3000" dirty="0" smtClean="0"/>
              <a:t> </a:t>
            </a:r>
            <a:r>
              <a:rPr lang="uk-UA" sz="3000" dirty="0" err="1" smtClean="0"/>
              <a:t>проектов</a:t>
            </a:r>
            <a:endParaRPr lang="uk-UA" sz="3000" dirty="0"/>
          </a:p>
        </p:txBody>
      </p:sp>
      <p:sp>
        <p:nvSpPr>
          <p:cNvPr id="18" name="Прямокутник 63"/>
          <p:cNvSpPr/>
          <p:nvPr/>
        </p:nvSpPr>
        <p:spPr>
          <a:xfrm>
            <a:off x="3281152" y="5355376"/>
            <a:ext cx="1824538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uk-UA" sz="3000" dirty="0"/>
              <a:t>на </a:t>
            </a:r>
            <a:r>
              <a:rPr lang="uk-UA" sz="3000" dirty="0" err="1" smtClean="0"/>
              <a:t>сумму</a:t>
            </a:r>
            <a:endParaRPr lang="uk-UA" sz="3000" dirty="0"/>
          </a:p>
        </p:txBody>
      </p:sp>
      <p:sp>
        <p:nvSpPr>
          <p:cNvPr id="19" name="TextBox 18"/>
          <p:cNvSpPr txBox="1"/>
          <p:nvPr/>
        </p:nvSpPr>
        <p:spPr>
          <a:xfrm>
            <a:off x="4901699" y="4699744"/>
            <a:ext cx="4348760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uk-UA" sz="9600" dirty="0" smtClean="0"/>
              <a:t>642 </a:t>
            </a:r>
            <a:r>
              <a:rPr lang="uk-UA" sz="3200" dirty="0" smtClean="0"/>
              <a:t>млн. грн. </a:t>
            </a:r>
            <a:endParaRPr lang="uk-UA" sz="3200" dirty="0"/>
          </a:p>
        </p:txBody>
      </p:sp>
      <p:grpSp>
        <p:nvGrpSpPr>
          <p:cNvPr id="20" name="Group 165"/>
          <p:cNvGrpSpPr>
            <a:grpSpLocks/>
          </p:cNvGrpSpPr>
          <p:nvPr/>
        </p:nvGrpSpPr>
        <p:grpSpPr bwMode="auto">
          <a:xfrm>
            <a:off x="9077691" y="1551253"/>
            <a:ext cx="2184243" cy="1512168"/>
            <a:chOff x="1714663" y="980728"/>
            <a:chExt cx="7304904" cy="4752589"/>
          </a:xfrm>
        </p:grpSpPr>
        <p:grpSp>
          <p:nvGrpSpPr>
            <p:cNvPr id="21" name="Group 99"/>
            <p:cNvGrpSpPr>
              <a:grpSpLocks/>
            </p:cNvGrpSpPr>
            <p:nvPr/>
          </p:nvGrpSpPr>
          <p:grpSpPr bwMode="auto">
            <a:xfrm>
              <a:off x="1714663" y="980728"/>
              <a:ext cx="7304904" cy="4752589"/>
              <a:chOff x="179512" y="1788775"/>
              <a:chExt cx="6262359" cy="4016489"/>
            </a:xfrm>
          </p:grpSpPr>
          <p:sp>
            <p:nvSpPr>
              <p:cNvPr id="24" name="AutoShape 63"/>
              <p:cNvSpPr>
                <a:spLocks noChangeAspect="1" noChangeArrowheads="1"/>
              </p:cNvSpPr>
              <p:nvPr/>
            </p:nvSpPr>
            <p:spPr bwMode="auto">
              <a:xfrm>
                <a:off x="179512" y="1788775"/>
                <a:ext cx="6105013" cy="3654643"/>
              </a:xfrm>
              <a:prstGeom prst="rect">
                <a:avLst/>
              </a:prstGeom>
              <a:noFill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25" name="Freeform 62"/>
              <p:cNvSpPr>
                <a:spLocks/>
              </p:cNvSpPr>
              <p:nvPr/>
            </p:nvSpPr>
            <p:spPr bwMode="auto">
              <a:xfrm>
                <a:off x="4564212" y="4995635"/>
                <a:ext cx="89161" cy="72369"/>
              </a:xfrm>
              <a:custGeom>
                <a:avLst/>
                <a:gdLst/>
                <a:ahLst/>
                <a:cxnLst>
                  <a:cxn ang="0">
                    <a:pos x="7" y="28"/>
                  </a:cxn>
                  <a:cxn ang="0">
                    <a:pos x="7" y="15"/>
                  </a:cxn>
                  <a:cxn ang="0">
                    <a:pos x="20" y="4"/>
                  </a:cxn>
                  <a:cxn ang="0">
                    <a:pos x="25" y="18"/>
                  </a:cxn>
                  <a:cxn ang="0">
                    <a:pos x="26" y="29"/>
                  </a:cxn>
                  <a:cxn ang="0">
                    <a:pos x="7" y="28"/>
                  </a:cxn>
                  <a:cxn ang="0">
                    <a:pos x="7" y="28"/>
                  </a:cxn>
                </a:cxnLst>
                <a:rect l="0" t="0" r="r" b="b"/>
                <a:pathLst>
                  <a:path w="30" h="29">
                    <a:moveTo>
                      <a:pt x="7" y="28"/>
                    </a:moveTo>
                    <a:cubicBezTo>
                      <a:pt x="0" y="20"/>
                      <a:pt x="7" y="15"/>
                      <a:pt x="7" y="15"/>
                    </a:cubicBezTo>
                    <a:cubicBezTo>
                      <a:pt x="7" y="0"/>
                      <a:pt x="20" y="4"/>
                      <a:pt x="20" y="4"/>
                    </a:cubicBezTo>
                    <a:cubicBezTo>
                      <a:pt x="30" y="4"/>
                      <a:pt x="25" y="18"/>
                      <a:pt x="25" y="18"/>
                    </a:cubicBezTo>
                    <a:cubicBezTo>
                      <a:pt x="26" y="22"/>
                      <a:pt x="26" y="26"/>
                      <a:pt x="26" y="29"/>
                    </a:cubicBezTo>
                    <a:cubicBezTo>
                      <a:pt x="26" y="29"/>
                      <a:pt x="13" y="18"/>
                      <a:pt x="7" y="28"/>
                    </a:cubicBezTo>
                    <a:cubicBezTo>
                      <a:pt x="7" y="28"/>
                      <a:pt x="7" y="28"/>
                      <a:pt x="7" y="28"/>
                    </a:cubicBez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26" name="Freeform 61"/>
              <p:cNvSpPr>
                <a:spLocks/>
              </p:cNvSpPr>
              <p:nvPr/>
            </p:nvSpPr>
            <p:spPr bwMode="auto">
              <a:xfrm>
                <a:off x="3541464" y="4823759"/>
                <a:ext cx="110144" cy="45231"/>
              </a:xfrm>
              <a:custGeom>
                <a:avLst/>
                <a:gdLst/>
                <a:ahLst/>
                <a:cxnLst>
                  <a:cxn ang="0">
                    <a:pos x="37" y="3"/>
                  </a:cxn>
                  <a:cxn ang="0">
                    <a:pos x="33" y="15"/>
                  </a:cxn>
                  <a:cxn ang="0">
                    <a:pos x="17" y="18"/>
                  </a:cxn>
                  <a:cxn ang="0">
                    <a:pos x="0" y="0"/>
                  </a:cxn>
                  <a:cxn ang="0">
                    <a:pos x="22" y="0"/>
                  </a:cxn>
                  <a:cxn ang="0">
                    <a:pos x="37" y="3"/>
                  </a:cxn>
                  <a:cxn ang="0">
                    <a:pos x="37" y="3"/>
                  </a:cxn>
                </a:cxnLst>
                <a:rect l="0" t="0" r="r" b="b"/>
                <a:pathLst>
                  <a:path w="38" h="18">
                    <a:moveTo>
                      <a:pt x="37" y="3"/>
                    </a:moveTo>
                    <a:cubicBezTo>
                      <a:pt x="38" y="8"/>
                      <a:pt x="29" y="11"/>
                      <a:pt x="33" y="15"/>
                    </a:cubicBezTo>
                    <a:cubicBezTo>
                      <a:pt x="24" y="15"/>
                      <a:pt x="17" y="18"/>
                      <a:pt x="17" y="18"/>
                    </a:cubicBezTo>
                    <a:cubicBezTo>
                      <a:pt x="7" y="14"/>
                      <a:pt x="0" y="0"/>
                      <a:pt x="0" y="0"/>
                    </a:cubicBezTo>
                    <a:cubicBezTo>
                      <a:pt x="16" y="5"/>
                      <a:pt x="22" y="0"/>
                      <a:pt x="22" y="0"/>
                    </a:cubicBezTo>
                    <a:cubicBezTo>
                      <a:pt x="29" y="2"/>
                      <a:pt x="33" y="3"/>
                      <a:pt x="37" y="3"/>
                    </a:cubicBezTo>
                    <a:cubicBezTo>
                      <a:pt x="37" y="3"/>
                      <a:pt x="37" y="3"/>
                      <a:pt x="37" y="3"/>
                    </a:cubicBez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27" name="Freeform 60"/>
              <p:cNvSpPr>
                <a:spLocks/>
              </p:cNvSpPr>
              <p:nvPr/>
            </p:nvSpPr>
            <p:spPr bwMode="auto">
              <a:xfrm>
                <a:off x="4774007" y="4963972"/>
                <a:ext cx="73428" cy="49755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0" y="21"/>
                  </a:cxn>
                  <a:cxn ang="0">
                    <a:pos x="25" y="0"/>
                  </a:cxn>
                  <a:cxn ang="0">
                    <a:pos x="25" y="0"/>
                  </a:cxn>
                </a:cxnLst>
                <a:rect l="0" t="0" r="r" b="b"/>
                <a:pathLst>
                  <a:path w="25" h="21">
                    <a:moveTo>
                      <a:pt x="25" y="0"/>
                    </a:moveTo>
                    <a:cubicBezTo>
                      <a:pt x="25" y="10"/>
                      <a:pt x="0" y="21"/>
                      <a:pt x="0" y="21"/>
                    </a:cubicBezTo>
                    <a:cubicBezTo>
                      <a:pt x="1" y="6"/>
                      <a:pt x="16" y="8"/>
                      <a:pt x="25" y="0"/>
                    </a:cubicBezTo>
                    <a:cubicBezTo>
                      <a:pt x="25" y="0"/>
                      <a:pt x="25" y="0"/>
                      <a:pt x="25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28" name="Freeform 59"/>
              <p:cNvSpPr>
                <a:spLocks/>
              </p:cNvSpPr>
              <p:nvPr/>
            </p:nvSpPr>
            <p:spPr bwMode="auto">
              <a:xfrm>
                <a:off x="3940073" y="5036342"/>
                <a:ext cx="146856" cy="45231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35" y="13"/>
                  </a:cxn>
                  <a:cxn ang="0">
                    <a:pos x="50" y="8"/>
                  </a:cxn>
                  <a:cxn ang="0">
                    <a:pos x="35" y="3"/>
                  </a:cxn>
                  <a:cxn ang="0">
                    <a:pos x="0" y="2"/>
                  </a:cxn>
                  <a:cxn ang="0">
                    <a:pos x="0" y="2"/>
                  </a:cxn>
                </a:cxnLst>
                <a:rect l="0" t="0" r="r" b="b"/>
                <a:pathLst>
                  <a:path w="53" h="17">
                    <a:moveTo>
                      <a:pt x="0" y="2"/>
                    </a:moveTo>
                    <a:cubicBezTo>
                      <a:pt x="24" y="8"/>
                      <a:pt x="35" y="13"/>
                      <a:pt x="35" y="13"/>
                    </a:cubicBezTo>
                    <a:cubicBezTo>
                      <a:pt x="53" y="17"/>
                      <a:pt x="50" y="8"/>
                      <a:pt x="50" y="8"/>
                    </a:cubicBezTo>
                    <a:cubicBezTo>
                      <a:pt x="49" y="2"/>
                      <a:pt x="35" y="3"/>
                      <a:pt x="35" y="3"/>
                    </a:cubicBezTo>
                    <a:cubicBezTo>
                      <a:pt x="28" y="0"/>
                      <a:pt x="26" y="6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29" name="Freeform 105"/>
              <p:cNvSpPr>
                <a:spLocks/>
              </p:cNvSpPr>
              <p:nvPr/>
            </p:nvSpPr>
            <p:spPr bwMode="auto">
              <a:xfrm>
                <a:off x="824628" y="3385421"/>
                <a:ext cx="702811" cy="827721"/>
              </a:xfrm>
              <a:custGeom>
                <a:avLst/>
                <a:gdLst/>
                <a:ahLst/>
                <a:cxnLst>
                  <a:cxn ang="0">
                    <a:pos x="0" y="135"/>
                  </a:cxn>
                  <a:cxn ang="0">
                    <a:pos x="3" y="108"/>
                  </a:cxn>
                  <a:cxn ang="0">
                    <a:pos x="11" y="90"/>
                  </a:cxn>
                  <a:cxn ang="0">
                    <a:pos x="22" y="80"/>
                  </a:cxn>
                  <a:cxn ang="0">
                    <a:pos x="39" y="71"/>
                  </a:cxn>
                  <a:cxn ang="0">
                    <a:pos x="63" y="69"/>
                  </a:cxn>
                  <a:cxn ang="0">
                    <a:pos x="93" y="66"/>
                  </a:cxn>
                  <a:cxn ang="0">
                    <a:pos x="116" y="59"/>
                  </a:cxn>
                  <a:cxn ang="0">
                    <a:pos x="103" y="56"/>
                  </a:cxn>
                  <a:cxn ang="0">
                    <a:pos x="102" y="40"/>
                  </a:cxn>
                  <a:cxn ang="0">
                    <a:pos x="113" y="21"/>
                  </a:cxn>
                  <a:cxn ang="0">
                    <a:pos x="123" y="7"/>
                  </a:cxn>
                  <a:cxn ang="0">
                    <a:pos x="140" y="6"/>
                  </a:cxn>
                  <a:cxn ang="0">
                    <a:pos x="151" y="11"/>
                  </a:cxn>
                  <a:cxn ang="0">
                    <a:pos x="162" y="53"/>
                  </a:cxn>
                  <a:cxn ang="0">
                    <a:pos x="163" y="66"/>
                  </a:cxn>
                  <a:cxn ang="0">
                    <a:pos x="160" y="81"/>
                  </a:cxn>
                  <a:cxn ang="0">
                    <a:pos x="176" y="87"/>
                  </a:cxn>
                  <a:cxn ang="0">
                    <a:pos x="165" y="95"/>
                  </a:cxn>
                  <a:cxn ang="0">
                    <a:pos x="179" y="111"/>
                  </a:cxn>
                  <a:cxn ang="0">
                    <a:pos x="188" y="117"/>
                  </a:cxn>
                  <a:cxn ang="0">
                    <a:pos x="196" y="126"/>
                  </a:cxn>
                  <a:cxn ang="0">
                    <a:pos x="204" y="135"/>
                  </a:cxn>
                  <a:cxn ang="0">
                    <a:pos x="219" y="135"/>
                  </a:cxn>
                  <a:cxn ang="0">
                    <a:pos x="233" y="143"/>
                  </a:cxn>
                  <a:cxn ang="0">
                    <a:pos x="246" y="168"/>
                  </a:cxn>
                  <a:cxn ang="0">
                    <a:pos x="241" y="189"/>
                  </a:cxn>
                  <a:cxn ang="0">
                    <a:pos x="241" y="205"/>
                  </a:cxn>
                  <a:cxn ang="0">
                    <a:pos x="225" y="217"/>
                  </a:cxn>
                  <a:cxn ang="0">
                    <a:pos x="189" y="240"/>
                  </a:cxn>
                  <a:cxn ang="0">
                    <a:pos x="182" y="245"/>
                  </a:cxn>
                  <a:cxn ang="0">
                    <a:pos x="161" y="264"/>
                  </a:cxn>
                  <a:cxn ang="0">
                    <a:pos x="153" y="302"/>
                  </a:cxn>
                  <a:cxn ang="0">
                    <a:pos x="148" y="331"/>
                  </a:cxn>
                  <a:cxn ang="0">
                    <a:pos x="124" y="306"/>
                  </a:cxn>
                  <a:cxn ang="0">
                    <a:pos x="113" y="285"/>
                  </a:cxn>
                  <a:cxn ang="0">
                    <a:pos x="111" y="256"/>
                  </a:cxn>
                  <a:cxn ang="0">
                    <a:pos x="106" y="238"/>
                  </a:cxn>
                  <a:cxn ang="0">
                    <a:pos x="91" y="217"/>
                  </a:cxn>
                  <a:cxn ang="0">
                    <a:pos x="78" y="213"/>
                  </a:cxn>
                  <a:cxn ang="0">
                    <a:pos x="62" y="201"/>
                  </a:cxn>
                  <a:cxn ang="0">
                    <a:pos x="60" y="180"/>
                  </a:cxn>
                  <a:cxn ang="0">
                    <a:pos x="45" y="186"/>
                  </a:cxn>
                  <a:cxn ang="0">
                    <a:pos x="40" y="177"/>
                  </a:cxn>
                  <a:cxn ang="0">
                    <a:pos x="32" y="169"/>
                  </a:cxn>
                  <a:cxn ang="0">
                    <a:pos x="12" y="153"/>
                  </a:cxn>
                  <a:cxn ang="0">
                    <a:pos x="0" y="135"/>
                  </a:cxn>
                  <a:cxn ang="0">
                    <a:pos x="0" y="135"/>
                  </a:cxn>
                </a:cxnLst>
                <a:rect l="0" t="0" r="r" b="b"/>
                <a:pathLst>
                  <a:path w="249" h="331">
                    <a:moveTo>
                      <a:pt x="0" y="135"/>
                    </a:moveTo>
                    <a:cubicBezTo>
                      <a:pt x="7" y="119"/>
                      <a:pt x="3" y="108"/>
                      <a:pt x="3" y="108"/>
                    </a:cubicBezTo>
                    <a:cubicBezTo>
                      <a:pt x="2" y="93"/>
                      <a:pt x="11" y="90"/>
                      <a:pt x="11" y="90"/>
                    </a:cubicBezTo>
                    <a:cubicBezTo>
                      <a:pt x="20" y="87"/>
                      <a:pt x="22" y="80"/>
                      <a:pt x="22" y="80"/>
                    </a:cubicBezTo>
                    <a:cubicBezTo>
                      <a:pt x="19" y="64"/>
                      <a:pt x="39" y="71"/>
                      <a:pt x="39" y="71"/>
                    </a:cubicBezTo>
                    <a:cubicBezTo>
                      <a:pt x="59" y="75"/>
                      <a:pt x="63" y="69"/>
                      <a:pt x="63" y="69"/>
                    </a:cubicBezTo>
                    <a:cubicBezTo>
                      <a:pt x="72" y="65"/>
                      <a:pt x="93" y="66"/>
                      <a:pt x="93" y="66"/>
                    </a:cubicBezTo>
                    <a:cubicBezTo>
                      <a:pt x="116" y="67"/>
                      <a:pt x="116" y="59"/>
                      <a:pt x="116" y="59"/>
                    </a:cubicBezTo>
                    <a:cubicBezTo>
                      <a:pt x="115" y="55"/>
                      <a:pt x="103" y="56"/>
                      <a:pt x="103" y="56"/>
                    </a:cubicBezTo>
                    <a:cubicBezTo>
                      <a:pt x="100" y="50"/>
                      <a:pt x="102" y="40"/>
                      <a:pt x="102" y="40"/>
                    </a:cubicBezTo>
                    <a:cubicBezTo>
                      <a:pt x="116" y="39"/>
                      <a:pt x="113" y="21"/>
                      <a:pt x="113" y="21"/>
                    </a:cubicBezTo>
                    <a:cubicBezTo>
                      <a:pt x="110" y="4"/>
                      <a:pt x="123" y="7"/>
                      <a:pt x="123" y="7"/>
                    </a:cubicBezTo>
                    <a:cubicBezTo>
                      <a:pt x="129" y="0"/>
                      <a:pt x="140" y="6"/>
                      <a:pt x="140" y="6"/>
                    </a:cubicBezTo>
                    <a:cubicBezTo>
                      <a:pt x="142" y="14"/>
                      <a:pt x="151" y="11"/>
                      <a:pt x="151" y="11"/>
                    </a:cubicBezTo>
                    <a:cubicBezTo>
                      <a:pt x="151" y="11"/>
                      <a:pt x="162" y="31"/>
                      <a:pt x="162" y="53"/>
                    </a:cubicBezTo>
                    <a:cubicBezTo>
                      <a:pt x="162" y="53"/>
                      <a:pt x="168" y="63"/>
                      <a:pt x="163" y="66"/>
                    </a:cubicBezTo>
                    <a:cubicBezTo>
                      <a:pt x="163" y="66"/>
                      <a:pt x="158" y="73"/>
                      <a:pt x="160" y="81"/>
                    </a:cubicBezTo>
                    <a:cubicBezTo>
                      <a:pt x="160" y="81"/>
                      <a:pt x="175" y="80"/>
                      <a:pt x="176" y="87"/>
                    </a:cubicBezTo>
                    <a:cubicBezTo>
                      <a:pt x="176" y="87"/>
                      <a:pt x="179" y="94"/>
                      <a:pt x="165" y="95"/>
                    </a:cubicBezTo>
                    <a:cubicBezTo>
                      <a:pt x="182" y="98"/>
                      <a:pt x="173" y="109"/>
                      <a:pt x="179" y="111"/>
                    </a:cubicBezTo>
                    <a:cubicBezTo>
                      <a:pt x="179" y="111"/>
                      <a:pt x="190" y="102"/>
                      <a:pt x="188" y="117"/>
                    </a:cubicBezTo>
                    <a:cubicBezTo>
                      <a:pt x="188" y="117"/>
                      <a:pt x="186" y="139"/>
                      <a:pt x="196" y="126"/>
                    </a:cubicBezTo>
                    <a:cubicBezTo>
                      <a:pt x="196" y="126"/>
                      <a:pt x="203" y="111"/>
                      <a:pt x="204" y="135"/>
                    </a:cubicBezTo>
                    <a:cubicBezTo>
                      <a:pt x="204" y="135"/>
                      <a:pt x="196" y="154"/>
                      <a:pt x="219" y="135"/>
                    </a:cubicBezTo>
                    <a:cubicBezTo>
                      <a:pt x="219" y="135"/>
                      <a:pt x="230" y="129"/>
                      <a:pt x="233" y="143"/>
                    </a:cubicBezTo>
                    <a:cubicBezTo>
                      <a:pt x="233" y="143"/>
                      <a:pt x="249" y="147"/>
                      <a:pt x="246" y="168"/>
                    </a:cubicBezTo>
                    <a:cubicBezTo>
                      <a:pt x="246" y="168"/>
                      <a:pt x="234" y="172"/>
                      <a:pt x="241" y="189"/>
                    </a:cubicBezTo>
                    <a:cubicBezTo>
                      <a:pt x="241" y="189"/>
                      <a:pt x="245" y="194"/>
                      <a:pt x="241" y="205"/>
                    </a:cubicBezTo>
                    <a:cubicBezTo>
                      <a:pt x="241" y="205"/>
                      <a:pt x="243" y="220"/>
                      <a:pt x="225" y="217"/>
                    </a:cubicBezTo>
                    <a:cubicBezTo>
                      <a:pt x="225" y="217"/>
                      <a:pt x="208" y="213"/>
                      <a:pt x="189" y="240"/>
                    </a:cubicBezTo>
                    <a:cubicBezTo>
                      <a:pt x="189" y="240"/>
                      <a:pt x="186" y="247"/>
                      <a:pt x="182" y="245"/>
                    </a:cubicBezTo>
                    <a:cubicBezTo>
                      <a:pt x="182" y="245"/>
                      <a:pt x="177" y="260"/>
                      <a:pt x="161" y="264"/>
                    </a:cubicBezTo>
                    <a:cubicBezTo>
                      <a:pt x="161" y="264"/>
                      <a:pt x="148" y="282"/>
                      <a:pt x="153" y="302"/>
                    </a:cubicBezTo>
                    <a:cubicBezTo>
                      <a:pt x="153" y="302"/>
                      <a:pt x="162" y="311"/>
                      <a:pt x="148" y="331"/>
                    </a:cubicBezTo>
                    <a:cubicBezTo>
                      <a:pt x="148" y="331"/>
                      <a:pt x="138" y="304"/>
                      <a:pt x="124" y="306"/>
                    </a:cubicBezTo>
                    <a:cubicBezTo>
                      <a:pt x="124" y="306"/>
                      <a:pt x="125" y="291"/>
                      <a:pt x="113" y="285"/>
                    </a:cubicBezTo>
                    <a:cubicBezTo>
                      <a:pt x="125" y="264"/>
                      <a:pt x="111" y="256"/>
                      <a:pt x="111" y="256"/>
                    </a:cubicBezTo>
                    <a:cubicBezTo>
                      <a:pt x="102" y="252"/>
                      <a:pt x="113" y="242"/>
                      <a:pt x="106" y="238"/>
                    </a:cubicBezTo>
                    <a:cubicBezTo>
                      <a:pt x="100" y="219"/>
                      <a:pt x="91" y="217"/>
                      <a:pt x="91" y="217"/>
                    </a:cubicBezTo>
                    <a:cubicBezTo>
                      <a:pt x="84" y="201"/>
                      <a:pt x="78" y="213"/>
                      <a:pt x="78" y="213"/>
                    </a:cubicBezTo>
                    <a:cubicBezTo>
                      <a:pt x="53" y="216"/>
                      <a:pt x="62" y="201"/>
                      <a:pt x="62" y="201"/>
                    </a:cubicBezTo>
                    <a:cubicBezTo>
                      <a:pt x="67" y="172"/>
                      <a:pt x="60" y="180"/>
                      <a:pt x="60" y="180"/>
                    </a:cubicBezTo>
                    <a:cubicBezTo>
                      <a:pt x="49" y="179"/>
                      <a:pt x="45" y="186"/>
                      <a:pt x="45" y="186"/>
                    </a:cubicBezTo>
                    <a:cubicBezTo>
                      <a:pt x="32" y="188"/>
                      <a:pt x="40" y="177"/>
                      <a:pt x="40" y="177"/>
                    </a:cubicBezTo>
                    <a:cubicBezTo>
                      <a:pt x="39" y="170"/>
                      <a:pt x="32" y="169"/>
                      <a:pt x="32" y="169"/>
                    </a:cubicBezTo>
                    <a:cubicBezTo>
                      <a:pt x="23" y="167"/>
                      <a:pt x="29" y="152"/>
                      <a:pt x="12" y="153"/>
                    </a:cubicBezTo>
                    <a:cubicBezTo>
                      <a:pt x="13" y="144"/>
                      <a:pt x="0" y="135"/>
                      <a:pt x="0" y="135"/>
                    </a:cubicBezTo>
                    <a:cubicBezTo>
                      <a:pt x="0" y="135"/>
                      <a:pt x="0" y="135"/>
                      <a:pt x="0" y="135"/>
                    </a:cubicBezTo>
                    <a:close/>
                  </a:path>
                </a:pathLst>
              </a:custGeom>
              <a:solidFill>
                <a:srgbClr val="EEBB0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30" name="Freeform 57"/>
              <p:cNvSpPr>
                <a:spLocks/>
              </p:cNvSpPr>
              <p:nvPr/>
            </p:nvSpPr>
            <p:spPr bwMode="auto">
              <a:xfrm>
                <a:off x="541405" y="2892405"/>
                <a:ext cx="970300" cy="832245"/>
              </a:xfrm>
              <a:custGeom>
                <a:avLst/>
                <a:gdLst/>
                <a:ahLst/>
                <a:cxnLst>
                  <a:cxn ang="0">
                    <a:pos x="28" y="267"/>
                  </a:cxn>
                  <a:cxn ang="0">
                    <a:pos x="20" y="247"/>
                  </a:cxn>
                  <a:cxn ang="0">
                    <a:pos x="16" y="227"/>
                  </a:cxn>
                  <a:cxn ang="0">
                    <a:pos x="18" y="197"/>
                  </a:cxn>
                  <a:cxn ang="0">
                    <a:pos x="15" y="179"/>
                  </a:cxn>
                  <a:cxn ang="0">
                    <a:pos x="48" y="134"/>
                  </a:cxn>
                  <a:cxn ang="0">
                    <a:pos x="148" y="45"/>
                  </a:cxn>
                  <a:cxn ang="0">
                    <a:pos x="172" y="32"/>
                  </a:cxn>
                  <a:cxn ang="0">
                    <a:pos x="189" y="24"/>
                  </a:cxn>
                  <a:cxn ang="0">
                    <a:pos x="201" y="13"/>
                  </a:cxn>
                  <a:cxn ang="0">
                    <a:pos x="201" y="0"/>
                  </a:cxn>
                  <a:cxn ang="0">
                    <a:pos x="219" y="10"/>
                  </a:cxn>
                  <a:cxn ang="0">
                    <a:pos x="234" y="14"/>
                  </a:cxn>
                  <a:cxn ang="0">
                    <a:pos x="244" y="22"/>
                  </a:cxn>
                  <a:cxn ang="0">
                    <a:pos x="237" y="35"/>
                  </a:cxn>
                  <a:cxn ang="0">
                    <a:pos x="245" y="40"/>
                  </a:cxn>
                  <a:cxn ang="0">
                    <a:pos x="259" y="48"/>
                  </a:cxn>
                  <a:cxn ang="0">
                    <a:pos x="274" y="58"/>
                  </a:cxn>
                  <a:cxn ang="0">
                    <a:pos x="295" y="58"/>
                  </a:cxn>
                  <a:cxn ang="0">
                    <a:pos x="304" y="69"/>
                  </a:cxn>
                  <a:cxn ang="0">
                    <a:pos x="318" y="72"/>
                  </a:cxn>
                  <a:cxn ang="0">
                    <a:pos x="315" y="84"/>
                  </a:cxn>
                  <a:cxn ang="0">
                    <a:pos x="318" y="108"/>
                  </a:cxn>
                  <a:cxn ang="0">
                    <a:pos x="318" y="108"/>
                  </a:cxn>
                  <a:cxn ang="0">
                    <a:pos x="333" y="124"/>
                  </a:cxn>
                  <a:cxn ang="0">
                    <a:pos x="333" y="124"/>
                  </a:cxn>
                  <a:cxn ang="0">
                    <a:pos x="333" y="144"/>
                  </a:cxn>
                  <a:cxn ang="0">
                    <a:pos x="319" y="152"/>
                  </a:cxn>
                  <a:cxn ang="0">
                    <a:pos x="296" y="164"/>
                  </a:cxn>
                  <a:cxn ang="0">
                    <a:pos x="289" y="172"/>
                  </a:cxn>
                  <a:cxn ang="0">
                    <a:pos x="274" y="190"/>
                  </a:cxn>
                  <a:cxn ang="0">
                    <a:pos x="254" y="199"/>
                  </a:cxn>
                  <a:cxn ang="0">
                    <a:pos x="250" y="209"/>
                  </a:cxn>
                  <a:cxn ang="0">
                    <a:pos x="239" y="204"/>
                  </a:cxn>
                  <a:cxn ang="0">
                    <a:pos x="222" y="205"/>
                  </a:cxn>
                  <a:cxn ang="0">
                    <a:pos x="212" y="219"/>
                  </a:cxn>
                  <a:cxn ang="0">
                    <a:pos x="201" y="238"/>
                  </a:cxn>
                  <a:cxn ang="0">
                    <a:pos x="202" y="254"/>
                  </a:cxn>
                  <a:cxn ang="0">
                    <a:pos x="215" y="257"/>
                  </a:cxn>
                  <a:cxn ang="0">
                    <a:pos x="192" y="264"/>
                  </a:cxn>
                  <a:cxn ang="0">
                    <a:pos x="162" y="267"/>
                  </a:cxn>
                  <a:cxn ang="0">
                    <a:pos x="138" y="269"/>
                  </a:cxn>
                  <a:cxn ang="0">
                    <a:pos x="121" y="278"/>
                  </a:cxn>
                  <a:cxn ang="0">
                    <a:pos x="110" y="288"/>
                  </a:cxn>
                  <a:cxn ang="0">
                    <a:pos x="102" y="306"/>
                  </a:cxn>
                  <a:cxn ang="0">
                    <a:pos x="100" y="333"/>
                  </a:cxn>
                  <a:cxn ang="0">
                    <a:pos x="100" y="333"/>
                  </a:cxn>
                  <a:cxn ang="0">
                    <a:pos x="83" y="333"/>
                  </a:cxn>
                  <a:cxn ang="0">
                    <a:pos x="83" y="333"/>
                  </a:cxn>
                  <a:cxn ang="0">
                    <a:pos x="69" y="324"/>
                  </a:cxn>
                  <a:cxn ang="0">
                    <a:pos x="55" y="313"/>
                  </a:cxn>
                  <a:cxn ang="0">
                    <a:pos x="43" y="304"/>
                  </a:cxn>
                  <a:cxn ang="0">
                    <a:pos x="31" y="295"/>
                  </a:cxn>
                  <a:cxn ang="0">
                    <a:pos x="28" y="267"/>
                  </a:cxn>
                  <a:cxn ang="0">
                    <a:pos x="28" y="267"/>
                  </a:cxn>
                </a:cxnLst>
                <a:rect l="0" t="0" r="r" b="b"/>
                <a:pathLst>
                  <a:path w="343" h="333">
                    <a:moveTo>
                      <a:pt x="28" y="267"/>
                    </a:moveTo>
                    <a:cubicBezTo>
                      <a:pt x="28" y="267"/>
                      <a:pt x="31" y="255"/>
                      <a:pt x="20" y="247"/>
                    </a:cubicBezTo>
                    <a:cubicBezTo>
                      <a:pt x="20" y="247"/>
                      <a:pt x="7" y="242"/>
                      <a:pt x="16" y="227"/>
                    </a:cubicBezTo>
                    <a:cubicBezTo>
                      <a:pt x="16" y="227"/>
                      <a:pt x="23" y="219"/>
                      <a:pt x="18" y="197"/>
                    </a:cubicBezTo>
                    <a:cubicBezTo>
                      <a:pt x="18" y="197"/>
                      <a:pt x="13" y="197"/>
                      <a:pt x="15" y="179"/>
                    </a:cubicBezTo>
                    <a:cubicBezTo>
                      <a:pt x="15" y="179"/>
                      <a:pt x="0" y="177"/>
                      <a:pt x="48" y="134"/>
                    </a:cubicBezTo>
                    <a:cubicBezTo>
                      <a:pt x="48" y="134"/>
                      <a:pt x="98" y="73"/>
                      <a:pt x="148" y="45"/>
                    </a:cubicBezTo>
                    <a:cubicBezTo>
                      <a:pt x="148" y="45"/>
                      <a:pt x="145" y="31"/>
                      <a:pt x="172" y="32"/>
                    </a:cubicBezTo>
                    <a:cubicBezTo>
                      <a:pt x="172" y="32"/>
                      <a:pt x="191" y="36"/>
                      <a:pt x="189" y="24"/>
                    </a:cubicBezTo>
                    <a:cubicBezTo>
                      <a:pt x="189" y="24"/>
                      <a:pt x="186" y="12"/>
                      <a:pt x="201" y="13"/>
                    </a:cubicBezTo>
                    <a:cubicBezTo>
                      <a:pt x="201" y="13"/>
                      <a:pt x="202" y="7"/>
                      <a:pt x="201" y="0"/>
                    </a:cubicBezTo>
                    <a:cubicBezTo>
                      <a:pt x="210" y="11"/>
                      <a:pt x="219" y="10"/>
                      <a:pt x="219" y="10"/>
                    </a:cubicBezTo>
                    <a:cubicBezTo>
                      <a:pt x="230" y="7"/>
                      <a:pt x="234" y="14"/>
                      <a:pt x="234" y="14"/>
                    </a:cubicBezTo>
                    <a:cubicBezTo>
                      <a:pt x="243" y="14"/>
                      <a:pt x="244" y="22"/>
                      <a:pt x="244" y="22"/>
                    </a:cubicBezTo>
                    <a:cubicBezTo>
                      <a:pt x="246" y="28"/>
                      <a:pt x="230" y="30"/>
                      <a:pt x="237" y="35"/>
                    </a:cubicBezTo>
                    <a:cubicBezTo>
                      <a:pt x="238" y="44"/>
                      <a:pt x="245" y="40"/>
                      <a:pt x="245" y="40"/>
                    </a:cubicBezTo>
                    <a:cubicBezTo>
                      <a:pt x="256" y="41"/>
                      <a:pt x="259" y="48"/>
                      <a:pt x="259" y="48"/>
                    </a:cubicBezTo>
                    <a:cubicBezTo>
                      <a:pt x="263" y="63"/>
                      <a:pt x="274" y="58"/>
                      <a:pt x="274" y="58"/>
                    </a:cubicBezTo>
                    <a:cubicBezTo>
                      <a:pt x="284" y="53"/>
                      <a:pt x="295" y="58"/>
                      <a:pt x="295" y="58"/>
                    </a:cubicBezTo>
                    <a:cubicBezTo>
                      <a:pt x="305" y="61"/>
                      <a:pt x="304" y="69"/>
                      <a:pt x="304" y="69"/>
                    </a:cubicBezTo>
                    <a:cubicBezTo>
                      <a:pt x="301" y="75"/>
                      <a:pt x="318" y="72"/>
                      <a:pt x="318" y="72"/>
                    </a:cubicBezTo>
                    <a:cubicBezTo>
                      <a:pt x="322" y="78"/>
                      <a:pt x="315" y="84"/>
                      <a:pt x="315" y="84"/>
                    </a:cubicBezTo>
                    <a:cubicBezTo>
                      <a:pt x="312" y="101"/>
                      <a:pt x="318" y="108"/>
                      <a:pt x="318" y="108"/>
                    </a:cubicBezTo>
                    <a:cubicBezTo>
                      <a:pt x="318" y="108"/>
                      <a:pt x="318" y="108"/>
                      <a:pt x="318" y="108"/>
                    </a:cubicBezTo>
                    <a:cubicBezTo>
                      <a:pt x="333" y="124"/>
                      <a:pt x="333" y="124"/>
                      <a:pt x="333" y="124"/>
                    </a:cubicBezTo>
                    <a:cubicBezTo>
                      <a:pt x="333" y="124"/>
                      <a:pt x="333" y="124"/>
                      <a:pt x="333" y="124"/>
                    </a:cubicBezTo>
                    <a:cubicBezTo>
                      <a:pt x="343" y="135"/>
                      <a:pt x="333" y="144"/>
                      <a:pt x="333" y="144"/>
                    </a:cubicBezTo>
                    <a:cubicBezTo>
                      <a:pt x="333" y="151"/>
                      <a:pt x="319" y="152"/>
                      <a:pt x="319" y="152"/>
                    </a:cubicBezTo>
                    <a:cubicBezTo>
                      <a:pt x="289" y="151"/>
                      <a:pt x="296" y="164"/>
                      <a:pt x="296" y="164"/>
                    </a:cubicBezTo>
                    <a:cubicBezTo>
                      <a:pt x="303" y="172"/>
                      <a:pt x="289" y="172"/>
                      <a:pt x="289" y="172"/>
                    </a:cubicBezTo>
                    <a:cubicBezTo>
                      <a:pt x="280" y="194"/>
                      <a:pt x="274" y="190"/>
                      <a:pt x="274" y="190"/>
                    </a:cubicBezTo>
                    <a:cubicBezTo>
                      <a:pt x="269" y="197"/>
                      <a:pt x="259" y="191"/>
                      <a:pt x="254" y="199"/>
                    </a:cubicBezTo>
                    <a:cubicBezTo>
                      <a:pt x="251" y="201"/>
                      <a:pt x="250" y="209"/>
                      <a:pt x="250" y="209"/>
                    </a:cubicBezTo>
                    <a:cubicBezTo>
                      <a:pt x="250" y="209"/>
                      <a:pt x="241" y="212"/>
                      <a:pt x="239" y="204"/>
                    </a:cubicBezTo>
                    <a:cubicBezTo>
                      <a:pt x="239" y="204"/>
                      <a:pt x="228" y="198"/>
                      <a:pt x="222" y="205"/>
                    </a:cubicBezTo>
                    <a:cubicBezTo>
                      <a:pt x="222" y="205"/>
                      <a:pt x="209" y="202"/>
                      <a:pt x="212" y="219"/>
                    </a:cubicBezTo>
                    <a:cubicBezTo>
                      <a:pt x="212" y="219"/>
                      <a:pt x="215" y="237"/>
                      <a:pt x="201" y="238"/>
                    </a:cubicBezTo>
                    <a:cubicBezTo>
                      <a:pt x="201" y="238"/>
                      <a:pt x="199" y="248"/>
                      <a:pt x="202" y="254"/>
                    </a:cubicBezTo>
                    <a:cubicBezTo>
                      <a:pt x="202" y="254"/>
                      <a:pt x="214" y="253"/>
                      <a:pt x="215" y="257"/>
                    </a:cubicBezTo>
                    <a:cubicBezTo>
                      <a:pt x="215" y="257"/>
                      <a:pt x="215" y="265"/>
                      <a:pt x="192" y="264"/>
                    </a:cubicBezTo>
                    <a:cubicBezTo>
                      <a:pt x="192" y="264"/>
                      <a:pt x="171" y="263"/>
                      <a:pt x="162" y="267"/>
                    </a:cubicBezTo>
                    <a:cubicBezTo>
                      <a:pt x="162" y="267"/>
                      <a:pt x="158" y="273"/>
                      <a:pt x="138" y="269"/>
                    </a:cubicBezTo>
                    <a:cubicBezTo>
                      <a:pt x="138" y="269"/>
                      <a:pt x="118" y="262"/>
                      <a:pt x="121" y="278"/>
                    </a:cubicBezTo>
                    <a:cubicBezTo>
                      <a:pt x="121" y="278"/>
                      <a:pt x="119" y="285"/>
                      <a:pt x="110" y="288"/>
                    </a:cubicBezTo>
                    <a:cubicBezTo>
                      <a:pt x="110" y="288"/>
                      <a:pt x="101" y="291"/>
                      <a:pt x="102" y="306"/>
                    </a:cubicBezTo>
                    <a:cubicBezTo>
                      <a:pt x="102" y="306"/>
                      <a:pt x="106" y="316"/>
                      <a:pt x="100" y="333"/>
                    </a:cubicBezTo>
                    <a:cubicBezTo>
                      <a:pt x="100" y="333"/>
                      <a:pt x="100" y="333"/>
                      <a:pt x="100" y="333"/>
                    </a:cubicBezTo>
                    <a:cubicBezTo>
                      <a:pt x="83" y="333"/>
                      <a:pt x="83" y="333"/>
                      <a:pt x="83" y="333"/>
                    </a:cubicBezTo>
                    <a:cubicBezTo>
                      <a:pt x="83" y="333"/>
                      <a:pt x="83" y="333"/>
                      <a:pt x="83" y="333"/>
                    </a:cubicBezTo>
                    <a:cubicBezTo>
                      <a:pt x="83" y="333"/>
                      <a:pt x="80" y="324"/>
                      <a:pt x="69" y="324"/>
                    </a:cubicBezTo>
                    <a:cubicBezTo>
                      <a:pt x="69" y="324"/>
                      <a:pt x="57" y="326"/>
                      <a:pt x="55" y="313"/>
                    </a:cubicBezTo>
                    <a:cubicBezTo>
                      <a:pt x="55" y="313"/>
                      <a:pt x="55" y="297"/>
                      <a:pt x="43" y="304"/>
                    </a:cubicBezTo>
                    <a:cubicBezTo>
                      <a:pt x="43" y="304"/>
                      <a:pt x="33" y="303"/>
                      <a:pt x="31" y="295"/>
                    </a:cubicBezTo>
                    <a:cubicBezTo>
                      <a:pt x="31" y="295"/>
                      <a:pt x="25" y="292"/>
                      <a:pt x="28" y="267"/>
                    </a:cubicBezTo>
                    <a:cubicBezTo>
                      <a:pt x="28" y="267"/>
                      <a:pt x="28" y="267"/>
                      <a:pt x="28" y="267"/>
                    </a:cubicBezTo>
                    <a:close/>
                  </a:path>
                </a:pathLst>
              </a:custGeom>
              <a:solidFill>
                <a:srgbClr val="EEBB0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31" name="Freeform 56"/>
              <p:cNvSpPr>
                <a:spLocks/>
              </p:cNvSpPr>
              <p:nvPr/>
            </p:nvSpPr>
            <p:spPr bwMode="auto">
              <a:xfrm>
                <a:off x="1249463" y="3086898"/>
                <a:ext cx="540219" cy="800583"/>
              </a:xfrm>
              <a:custGeom>
                <a:avLst/>
                <a:gdLst/>
                <a:ahLst/>
                <a:cxnLst>
                  <a:cxn ang="0">
                    <a:pos x="96" y="288"/>
                  </a:cxn>
                  <a:cxn ang="0">
                    <a:pos x="104" y="292"/>
                  </a:cxn>
                  <a:cxn ang="0">
                    <a:pos x="114" y="294"/>
                  </a:cxn>
                  <a:cxn ang="0">
                    <a:pos x="126" y="302"/>
                  </a:cxn>
                  <a:cxn ang="0">
                    <a:pos x="134" y="304"/>
                  </a:cxn>
                  <a:cxn ang="0">
                    <a:pos x="151" y="309"/>
                  </a:cxn>
                  <a:cxn ang="0">
                    <a:pos x="165" y="318"/>
                  </a:cxn>
                  <a:cxn ang="0">
                    <a:pos x="180" y="320"/>
                  </a:cxn>
                  <a:cxn ang="0">
                    <a:pos x="175" y="303"/>
                  </a:cxn>
                  <a:cxn ang="0">
                    <a:pos x="169" y="266"/>
                  </a:cxn>
                  <a:cxn ang="0">
                    <a:pos x="169" y="223"/>
                  </a:cxn>
                  <a:cxn ang="0">
                    <a:pos x="173" y="188"/>
                  </a:cxn>
                  <a:cxn ang="0">
                    <a:pos x="171" y="153"/>
                  </a:cxn>
                  <a:cxn ang="0">
                    <a:pos x="172" y="134"/>
                  </a:cxn>
                  <a:cxn ang="0">
                    <a:pos x="178" y="111"/>
                  </a:cxn>
                  <a:cxn ang="0">
                    <a:pos x="179" y="100"/>
                  </a:cxn>
                  <a:cxn ang="0">
                    <a:pos x="178" y="89"/>
                  </a:cxn>
                  <a:cxn ang="0">
                    <a:pos x="182" y="55"/>
                  </a:cxn>
                  <a:cxn ang="0">
                    <a:pos x="189" y="24"/>
                  </a:cxn>
                  <a:cxn ang="0">
                    <a:pos x="178" y="10"/>
                  </a:cxn>
                  <a:cxn ang="0">
                    <a:pos x="159" y="5"/>
                  </a:cxn>
                  <a:cxn ang="0">
                    <a:pos x="144" y="12"/>
                  </a:cxn>
                  <a:cxn ang="0">
                    <a:pos x="120" y="20"/>
                  </a:cxn>
                  <a:cxn ang="0">
                    <a:pos x="96" y="23"/>
                  </a:cxn>
                  <a:cxn ang="0">
                    <a:pos x="83" y="45"/>
                  </a:cxn>
                  <a:cxn ang="0">
                    <a:pos x="83" y="65"/>
                  </a:cxn>
                  <a:cxn ang="0">
                    <a:pos x="69" y="73"/>
                  </a:cxn>
                  <a:cxn ang="0">
                    <a:pos x="46" y="85"/>
                  </a:cxn>
                  <a:cxn ang="0">
                    <a:pos x="39" y="93"/>
                  </a:cxn>
                  <a:cxn ang="0">
                    <a:pos x="24" y="111"/>
                  </a:cxn>
                  <a:cxn ang="0">
                    <a:pos x="4" y="120"/>
                  </a:cxn>
                  <a:cxn ang="0">
                    <a:pos x="0" y="130"/>
                  </a:cxn>
                  <a:cxn ang="0">
                    <a:pos x="11" y="172"/>
                  </a:cxn>
                  <a:cxn ang="0">
                    <a:pos x="12" y="185"/>
                  </a:cxn>
                  <a:cxn ang="0">
                    <a:pos x="9" y="200"/>
                  </a:cxn>
                  <a:cxn ang="0">
                    <a:pos x="25" y="206"/>
                  </a:cxn>
                  <a:cxn ang="0">
                    <a:pos x="14" y="214"/>
                  </a:cxn>
                  <a:cxn ang="0">
                    <a:pos x="28" y="230"/>
                  </a:cxn>
                  <a:cxn ang="0">
                    <a:pos x="37" y="236"/>
                  </a:cxn>
                  <a:cxn ang="0">
                    <a:pos x="45" y="245"/>
                  </a:cxn>
                  <a:cxn ang="0">
                    <a:pos x="53" y="254"/>
                  </a:cxn>
                  <a:cxn ang="0">
                    <a:pos x="68" y="254"/>
                  </a:cxn>
                  <a:cxn ang="0">
                    <a:pos x="82" y="262"/>
                  </a:cxn>
                  <a:cxn ang="0">
                    <a:pos x="96" y="288"/>
                  </a:cxn>
                  <a:cxn ang="0">
                    <a:pos x="96" y="288"/>
                  </a:cxn>
                </a:cxnLst>
                <a:rect l="0" t="0" r="r" b="b"/>
                <a:pathLst>
                  <a:path w="190" h="320">
                    <a:moveTo>
                      <a:pt x="96" y="288"/>
                    </a:moveTo>
                    <a:cubicBezTo>
                      <a:pt x="96" y="288"/>
                      <a:pt x="104" y="286"/>
                      <a:pt x="104" y="292"/>
                    </a:cubicBezTo>
                    <a:cubicBezTo>
                      <a:pt x="104" y="292"/>
                      <a:pt x="107" y="302"/>
                      <a:pt x="114" y="294"/>
                    </a:cubicBezTo>
                    <a:cubicBezTo>
                      <a:pt x="114" y="294"/>
                      <a:pt x="122" y="284"/>
                      <a:pt x="126" y="302"/>
                    </a:cubicBezTo>
                    <a:cubicBezTo>
                      <a:pt x="126" y="302"/>
                      <a:pt x="120" y="319"/>
                      <a:pt x="134" y="304"/>
                    </a:cubicBezTo>
                    <a:cubicBezTo>
                      <a:pt x="134" y="304"/>
                      <a:pt x="148" y="291"/>
                      <a:pt x="151" y="309"/>
                    </a:cubicBezTo>
                    <a:cubicBezTo>
                      <a:pt x="151" y="309"/>
                      <a:pt x="155" y="320"/>
                      <a:pt x="165" y="318"/>
                    </a:cubicBezTo>
                    <a:cubicBezTo>
                      <a:pt x="165" y="318"/>
                      <a:pt x="174" y="316"/>
                      <a:pt x="180" y="320"/>
                    </a:cubicBezTo>
                    <a:cubicBezTo>
                      <a:pt x="182" y="309"/>
                      <a:pt x="175" y="303"/>
                      <a:pt x="175" y="303"/>
                    </a:cubicBezTo>
                    <a:cubicBezTo>
                      <a:pt x="166" y="294"/>
                      <a:pt x="169" y="266"/>
                      <a:pt x="169" y="266"/>
                    </a:cubicBezTo>
                    <a:cubicBezTo>
                      <a:pt x="165" y="249"/>
                      <a:pt x="169" y="223"/>
                      <a:pt x="169" y="223"/>
                    </a:cubicBezTo>
                    <a:cubicBezTo>
                      <a:pt x="175" y="216"/>
                      <a:pt x="166" y="201"/>
                      <a:pt x="173" y="188"/>
                    </a:cubicBezTo>
                    <a:cubicBezTo>
                      <a:pt x="179" y="170"/>
                      <a:pt x="171" y="153"/>
                      <a:pt x="171" y="153"/>
                    </a:cubicBezTo>
                    <a:cubicBezTo>
                      <a:pt x="166" y="139"/>
                      <a:pt x="172" y="134"/>
                      <a:pt x="172" y="134"/>
                    </a:cubicBezTo>
                    <a:cubicBezTo>
                      <a:pt x="172" y="134"/>
                      <a:pt x="178" y="128"/>
                      <a:pt x="178" y="111"/>
                    </a:cubicBezTo>
                    <a:cubicBezTo>
                      <a:pt x="175" y="109"/>
                      <a:pt x="179" y="100"/>
                      <a:pt x="179" y="100"/>
                    </a:cubicBezTo>
                    <a:cubicBezTo>
                      <a:pt x="184" y="93"/>
                      <a:pt x="178" y="89"/>
                      <a:pt x="178" y="89"/>
                    </a:cubicBezTo>
                    <a:cubicBezTo>
                      <a:pt x="168" y="65"/>
                      <a:pt x="182" y="55"/>
                      <a:pt x="182" y="55"/>
                    </a:cubicBezTo>
                    <a:cubicBezTo>
                      <a:pt x="182" y="32"/>
                      <a:pt x="190" y="42"/>
                      <a:pt x="189" y="24"/>
                    </a:cubicBezTo>
                    <a:cubicBezTo>
                      <a:pt x="182" y="22"/>
                      <a:pt x="188" y="0"/>
                      <a:pt x="178" y="10"/>
                    </a:cubicBezTo>
                    <a:cubicBezTo>
                      <a:pt x="170" y="2"/>
                      <a:pt x="159" y="5"/>
                      <a:pt x="159" y="5"/>
                    </a:cubicBezTo>
                    <a:cubicBezTo>
                      <a:pt x="150" y="3"/>
                      <a:pt x="144" y="12"/>
                      <a:pt x="144" y="12"/>
                    </a:cubicBezTo>
                    <a:cubicBezTo>
                      <a:pt x="137" y="20"/>
                      <a:pt x="120" y="20"/>
                      <a:pt x="120" y="20"/>
                    </a:cubicBezTo>
                    <a:cubicBezTo>
                      <a:pt x="110" y="26"/>
                      <a:pt x="98" y="7"/>
                      <a:pt x="96" y="23"/>
                    </a:cubicBezTo>
                    <a:cubicBezTo>
                      <a:pt x="98" y="31"/>
                      <a:pt x="83" y="45"/>
                      <a:pt x="83" y="45"/>
                    </a:cubicBezTo>
                    <a:cubicBezTo>
                      <a:pt x="94" y="56"/>
                      <a:pt x="83" y="65"/>
                      <a:pt x="83" y="65"/>
                    </a:cubicBezTo>
                    <a:cubicBezTo>
                      <a:pt x="83" y="72"/>
                      <a:pt x="69" y="73"/>
                      <a:pt x="69" y="73"/>
                    </a:cubicBezTo>
                    <a:cubicBezTo>
                      <a:pt x="39" y="72"/>
                      <a:pt x="46" y="85"/>
                      <a:pt x="46" y="85"/>
                    </a:cubicBezTo>
                    <a:cubicBezTo>
                      <a:pt x="53" y="93"/>
                      <a:pt x="39" y="93"/>
                      <a:pt x="39" y="93"/>
                    </a:cubicBezTo>
                    <a:cubicBezTo>
                      <a:pt x="30" y="115"/>
                      <a:pt x="24" y="111"/>
                      <a:pt x="24" y="111"/>
                    </a:cubicBezTo>
                    <a:cubicBezTo>
                      <a:pt x="19" y="118"/>
                      <a:pt x="9" y="112"/>
                      <a:pt x="4" y="120"/>
                    </a:cubicBezTo>
                    <a:cubicBezTo>
                      <a:pt x="1" y="122"/>
                      <a:pt x="0" y="130"/>
                      <a:pt x="0" y="130"/>
                    </a:cubicBezTo>
                    <a:cubicBezTo>
                      <a:pt x="0" y="130"/>
                      <a:pt x="11" y="150"/>
                      <a:pt x="11" y="172"/>
                    </a:cubicBezTo>
                    <a:cubicBezTo>
                      <a:pt x="11" y="172"/>
                      <a:pt x="17" y="182"/>
                      <a:pt x="12" y="185"/>
                    </a:cubicBezTo>
                    <a:cubicBezTo>
                      <a:pt x="12" y="185"/>
                      <a:pt x="7" y="192"/>
                      <a:pt x="9" y="200"/>
                    </a:cubicBezTo>
                    <a:cubicBezTo>
                      <a:pt x="9" y="200"/>
                      <a:pt x="24" y="199"/>
                      <a:pt x="25" y="206"/>
                    </a:cubicBezTo>
                    <a:cubicBezTo>
                      <a:pt x="25" y="206"/>
                      <a:pt x="28" y="213"/>
                      <a:pt x="14" y="214"/>
                    </a:cubicBezTo>
                    <a:cubicBezTo>
                      <a:pt x="31" y="217"/>
                      <a:pt x="22" y="228"/>
                      <a:pt x="28" y="230"/>
                    </a:cubicBezTo>
                    <a:cubicBezTo>
                      <a:pt x="28" y="230"/>
                      <a:pt x="39" y="221"/>
                      <a:pt x="37" y="236"/>
                    </a:cubicBezTo>
                    <a:cubicBezTo>
                      <a:pt x="37" y="236"/>
                      <a:pt x="35" y="258"/>
                      <a:pt x="45" y="245"/>
                    </a:cubicBezTo>
                    <a:cubicBezTo>
                      <a:pt x="45" y="245"/>
                      <a:pt x="52" y="230"/>
                      <a:pt x="53" y="254"/>
                    </a:cubicBezTo>
                    <a:cubicBezTo>
                      <a:pt x="53" y="254"/>
                      <a:pt x="45" y="273"/>
                      <a:pt x="68" y="254"/>
                    </a:cubicBezTo>
                    <a:cubicBezTo>
                      <a:pt x="68" y="254"/>
                      <a:pt x="79" y="248"/>
                      <a:pt x="82" y="262"/>
                    </a:cubicBezTo>
                    <a:cubicBezTo>
                      <a:pt x="82" y="262"/>
                      <a:pt x="99" y="267"/>
                      <a:pt x="96" y="288"/>
                    </a:cubicBezTo>
                    <a:cubicBezTo>
                      <a:pt x="96" y="288"/>
                      <a:pt x="96" y="288"/>
                      <a:pt x="96" y="288"/>
                    </a:cubicBezTo>
                    <a:close/>
                  </a:path>
                </a:pathLst>
              </a:custGeom>
              <a:solidFill>
                <a:srgbClr val="EEBB0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32" name="Freeform 55"/>
              <p:cNvSpPr>
                <a:spLocks/>
              </p:cNvSpPr>
              <p:nvPr/>
            </p:nvSpPr>
            <p:spPr bwMode="auto">
              <a:xfrm>
                <a:off x="987220" y="2299884"/>
                <a:ext cx="791972" cy="759876"/>
              </a:xfrm>
              <a:custGeom>
                <a:avLst/>
                <a:gdLst/>
                <a:ahLst/>
                <a:cxnLst>
                  <a:cxn ang="0">
                    <a:pos x="45" y="236"/>
                  </a:cxn>
                  <a:cxn ang="0">
                    <a:pos x="36" y="206"/>
                  </a:cxn>
                  <a:cxn ang="0">
                    <a:pos x="37" y="194"/>
                  </a:cxn>
                  <a:cxn ang="0">
                    <a:pos x="53" y="194"/>
                  </a:cxn>
                  <a:cxn ang="0">
                    <a:pos x="29" y="149"/>
                  </a:cxn>
                  <a:cxn ang="0">
                    <a:pos x="20" y="126"/>
                  </a:cxn>
                  <a:cxn ang="0">
                    <a:pos x="9" y="107"/>
                  </a:cxn>
                  <a:cxn ang="0">
                    <a:pos x="12" y="87"/>
                  </a:cxn>
                  <a:cxn ang="0">
                    <a:pos x="12" y="87"/>
                  </a:cxn>
                  <a:cxn ang="0">
                    <a:pos x="5" y="63"/>
                  </a:cxn>
                  <a:cxn ang="0">
                    <a:pos x="5" y="63"/>
                  </a:cxn>
                  <a:cxn ang="0">
                    <a:pos x="18" y="46"/>
                  </a:cxn>
                  <a:cxn ang="0">
                    <a:pos x="42" y="52"/>
                  </a:cxn>
                  <a:cxn ang="0">
                    <a:pos x="60" y="50"/>
                  </a:cxn>
                  <a:cxn ang="0">
                    <a:pos x="84" y="32"/>
                  </a:cxn>
                  <a:cxn ang="0">
                    <a:pos x="93" y="15"/>
                  </a:cxn>
                  <a:cxn ang="0">
                    <a:pos x="129" y="10"/>
                  </a:cxn>
                  <a:cxn ang="0">
                    <a:pos x="178" y="7"/>
                  </a:cxn>
                  <a:cxn ang="0">
                    <a:pos x="206" y="12"/>
                  </a:cxn>
                  <a:cxn ang="0">
                    <a:pos x="225" y="14"/>
                  </a:cxn>
                  <a:cxn ang="0">
                    <a:pos x="228" y="26"/>
                  </a:cxn>
                  <a:cxn ang="0">
                    <a:pos x="225" y="39"/>
                  </a:cxn>
                  <a:cxn ang="0">
                    <a:pos x="218" y="54"/>
                  </a:cxn>
                  <a:cxn ang="0">
                    <a:pos x="221" y="74"/>
                  </a:cxn>
                  <a:cxn ang="0">
                    <a:pos x="222" y="85"/>
                  </a:cxn>
                  <a:cxn ang="0">
                    <a:pos x="218" y="114"/>
                  </a:cxn>
                  <a:cxn ang="0">
                    <a:pos x="229" y="116"/>
                  </a:cxn>
                  <a:cxn ang="0">
                    <a:pos x="248" y="126"/>
                  </a:cxn>
                  <a:cxn ang="0">
                    <a:pos x="259" y="143"/>
                  </a:cxn>
                  <a:cxn ang="0">
                    <a:pos x="267" y="162"/>
                  </a:cxn>
                  <a:cxn ang="0">
                    <a:pos x="258" y="174"/>
                  </a:cxn>
                  <a:cxn ang="0">
                    <a:pos x="272" y="186"/>
                  </a:cxn>
                  <a:cxn ang="0">
                    <a:pos x="257" y="195"/>
                  </a:cxn>
                  <a:cxn ang="0">
                    <a:pos x="259" y="210"/>
                  </a:cxn>
                  <a:cxn ang="0">
                    <a:pos x="249" y="221"/>
                  </a:cxn>
                  <a:cxn ang="0">
                    <a:pos x="245" y="235"/>
                  </a:cxn>
                  <a:cxn ang="0">
                    <a:pos x="232" y="247"/>
                  </a:cxn>
                  <a:cxn ang="0">
                    <a:pos x="217" y="238"/>
                  </a:cxn>
                  <a:cxn ang="0">
                    <a:pos x="199" y="243"/>
                  </a:cxn>
                  <a:cxn ang="0">
                    <a:pos x="182" y="247"/>
                  </a:cxn>
                  <a:cxn ang="0">
                    <a:pos x="170" y="260"/>
                  </a:cxn>
                  <a:cxn ang="0">
                    <a:pos x="157" y="280"/>
                  </a:cxn>
                  <a:cxn ang="0">
                    <a:pos x="157" y="295"/>
                  </a:cxn>
                  <a:cxn ang="0">
                    <a:pos x="148" y="304"/>
                  </a:cxn>
                  <a:cxn ang="0">
                    <a:pos x="139" y="294"/>
                  </a:cxn>
                  <a:cxn ang="0">
                    <a:pos x="118" y="294"/>
                  </a:cxn>
                  <a:cxn ang="0">
                    <a:pos x="103" y="284"/>
                  </a:cxn>
                  <a:cxn ang="0">
                    <a:pos x="89" y="276"/>
                  </a:cxn>
                  <a:cxn ang="0">
                    <a:pos x="81" y="271"/>
                  </a:cxn>
                  <a:cxn ang="0">
                    <a:pos x="88" y="258"/>
                  </a:cxn>
                  <a:cxn ang="0">
                    <a:pos x="78" y="250"/>
                  </a:cxn>
                  <a:cxn ang="0">
                    <a:pos x="63" y="246"/>
                  </a:cxn>
                  <a:cxn ang="0">
                    <a:pos x="45" y="236"/>
                  </a:cxn>
                  <a:cxn ang="0">
                    <a:pos x="45" y="236"/>
                  </a:cxn>
                </a:cxnLst>
                <a:rect l="0" t="0" r="r" b="b"/>
                <a:pathLst>
                  <a:path w="281" h="304">
                    <a:moveTo>
                      <a:pt x="45" y="236"/>
                    </a:moveTo>
                    <a:cubicBezTo>
                      <a:pt x="45" y="227"/>
                      <a:pt x="42" y="216"/>
                      <a:pt x="36" y="206"/>
                    </a:cubicBezTo>
                    <a:cubicBezTo>
                      <a:pt x="36" y="206"/>
                      <a:pt x="24" y="198"/>
                      <a:pt x="37" y="194"/>
                    </a:cubicBezTo>
                    <a:cubicBezTo>
                      <a:pt x="37" y="194"/>
                      <a:pt x="43" y="192"/>
                      <a:pt x="53" y="194"/>
                    </a:cubicBezTo>
                    <a:cubicBezTo>
                      <a:pt x="53" y="184"/>
                      <a:pt x="32" y="184"/>
                      <a:pt x="29" y="149"/>
                    </a:cubicBezTo>
                    <a:cubicBezTo>
                      <a:pt x="23" y="143"/>
                      <a:pt x="31" y="128"/>
                      <a:pt x="20" y="126"/>
                    </a:cubicBezTo>
                    <a:cubicBezTo>
                      <a:pt x="8" y="124"/>
                      <a:pt x="14" y="108"/>
                      <a:pt x="9" y="107"/>
                    </a:cubicBezTo>
                    <a:cubicBezTo>
                      <a:pt x="9" y="107"/>
                      <a:pt x="0" y="103"/>
                      <a:pt x="12" y="87"/>
                    </a:cubicBezTo>
                    <a:cubicBezTo>
                      <a:pt x="12" y="87"/>
                      <a:pt x="12" y="87"/>
                      <a:pt x="12" y="87"/>
                    </a:cubicBezTo>
                    <a:cubicBezTo>
                      <a:pt x="5" y="63"/>
                      <a:pt x="5" y="63"/>
                      <a:pt x="5" y="63"/>
                    </a:cubicBezTo>
                    <a:cubicBezTo>
                      <a:pt x="5" y="63"/>
                      <a:pt x="5" y="63"/>
                      <a:pt x="5" y="63"/>
                    </a:cubicBezTo>
                    <a:cubicBezTo>
                      <a:pt x="5" y="63"/>
                      <a:pt x="6" y="45"/>
                      <a:pt x="18" y="46"/>
                    </a:cubicBezTo>
                    <a:cubicBezTo>
                      <a:pt x="18" y="46"/>
                      <a:pt x="38" y="44"/>
                      <a:pt x="42" y="52"/>
                    </a:cubicBezTo>
                    <a:cubicBezTo>
                      <a:pt x="42" y="52"/>
                      <a:pt x="37" y="68"/>
                      <a:pt x="60" y="50"/>
                    </a:cubicBezTo>
                    <a:cubicBezTo>
                      <a:pt x="60" y="50"/>
                      <a:pt x="75" y="43"/>
                      <a:pt x="84" y="32"/>
                    </a:cubicBezTo>
                    <a:cubicBezTo>
                      <a:pt x="84" y="32"/>
                      <a:pt x="86" y="22"/>
                      <a:pt x="93" y="15"/>
                    </a:cubicBezTo>
                    <a:cubicBezTo>
                      <a:pt x="93" y="15"/>
                      <a:pt x="96" y="3"/>
                      <a:pt x="129" y="10"/>
                    </a:cubicBezTo>
                    <a:cubicBezTo>
                      <a:pt x="129" y="10"/>
                      <a:pt x="163" y="15"/>
                      <a:pt x="178" y="7"/>
                    </a:cubicBezTo>
                    <a:cubicBezTo>
                      <a:pt x="204" y="0"/>
                      <a:pt x="196" y="8"/>
                      <a:pt x="206" y="12"/>
                    </a:cubicBezTo>
                    <a:cubicBezTo>
                      <a:pt x="206" y="12"/>
                      <a:pt x="213" y="13"/>
                      <a:pt x="225" y="14"/>
                    </a:cubicBezTo>
                    <a:cubicBezTo>
                      <a:pt x="224" y="23"/>
                      <a:pt x="228" y="26"/>
                      <a:pt x="228" y="26"/>
                    </a:cubicBezTo>
                    <a:cubicBezTo>
                      <a:pt x="236" y="25"/>
                      <a:pt x="233" y="41"/>
                      <a:pt x="225" y="39"/>
                    </a:cubicBezTo>
                    <a:cubicBezTo>
                      <a:pt x="221" y="45"/>
                      <a:pt x="218" y="54"/>
                      <a:pt x="218" y="54"/>
                    </a:cubicBezTo>
                    <a:cubicBezTo>
                      <a:pt x="214" y="68"/>
                      <a:pt x="221" y="74"/>
                      <a:pt x="221" y="74"/>
                    </a:cubicBezTo>
                    <a:cubicBezTo>
                      <a:pt x="228" y="80"/>
                      <a:pt x="222" y="85"/>
                      <a:pt x="222" y="85"/>
                    </a:cubicBezTo>
                    <a:cubicBezTo>
                      <a:pt x="223" y="107"/>
                      <a:pt x="218" y="114"/>
                      <a:pt x="218" y="114"/>
                    </a:cubicBezTo>
                    <a:cubicBezTo>
                      <a:pt x="221" y="130"/>
                      <a:pt x="229" y="116"/>
                      <a:pt x="229" y="116"/>
                    </a:cubicBezTo>
                    <a:cubicBezTo>
                      <a:pt x="246" y="110"/>
                      <a:pt x="248" y="126"/>
                      <a:pt x="248" y="126"/>
                    </a:cubicBezTo>
                    <a:cubicBezTo>
                      <a:pt x="252" y="141"/>
                      <a:pt x="259" y="143"/>
                      <a:pt x="259" y="143"/>
                    </a:cubicBezTo>
                    <a:cubicBezTo>
                      <a:pt x="281" y="162"/>
                      <a:pt x="267" y="162"/>
                      <a:pt x="267" y="162"/>
                    </a:cubicBezTo>
                    <a:cubicBezTo>
                      <a:pt x="258" y="165"/>
                      <a:pt x="258" y="174"/>
                      <a:pt x="258" y="174"/>
                    </a:cubicBezTo>
                    <a:cubicBezTo>
                      <a:pt x="276" y="173"/>
                      <a:pt x="272" y="186"/>
                      <a:pt x="272" y="186"/>
                    </a:cubicBezTo>
                    <a:cubicBezTo>
                      <a:pt x="273" y="196"/>
                      <a:pt x="257" y="192"/>
                      <a:pt x="257" y="195"/>
                    </a:cubicBezTo>
                    <a:cubicBezTo>
                      <a:pt x="271" y="205"/>
                      <a:pt x="259" y="210"/>
                      <a:pt x="259" y="210"/>
                    </a:cubicBezTo>
                    <a:cubicBezTo>
                      <a:pt x="260" y="217"/>
                      <a:pt x="249" y="221"/>
                      <a:pt x="249" y="221"/>
                    </a:cubicBezTo>
                    <a:cubicBezTo>
                      <a:pt x="242" y="225"/>
                      <a:pt x="245" y="235"/>
                      <a:pt x="245" y="235"/>
                    </a:cubicBezTo>
                    <a:cubicBezTo>
                      <a:pt x="246" y="258"/>
                      <a:pt x="232" y="247"/>
                      <a:pt x="232" y="247"/>
                    </a:cubicBezTo>
                    <a:cubicBezTo>
                      <a:pt x="224" y="247"/>
                      <a:pt x="225" y="237"/>
                      <a:pt x="217" y="238"/>
                    </a:cubicBezTo>
                    <a:cubicBezTo>
                      <a:pt x="210" y="236"/>
                      <a:pt x="210" y="243"/>
                      <a:pt x="199" y="243"/>
                    </a:cubicBezTo>
                    <a:cubicBezTo>
                      <a:pt x="184" y="239"/>
                      <a:pt x="182" y="247"/>
                      <a:pt x="182" y="247"/>
                    </a:cubicBezTo>
                    <a:cubicBezTo>
                      <a:pt x="177" y="252"/>
                      <a:pt x="181" y="265"/>
                      <a:pt x="170" y="260"/>
                    </a:cubicBezTo>
                    <a:cubicBezTo>
                      <a:pt x="153" y="257"/>
                      <a:pt x="157" y="280"/>
                      <a:pt x="157" y="280"/>
                    </a:cubicBezTo>
                    <a:cubicBezTo>
                      <a:pt x="168" y="291"/>
                      <a:pt x="157" y="295"/>
                      <a:pt x="157" y="295"/>
                    </a:cubicBezTo>
                    <a:cubicBezTo>
                      <a:pt x="155" y="301"/>
                      <a:pt x="148" y="304"/>
                      <a:pt x="148" y="304"/>
                    </a:cubicBezTo>
                    <a:cubicBezTo>
                      <a:pt x="148" y="304"/>
                      <a:pt x="149" y="297"/>
                      <a:pt x="139" y="294"/>
                    </a:cubicBezTo>
                    <a:cubicBezTo>
                      <a:pt x="139" y="294"/>
                      <a:pt x="128" y="289"/>
                      <a:pt x="118" y="294"/>
                    </a:cubicBezTo>
                    <a:cubicBezTo>
                      <a:pt x="118" y="294"/>
                      <a:pt x="107" y="299"/>
                      <a:pt x="103" y="284"/>
                    </a:cubicBezTo>
                    <a:cubicBezTo>
                      <a:pt x="103" y="284"/>
                      <a:pt x="100" y="277"/>
                      <a:pt x="89" y="276"/>
                    </a:cubicBezTo>
                    <a:cubicBezTo>
                      <a:pt x="89" y="276"/>
                      <a:pt x="82" y="280"/>
                      <a:pt x="81" y="271"/>
                    </a:cubicBezTo>
                    <a:cubicBezTo>
                      <a:pt x="74" y="266"/>
                      <a:pt x="90" y="264"/>
                      <a:pt x="88" y="258"/>
                    </a:cubicBezTo>
                    <a:cubicBezTo>
                      <a:pt x="88" y="258"/>
                      <a:pt x="87" y="250"/>
                      <a:pt x="78" y="250"/>
                    </a:cubicBezTo>
                    <a:cubicBezTo>
                      <a:pt x="78" y="250"/>
                      <a:pt x="74" y="243"/>
                      <a:pt x="63" y="246"/>
                    </a:cubicBezTo>
                    <a:cubicBezTo>
                      <a:pt x="63" y="246"/>
                      <a:pt x="54" y="247"/>
                      <a:pt x="45" y="236"/>
                    </a:cubicBezTo>
                    <a:cubicBezTo>
                      <a:pt x="45" y="236"/>
                      <a:pt x="45" y="236"/>
                      <a:pt x="45" y="236"/>
                    </a:cubicBezTo>
                    <a:close/>
                  </a:path>
                </a:pathLst>
              </a:custGeom>
              <a:solidFill>
                <a:srgbClr val="EEBB0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900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33" name="Freeform 54"/>
              <p:cNvSpPr>
                <a:spLocks/>
              </p:cNvSpPr>
              <p:nvPr/>
            </p:nvSpPr>
            <p:spPr bwMode="auto">
              <a:xfrm>
                <a:off x="1396319" y="2322498"/>
                <a:ext cx="912605" cy="877476"/>
              </a:xfrm>
              <a:custGeom>
                <a:avLst/>
                <a:gdLst/>
                <a:ahLst/>
                <a:cxnLst>
                  <a:cxn ang="0">
                    <a:pos x="83" y="17"/>
                  </a:cxn>
                  <a:cxn ang="0">
                    <a:pos x="73" y="45"/>
                  </a:cxn>
                  <a:cxn ang="0">
                    <a:pos x="77" y="76"/>
                  </a:cxn>
                  <a:cxn ang="0">
                    <a:pos x="84" y="107"/>
                  </a:cxn>
                  <a:cxn ang="0">
                    <a:pos x="114" y="134"/>
                  </a:cxn>
                  <a:cxn ang="0">
                    <a:pos x="113" y="165"/>
                  </a:cxn>
                  <a:cxn ang="0">
                    <a:pos x="112" y="186"/>
                  </a:cxn>
                  <a:cxn ang="0">
                    <a:pos x="104" y="212"/>
                  </a:cxn>
                  <a:cxn ang="0">
                    <a:pos x="87" y="238"/>
                  </a:cxn>
                  <a:cxn ang="0">
                    <a:pos x="54" y="234"/>
                  </a:cxn>
                  <a:cxn ang="0">
                    <a:pos x="25" y="251"/>
                  </a:cxn>
                  <a:cxn ang="0">
                    <a:pos x="12" y="286"/>
                  </a:cxn>
                  <a:cxn ang="0">
                    <a:pos x="17" y="299"/>
                  </a:cxn>
                  <a:cxn ang="0">
                    <a:pos x="17" y="335"/>
                  </a:cxn>
                  <a:cxn ang="0">
                    <a:pos x="32" y="351"/>
                  </a:cxn>
                  <a:cxn ang="0">
                    <a:pos x="45" y="329"/>
                  </a:cxn>
                  <a:cxn ang="0">
                    <a:pos x="93" y="318"/>
                  </a:cxn>
                  <a:cxn ang="0">
                    <a:pos x="127" y="316"/>
                  </a:cxn>
                  <a:cxn ang="0">
                    <a:pos x="146" y="326"/>
                  </a:cxn>
                  <a:cxn ang="0">
                    <a:pos x="176" y="306"/>
                  </a:cxn>
                  <a:cxn ang="0">
                    <a:pos x="216" y="272"/>
                  </a:cxn>
                  <a:cxn ang="0">
                    <a:pos x="251" y="268"/>
                  </a:cxn>
                  <a:cxn ang="0">
                    <a:pos x="256" y="245"/>
                  </a:cxn>
                  <a:cxn ang="0">
                    <a:pos x="256" y="207"/>
                  </a:cxn>
                  <a:cxn ang="0">
                    <a:pos x="272" y="168"/>
                  </a:cxn>
                  <a:cxn ang="0">
                    <a:pos x="280" y="151"/>
                  </a:cxn>
                  <a:cxn ang="0">
                    <a:pos x="286" y="132"/>
                  </a:cxn>
                  <a:cxn ang="0">
                    <a:pos x="292" y="107"/>
                  </a:cxn>
                  <a:cxn ang="0">
                    <a:pos x="306" y="101"/>
                  </a:cxn>
                  <a:cxn ang="0">
                    <a:pos x="322" y="85"/>
                  </a:cxn>
                  <a:cxn ang="0">
                    <a:pos x="270" y="70"/>
                  </a:cxn>
                  <a:cxn ang="0">
                    <a:pos x="263" y="52"/>
                  </a:cxn>
                  <a:cxn ang="0">
                    <a:pos x="253" y="45"/>
                  </a:cxn>
                  <a:cxn ang="0">
                    <a:pos x="234" y="46"/>
                  </a:cxn>
                  <a:cxn ang="0">
                    <a:pos x="181" y="28"/>
                  </a:cxn>
                  <a:cxn ang="0">
                    <a:pos x="148" y="17"/>
                  </a:cxn>
                  <a:cxn ang="0">
                    <a:pos x="105" y="5"/>
                  </a:cxn>
                  <a:cxn ang="0">
                    <a:pos x="80" y="4"/>
                  </a:cxn>
                </a:cxnLst>
                <a:rect l="0" t="0" r="r" b="b"/>
                <a:pathLst>
                  <a:path w="323" h="351">
                    <a:moveTo>
                      <a:pt x="80" y="4"/>
                    </a:moveTo>
                    <a:cubicBezTo>
                      <a:pt x="79" y="13"/>
                      <a:pt x="83" y="17"/>
                      <a:pt x="83" y="17"/>
                    </a:cubicBezTo>
                    <a:cubicBezTo>
                      <a:pt x="91" y="16"/>
                      <a:pt x="88" y="32"/>
                      <a:pt x="80" y="30"/>
                    </a:cubicBezTo>
                    <a:cubicBezTo>
                      <a:pt x="76" y="36"/>
                      <a:pt x="73" y="45"/>
                      <a:pt x="73" y="45"/>
                    </a:cubicBezTo>
                    <a:cubicBezTo>
                      <a:pt x="69" y="59"/>
                      <a:pt x="76" y="65"/>
                      <a:pt x="76" y="65"/>
                    </a:cubicBezTo>
                    <a:cubicBezTo>
                      <a:pt x="83" y="71"/>
                      <a:pt x="77" y="76"/>
                      <a:pt x="77" y="76"/>
                    </a:cubicBezTo>
                    <a:cubicBezTo>
                      <a:pt x="78" y="98"/>
                      <a:pt x="73" y="105"/>
                      <a:pt x="73" y="105"/>
                    </a:cubicBezTo>
                    <a:cubicBezTo>
                      <a:pt x="76" y="121"/>
                      <a:pt x="84" y="107"/>
                      <a:pt x="84" y="107"/>
                    </a:cubicBezTo>
                    <a:cubicBezTo>
                      <a:pt x="101" y="101"/>
                      <a:pt x="103" y="117"/>
                      <a:pt x="103" y="117"/>
                    </a:cubicBezTo>
                    <a:cubicBezTo>
                      <a:pt x="107" y="132"/>
                      <a:pt x="114" y="134"/>
                      <a:pt x="114" y="134"/>
                    </a:cubicBezTo>
                    <a:cubicBezTo>
                      <a:pt x="136" y="153"/>
                      <a:pt x="122" y="153"/>
                      <a:pt x="122" y="153"/>
                    </a:cubicBezTo>
                    <a:cubicBezTo>
                      <a:pt x="113" y="156"/>
                      <a:pt x="113" y="165"/>
                      <a:pt x="113" y="165"/>
                    </a:cubicBezTo>
                    <a:cubicBezTo>
                      <a:pt x="131" y="164"/>
                      <a:pt x="127" y="177"/>
                      <a:pt x="127" y="177"/>
                    </a:cubicBezTo>
                    <a:cubicBezTo>
                      <a:pt x="128" y="187"/>
                      <a:pt x="112" y="183"/>
                      <a:pt x="112" y="186"/>
                    </a:cubicBezTo>
                    <a:cubicBezTo>
                      <a:pt x="126" y="196"/>
                      <a:pt x="114" y="201"/>
                      <a:pt x="114" y="201"/>
                    </a:cubicBezTo>
                    <a:cubicBezTo>
                      <a:pt x="115" y="208"/>
                      <a:pt x="104" y="212"/>
                      <a:pt x="104" y="212"/>
                    </a:cubicBezTo>
                    <a:cubicBezTo>
                      <a:pt x="97" y="216"/>
                      <a:pt x="100" y="226"/>
                      <a:pt x="100" y="226"/>
                    </a:cubicBezTo>
                    <a:cubicBezTo>
                      <a:pt x="101" y="249"/>
                      <a:pt x="87" y="238"/>
                      <a:pt x="87" y="238"/>
                    </a:cubicBezTo>
                    <a:cubicBezTo>
                      <a:pt x="79" y="238"/>
                      <a:pt x="80" y="228"/>
                      <a:pt x="72" y="229"/>
                    </a:cubicBezTo>
                    <a:cubicBezTo>
                      <a:pt x="65" y="227"/>
                      <a:pt x="65" y="234"/>
                      <a:pt x="54" y="234"/>
                    </a:cubicBezTo>
                    <a:cubicBezTo>
                      <a:pt x="39" y="230"/>
                      <a:pt x="37" y="238"/>
                      <a:pt x="37" y="238"/>
                    </a:cubicBezTo>
                    <a:cubicBezTo>
                      <a:pt x="32" y="243"/>
                      <a:pt x="36" y="256"/>
                      <a:pt x="25" y="251"/>
                    </a:cubicBezTo>
                    <a:cubicBezTo>
                      <a:pt x="8" y="248"/>
                      <a:pt x="12" y="271"/>
                      <a:pt x="12" y="271"/>
                    </a:cubicBezTo>
                    <a:cubicBezTo>
                      <a:pt x="23" y="282"/>
                      <a:pt x="12" y="286"/>
                      <a:pt x="12" y="286"/>
                    </a:cubicBezTo>
                    <a:cubicBezTo>
                      <a:pt x="10" y="292"/>
                      <a:pt x="3" y="295"/>
                      <a:pt x="3" y="295"/>
                    </a:cubicBezTo>
                    <a:cubicBezTo>
                      <a:pt x="0" y="302"/>
                      <a:pt x="17" y="299"/>
                      <a:pt x="17" y="299"/>
                    </a:cubicBezTo>
                    <a:cubicBezTo>
                      <a:pt x="21" y="304"/>
                      <a:pt x="14" y="311"/>
                      <a:pt x="14" y="311"/>
                    </a:cubicBezTo>
                    <a:cubicBezTo>
                      <a:pt x="11" y="328"/>
                      <a:pt x="17" y="335"/>
                      <a:pt x="17" y="335"/>
                    </a:cubicBezTo>
                    <a:cubicBezTo>
                      <a:pt x="17" y="335"/>
                      <a:pt x="17" y="335"/>
                      <a:pt x="17" y="335"/>
                    </a:cubicBezTo>
                    <a:cubicBezTo>
                      <a:pt x="32" y="351"/>
                      <a:pt x="32" y="351"/>
                      <a:pt x="32" y="351"/>
                    </a:cubicBezTo>
                    <a:cubicBezTo>
                      <a:pt x="32" y="351"/>
                      <a:pt x="32" y="351"/>
                      <a:pt x="32" y="351"/>
                    </a:cubicBezTo>
                    <a:cubicBezTo>
                      <a:pt x="32" y="351"/>
                      <a:pt x="47" y="337"/>
                      <a:pt x="45" y="329"/>
                    </a:cubicBezTo>
                    <a:cubicBezTo>
                      <a:pt x="47" y="313"/>
                      <a:pt x="59" y="332"/>
                      <a:pt x="69" y="326"/>
                    </a:cubicBezTo>
                    <a:cubicBezTo>
                      <a:pt x="69" y="326"/>
                      <a:pt x="86" y="326"/>
                      <a:pt x="93" y="318"/>
                    </a:cubicBezTo>
                    <a:cubicBezTo>
                      <a:pt x="93" y="318"/>
                      <a:pt x="99" y="309"/>
                      <a:pt x="108" y="311"/>
                    </a:cubicBezTo>
                    <a:cubicBezTo>
                      <a:pt x="108" y="311"/>
                      <a:pt x="119" y="308"/>
                      <a:pt x="127" y="316"/>
                    </a:cubicBezTo>
                    <a:cubicBezTo>
                      <a:pt x="137" y="306"/>
                      <a:pt x="131" y="329"/>
                      <a:pt x="137" y="330"/>
                    </a:cubicBezTo>
                    <a:cubicBezTo>
                      <a:pt x="142" y="330"/>
                      <a:pt x="146" y="326"/>
                      <a:pt x="146" y="326"/>
                    </a:cubicBezTo>
                    <a:cubicBezTo>
                      <a:pt x="153" y="309"/>
                      <a:pt x="158" y="318"/>
                      <a:pt x="158" y="318"/>
                    </a:cubicBezTo>
                    <a:cubicBezTo>
                      <a:pt x="166" y="320"/>
                      <a:pt x="176" y="306"/>
                      <a:pt x="176" y="306"/>
                    </a:cubicBezTo>
                    <a:cubicBezTo>
                      <a:pt x="193" y="295"/>
                      <a:pt x="195" y="285"/>
                      <a:pt x="195" y="285"/>
                    </a:cubicBezTo>
                    <a:cubicBezTo>
                      <a:pt x="205" y="270"/>
                      <a:pt x="216" y="272"/>
                      <a:pt x="216" y="272"/>
                    </a:cubicBezTo>
                    <a:cubicBezTo>
                      <a:pt x="226" y="273"/>
                      <a:pt x="230" y="266"/>
                      <a:pt x="230" y="266"/>
                    </a:cubicBezTo>
                    <a:cubicBezTo>
                      <a:pt x="238" y="257"/>
                      <a:pt x="241" y="271"/>
                      <a:pt x="251" y="268"/>
                    </a:cubicBezTo>
                    <a:cubicBezTo>
                      <a:pt x="258" y="267"/>
                      <a:pt x="253" y="260"/>
                      <a:pt x="253" y="260"/>
                    </a:cubicBezTo>
                    <a:cubicBezTo>
                      <a:pt x="245" y="249"/>
                      <a:pt x="256" y="245"/>
                      <a:pt x="256" y="245"/>
                    </a:cubicBezTo>
                    <a:cubicBezTo>
                      <a:pt x="262" y="233"/>
                      <a:pt x="256" y="227"/>
                      <a:pt x="256" y="227"/>
                    </a:cubicBezTo>
                    <a:cubicBezTo>
                      <a:pt x="252" y="219"/>
                      <a:pt x="260" y="218"/>
                      <a:pt x="256" y="207"/>
                    </a:cubicBezTo>
                    <a:cubicBezTo>
                      <a:pt x="258" y="193"/>
                      <a:pt x="249" y="183"/>
                      <a:pt x="259" y="181"/>
                    </a:cubicBezTo>
                    <a:cubicBezTo>
                      <a:pt x="268" y="179"/>
                      <a:pt x="272" y="168"/>
                      <a:pt x="272" y="168"/>
                    </a:cubicBezTo>
                    <a:cubicBezTo>
                      <a:pt x="272" y="168"/>
                      <a:pt x="272" y="168"/>
                      <a:pt x="272" y="168"/>
                    </a:cubicBezTo>
                    <a:cubicBezTo>
                      <a:pt x="280" y="151"/>
                      <a:pt x="280" y="151"/>
                      <a:pt x="280" y="151"/>
                    </a:cubicBezTo>
                    <a:cubicBezTo>
                      <a:pt x="280" y="151"/>
                      <a:pt x="280" y="151"/>
                      <a:pt x="280" y="151"/>
                    </a:cubicBezTo>
                    <a:cubicBezTo>
                      <a:pt x="289" y="151"/>
                      <a:pt x="286" y="132"/>
                      <a:pt x="286" y="132"/>
                    </a:cubicBezTo>
                    <a:cubicBezTo>
                      <a:pt x="298" y="125"/>
                      <a:pt x="290" y="122"/>
                      <a:pt x="290" y="122"/>
                    </a:cubicBezTo>
                    <a:cubicBezTo>
                      <a:pt x="285" y="111"/>
                      <a:pt x="292" y="107"/>
                      <a:pt x="292" y="107"/>
                    </a:cubicBezTo>
                    <a:cubicBezTo>
                      <a:pt x="293" y="114"/>
                      <a:pt x="292" y="116"/>
                      <a:pt x="302" y="119"/>
                    </a:cubicBezTo>
                    <a:cubicBezTo>
                      <a:pt x="299" y="108"/>
                      <a:pt x="306" y="101"/>
                      <a:pt x="306" y="101"/>
                    </a:cubicBezTo>
                    <a:cubicBezTo>
                      <a:pt x="311" y="93"/>
                      <a:pt x="317" y="98"/>
                      <a:pt x="317" y="98"/>
                    </a:cubicBezTo>
                    <a:cubicBezTo>
                      <a:pt x="314" y="91"/>
                      <a:pt x="322" y="85"/>
                      <a:pt x="322" y="85"/>
                    </a:cubicBezTo>
                    <a:cubicBezTo>
                      <a:pt x="323" y="69"/>
                      <a:pt x="292" y="68"/>
                      <a:pt x="292" y="76"/>
                    </a:cubicBezTo>
                    <a:cubicBezTo>
                      <a:pt x="266" y="79"/>
                      <a:pt x="270" y="70"/>
                      <a:pt x="270" y="70"/>
                    </a:cubicBezTo>
                    <a:cubicBezTo>
                      <a:pt x="278" y="63"/>
                      <a:pt x="266" y="63"/>
                      <a:pt x="266" y="63"/>
                    </a:cubicBezTo>
                    <a:cubicBezTo>
                      <a:pt x="259" y="59"/>
                      <a:pt x="263" y="52"/>
                      <a:pt x="263" y="52"/>
                    </a:cubicBezTo>
                    <a:cubicBezTo>
                      <a:pt x="265" y="45"/>
                      <a:pt x="253" y="45"/>
                      <a:pt x="253" y="45"/>
                    </a:cubicBezTo>
                    <a:cubicBezTo>
                      <a:pt x="253" y="45"/>
                      <a:pt x="253" y="45"/>
                      <a:pt x="253" y="45"/>
                    </a:cubicBezTo>
                    <a:cubicBezTo>
                      <a:pt x="234" y="46"/>
                      <a:pt x="234" y="46"/>
                      <a:pt x="234" y="46"/>
                    </a:cubicBezTo>
                    <a:cubicBezTo>
                      <a:pt x="234" y="46"/>
                      <a:pt x="234" y="46"/>
                      <a:pt x="234" y="46"/>
                    </a:cubicBezTo>
                    <a:cubicBezTo>
                      <a:pt x="220" y="44"/>
                      <a:pt x="216" y="31"/>
                      <a:pt x="191" y="32"/>
                    </a:cubicBezTo>
                    <a:cubicBezTo>
                      <a:pt x="179" y="33"/>
                      <a:pt x="181" y="28"/>
                      <a:pt x="181" y="28"/>
                    </a:cubicBezTo>
                    <a:cubicBezTo>
                      <a:pt x="179" y="20"/>
                      <a:pt x="162" y="21"/>
                      <a:pt x="162" y="21"/>
                    </a:cubicBezTo>
                    <a:cubicBezTo>
                      <a:pt x="148" y="24"/>
                      <a:pt x="148" y="17"/>
                      <a:pt x="148" y="17"/>
                    </a:cubicBezTo>
                    <a:cubicBezTo>
                      <a:pt x="145" y="7"/>
                      <a:pt x="128" y="10"/>
                      <a:pt x="128" y="10"/>
                    </a:cubicBezTo>
                    <a:cubicBezTo>
                      <a:pt x="111" y="10"/>
                      <a:pt x="113" y="0"/>
                      <a:pt x="105" y="5"/>
                    </a:cubicBezTo>
                    <a:cubicBezTo>
                      <a:pt x="95" y="6"/>
                      <a:pt x="87" y="4"/>
                      <a:pt x="80" y="4"/>
                    </a:cubicBezTo>
                    <a:cubicBezTo>
                      <a:pt x="80" y="4"/>
                      <a:pt x="80" y="4"/>
                      <a:pt x="80" y="4"/>
                    </a:cubicBezTo>
                    <a:close/>
                  </a:path>
                </a:pathLst>
              </a:custGeom>
              <a:solidFill>
                <a:srgbClr val="EEBB0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34" name="Freeform 53"/>
              <p:cNvSpPr>
                <a:spLocks/>
              </p:cNvSpPr>
              <p:nvPr/>
            </p:nvSpPr>
            <p:spPr bwMode="auto">
              <a:xfrm>
                <a:off x="1716253" y="2964774"/>
                <a:ext cx="597914" cy="976984"/>
              </a:xfrm>
              <a:custGeom>
                <a:avLst/>
                <a:gdLst/>
                <a:ahLst/>
                <a:cxnLst>
                  <a:cxn ang="0">
                    <a:pos x="138" y="12"/>
                  </a:cxn>
                  <a:cxn ang="0">
                    <a:pos x="142" y="32"/>
                  </a:cxn>
                  <a:cxn ang="0">
                    <a:pos x="146" y="45"/>
                  </a:cxn>
                  <a:cxn ang="0">
                    <a:pos x="161" y="63"/>
                  </a:cxn>
                  <a:cxn ang="0">
                    <a:pos x="178" y="68"/>
                  </a:cxn>
                  <a:cxn ang="0">
                    <a:pos x="182" y="91"/>
                  </a:cxn>
                  <a:cxn ang="0">
                    <a:pos x="178" y="111"/>
                  </a:cxn>
                  <a:cxn ang="0">
                    <a:pos x="171" y="128"/>
                  </a:cxn>
                  <a:cxn ang="0">
                    <a:pos x="183" y="149"/>
                  </a:cxn>
                  <a:cxn ang="0">
                    <a:pos x="204" y="155"/>
                  </a:cxn>
                  <a:cxn ang="0">
                    <a:pos x="199" y="166"/>
                  </a:cxn>
                  <a:cxn ang="0">
                    <a:pos x="199" y="179"/>
                  </a:cxn>
                  <a:cxn ang="0">
                    <a:pos x="195" y="191"/>
                  </a:cxn>
                  <a:cxn ang="0">
                    <a:pos x="196" y="217"/>
                  </a:cxn>
                  <a:cxn ang="0">
                    <a:pos x="203" y="251"/>
                  </a:cxn>
                  <a:cxn ang="0">
                    <a:pos x="182" y="268"/>
                  </a:cxn>
                  <a:cxn ang="0">
                    <a:pos x="153" y="274"/>
                  </a:cxn>
                  <a:cxn ang="0">
                    <a:pos x="142" y="302"/>
                  </a:cxn>
                  <a:cxn ang="0">
                    <a:pos x="140" y="358"/>
                  </a:cxn>
                  <a:cxn ang="0">
                    <a:pos x="125" y="360"/>
                  </a:cxn>
                  <a:cxn ang="0">
                    <a:pos x="98" y="368"/>
                  </a:cxn>
                  <a:cxn ang="0">
                    <a:pos x="83" y="367"/>
                  </a:cxn>
                  <a:cxn ang="0">
                    <a:pos x="70" y="361"/>
                  </a:cxn>
                  <a:cxn ang="0">
                    <a:pos x="48" y="366"/>
                  </a:cxn>
                  <a:cxn ang="0">
                    <a:pos x="48" y="381"/>
                  </a:cxn>
                  <a:cxn ang="0">
                    <a:pos x="32" y="369"/>
                  </a:cxn>
                  <a:cxn ang="0">
                    <a:pos x="32" y="369"/>
                  </a:cxn>
                  <a:cxn ang="0">
                    <a:pos x="15" y="369"/>
                  </a:cxn>
                  <a:cxn ang="0">
                    <a:pos x="15" y="369"/>
                  </a:cxn>
                  <a:cxn ang="0">
                    <a:pos x="10" y="352"/>
                  </a:cxn>
                  <a:cxn ang="0">
                    <a:pos x="4" y="315"/>
                  </a:cxn>
                  <a:cxn ang="0">
                    <a:pos x="4" y="272"/>
                  </a:cxn>
                  <a:cxn ang="0">
                    <a:pos x="8" y="237"/>
                  </a:cxn>
                  <a:cxn ang="0">
                    <a:pos x="6" y="202"/>
                  </a:cxn>
                  <a:cxn ang="0">
                    <a:pos x="7" y="183"/>
                  </a:cxn>
                  <a:cxn ang="0">
                    <a:pos x="13" y="160"/>
                  </a:cxn>
                  <a:cxn ang="0">
                    <a:pos x="14" y="149"/>
                  </a:cxn>
                  <a:cxn ang="0">
                    <a:pos x="13" y="138"/>
                  </a:cxn>
                  <a:cxn ang="0">
                    <a:pos x="17" y="104"/>
                  </a:cxn>
                  <a:cxn ang="0">
                    <a:pos x="24" y="73"/>
                  </a:cxn>
                  <a:cxn ang="0">
                    <a:pos x="32" y="69"/>
                  </a:cxn>
                  <a:cxn ang="0">
                    <a:pos x="44" y="61"/>
                  </a:cxn>
                  <a:cxn ang="0">
                    <a:pos x="62" y="49"/>
                  </a:cxn>
                  <a:cxn ang="0">
                    <a:pos x="81" y="28"/>
                  </a:cxn>
                  <a:cxn ang="0">
                    <a:pos x="102" y="15"/>
                  </a:cxn>
                  <a:cxn ang="0">
                    <a:pos x="116" y="9"/>
                  </a:cxn>
                  <a:cxn ang="0">
                    <a:pos x="138" y="12"/>
                  </a:cxn>
                  <a:cxn ang="0">
                    <a:pos x="138" y="12"/>
                  </a:cxn>
                </a:cxnLst>
                <a:rect l="0" t="0" r="r" b="b"/>
                <a:pathLst>
                  <a:path w="211" h="390">
                    <a:moveTo>
                      <a:pt x="138" y="12"/>
                    </a:moveTo>
                    <a:cubicBezTo>
                      <a:pt x="138" y="21"/>
                      <a:pt x="149" y="19"/>
                      <a:pt x="142" y="32"/>
                    </a:cubicBezTo>
                    <a:cubicBezTo>
                      <a:pt x="142" y="32"/>
                      <a:pt x="134" y="38"/>
                      <a:pt x="146" y="45"/>
                    </a:cubicBezTo>
                    <a:cubicBezTo>
                      <a:pt x="156" y="55"/>
                      <a:pt x="156" y="63"/>
                      <a:pt x="161" y="63"/>
                    </a:cubicBezTo>
                    <a:cubicBezTo>
                      <a:pt x="161" y="63"/>
                      <a:pt x="171" y="78"/>
                      <a:pt x="178" y="68"/>
                    </a:cubicBezTo>
                    <a:cubicBezTo>
                      <a:pt x="178" y="68"/>
                      <a:pt x="182" y="72"/>
                      <a:pt x="182" y="91"/>
                    </a:cubicBezTo>
                    <a:cubicBezTo>
                      <a:pt x="175" y="102"/>
                      <a:pt x="190" y="105"/>
                      <a:pt x="178" y="111"/>
                    </a:cubicBezTo>
                    <a:cubicBezTo>
                      <a:pt x="178" y="111"/>
                      <a:pt x="168" y="110"/>
                      <a:pt x="171" y="128"/>
                    </a:cubicBezTo>
                    <a:cubicBezTo>
                      <a:pt x="171" y="128"/>
                      <a:pt x="171" y="138"/>
                      <a:pt x="183" y="149"/>
                    </a:cubicBezTo>
                    <a:cubicBezTo>
                      <a:pt x="183" y="149"/>
                      <a:pt x="199" y="149"/>
                      <a:pt x="204" y="155"/>
                    </a:cubicBezTo>
                    <a:cubicBezTo>
                      <a:pt x="211" y="162"/>
                      <a:pt x="199" y="166"/>
                      <a:pt x="199" y="166"/>
                    </a:cubicBezTo>
                    <a:cubicBezTo>
                      <a:pt x="188" y="169"/>
                      <a:pt x="199" y="179"/>
                      <a:pt x="199" y="179"/>
                    </a:cubicBezTo>
                    <a:cubicBezTo>
                      <a:pt x="201" y="186"/>
                      <a:pt x="195" y="191"/>
                      <a:pt x="195" y="191"/>
                    </a:cubicBezTo>
                    <a:cubicBezTo>
                      <a:pt x="182" y="204"/>
                      <a:pt x="196" y="217"/>
                      <a:pt x="196" y="217"/>
                    </a:cubicBezTo>
                    <a:cubicBezTo>
                      <a:pt x="205" y="230"/>
                      <a:pt x="203" y="251"/>
                      <a:pt x="203" y="251"/>
                    </a:cubicBezTo>
                    <a:cubicBezTo>
                      <a:pt x="210" y="282"/>
                      <a:pt x="182" y="268"/>
                      <a:pt x="182" y="268"/>
                    </a:cubicBezTo>
                    <a:cubicBezTo>
                      <a:pt x="176" y="259"/>
                      <a:pt x="153" y="267"/>
                      <a:pt x="153" y="274"/>
                    </a:cubicBezTo>
                    <a:cubicBezTo>
                      <a:pt x="156" y="279"/>
                      <a:pt x="141" y="285"/>
                      <a:pt x="142" y="302"/>
                    </a:cubicBezTo>
                    <a:cubicBezTo>
                      <a:pt x="149" y="343"/>
                      <a:pt x="140" y="358"/>
                      <a:pt x="140" y="358"/>
                    </a:cubicBezTo>
                    <a:cubicBezTo>
                      <a:pt x="134" y="364"/>
                      <a:pt x="125" y="360"/>
                      <a:pt x="125" y="360"/>
                    </a:cubicBezTo>
                    <a:cubicBezTo>
                      <a:pt x="112" y="370"/>
                      <a:pt x="98" y="368"/>
                      <a:pt x="98" y="368"/>
                    </a:cubicBezTo>
                    <a:cubicBezTo>
                      <a:pt x="93" y="361"/>
                      <a:pt x="83" y="367"/>
                      <a:pt x="83" y="367"/>
                    </a:cubicBezTo>
                    <a:cubicBezTo>
                      <a:pt x="73" y="375"/>
                      <a:pt x="70" y="361"/>
                      <a:pt x="70" y="361"/>
                    </a:cubicBezTo>
                    <a:cubicBezTo>
                      <a:pt x="57" y="361"/>
                      <a:pt x="48" y="366"/>
                      <a:pt x="48" y="366"/>
                    </a:cubicBezTo>
                    <a:cubicBezTo>
                      <a:pt x="56" y="374"/>
                      <a:pt x="48" y="381"/>
                      <a:pt x="48" y="381"/>
                    </a:cubicBezTo>
                    <a:cubicBezTo>
                      <a:pt x="36" y="390"/>
                      <a:pt x="32" y="369"/>
                      <a:pt x="32" y="369"/>
                    </a:cubicBezTo>
                    <a:cubicBezTo>
                      <a:pt x="32" y="369"/>
                      <a:pt x="32" y="369"/>
                      <a:pt x="32" y="369"/>
                    </a:cubicBezTo>
                    <a:cubicBezTo>
                      <a:pt x="15" y="369"/>
                      <a:pt x="15" y="369"/>
                      <a:pt x="15" y="369"/>
                    </a:cubicBezTo>
                    <a:cubicBezTo>
                      <a:pt x="15" y="369"/>
                      <a:pt x="15" y="369"/>
                      <a:pt x="15" y="369"/>
                    </a:cubicBezTo>
                    <a:cubicBezTo>
                      <a:pt x="17" y="358"/>
                      <a:pt x="10" y="352"/>
                      <a:pt x="10" y="352"/>
                    </a:cubicBezTo>
                    <a:cubicBezTo>
                      <a:pt x="1" y="343"/>
                      <a:pt x="4" y="315"/>
                      <a:pt x="4" y="315"/>
                    </a:cubicBezTo>
                    <a:cubicBezTo>
                      <a:pt x="0" y="298"/>
                      <a:pt x="4" y="272"/>
                      <a:pt x="4" y="272"/>
                    </a:cubicBezTo>
                    <a:cubicBezTo>
                      <a:pt x="10" y="265"/>
                      <a:pt x="1" y="250"/>
                      <a:pt x="8" y="237"/>
                    </a:cubicBezTo>
                    <a:cubicBezTo>
                      <a:pt x="14" y="219"/>
                      <a:pt x="6" y="202"/>
                      <a:pt x="6" y="202"/>
                    </a:cubicBezTo>
                    <a:cubicBezTo>
                      <a:pt x="1" y="188"/>
                      <a:pt x="7" y="183"/>
                      <a:pt x="7" y="183"/>
                    </a:cubicBezTo>
                    <a:cubicBezTo>
                      <a:pt x="7" y="183"/>
                      <a:pt x="13" y="177"/>
                      <a:pt x="13" y="160"/>
                    </a:cubicBezTo>
                    <a:cubicBezTo>
                      <a:pt x="10" y="158"/>
                      <a:pt x="14" y="149"/>
                      <a:pt x="14" y="149"/>
                    </a:cubicBezTo>
                    <a:cubicBezTo>
                      <a:pt x="19" y="142"/>
                      <a:pt x="13" y="138"/>
                      <a:pt x="13" y="138"/>
                    </a:cubicBezTo>
                    <a:cubicBezTo>
                      <a:pt x="3" y="114"/>
                      <a:pt x="17" y="104"/>
                      <a:pt x="17" y="104"/>
                    </a:cubicBezTo>
                    <a:cubicBezTo>
                      <a:pt x="17" y="81"/>
                      <a:pt x="25" y="91"/>
                      <a:pt x="24" y="73"/>
                    </a:cubicBezTo>
                    <a:cubicBezTo>
                      <a:pt x="29" y="73"/>
                      <a:pt x="32" y="69"/>
                      <a:pt x="32" y="69"/>
                    </a:cubicBezTo>
                    <a:cubicBezTo>
                      <a:pt x="39" y="52"/>
                      <a:pt x="44" y="61"/>
                      <a:pt x="44" y="61"/>
                    </a:cubicBezTo>
                    <a:cubicBezTo>
                      <a:pt x="52" y="63"/>
                      <a:pt x="62" y="49"/>
                      <a:pt x="62" y="49"/>
                    </a:cubicBezTo>
                    <a:cubicBezTo>
                      <a:pt x="79" y="38"/>
                      <a:pt x="81" y="28"/>
                      <a:pt x="81" y="28"/>
                    </a:cubicBezTo>
                    <a:cubicBezTo>
                      <a:pt x="91" y="13"/>
                      <a:pt x="102" y="15"/>
                      <a:pt x="102" y="15"/>
                    </a:cubicBezTo>
                    <a:cubicBezTo>
                      <a:pt x="112" y="16"/>
                      <a:pt x="116" y="9"/>
                      <a:pt x="116" y="9"/>
                    </a:cubicBezTo>
                    <a:cubicBezTo>
                      <a:pt x="124" y="0"/>
                      <a:pt x="129" y="14"/>
                      <a:pt x="138" y="12"/>
                    </a:cubicBezTo>
                    <a:cubicBezTo>
                      <a:pt x="138" y="12"/>
                      <a:pt x="138" y="12"/>
                      <a:pt x="138" y="12"/>
                    </a:cubicBezTo>
                    <a:close/>
                  </a:path>
                </a:pathLst>
              </a:custGeom>
              <a:solidFill>
                <a:srgbClr val="EEBB0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35" name="Freeform 52"/>
              <p:cNvSpPr>
                <a:spLocks/>
              </p:cNvSpPr>
              <p:nvPr/>
            </p:nvSpPr>
            <p:spPr bwMode="auto">
              <a:xfrm>
                <a:off x="1244216" y="3797019"/>
                <a:ext cx="923095" cy="416123"/>
              </a:xfrm>
              <a:custGeom>
                <a:avLst/>
                <a:gdLst/>
                <a:ahLst/>
                <a:cxnLst>
                  <a:cxn ang="0">
                    <a:pos x="307" y="25"/>
                  </a:cxn>
                  <a:cxn ang="0">
                    <a:pos x="319" y="40"/>
                  </a:cxn>
                  <a:cxn ang="0">
                    <a:pos x="313" y="62"/>
                  </a:cxn>
                  <a:cxn ang="0">
                    <a:pos x="295" y="60"/>
                  </a:cxn>
                  <a:cxn ang="0">
                    <a:pos x="277" y="64"/>
                  </a:cxn>
                  <a:cxn ang="0">
                    <a:pos x="251" y="65"/>
                  </a:cxn>
                  <a:cxn ang="0">
                    <a:pos x="236" y="69"/>
                  </a:cxn>
                  <a:cxn ang="0">
                    <a:pos x="227" y="76"/>
                  </a:cxn>
                  <a:cxn ang="0">
                    <a:pos x="216" y="85"/>
                  </a:cxn>
                  <a:cxn ang="0">
                    <a:pos x="209" y="87"/>
                  </a:cxn>
                  <a:cxn ang="0">
                    <a:pos x="179" y="94"/>
                  </a:cxn>
                  <a:cxn ang="0">
                    <a:pos x="170" y="113"/>
                  </a:cxn>
                  <a:cxn ang="0">
                    <a:pos x="131" y="130"/>
                  </a:cxn>
                  <a:cxn ang="0">
                    <a:pos x="131" y="130"/>
                  </a:cxn>
                  <a:cxn ang="0">
                    <a:pos x="76" y="134"/>
                  </a:cxn>
                  <a:cxn ang="0">
                    <a:pos x="76" y="134"/>
                  </a:cxn>
                  <a:cxn ang="0">
                    <a:pos x="35" y="150"/>
                  </a:cxn>
                  <a:cxn ang="0">
                    <a:pos x="0" y="166"/>
                  </a:cxn>
                  <a:cxn ang="0">
                    <a:pos x="5" y="137"/>
                  </a:cxn>
                  <a:cxn ang="0">
                    <a:pos x="13" y="99"/>
                  </a:cxn>
                  <a:cxn ang="0">
                    <a:pos x="34" y="80"/>
                  </a:cxn>
                  <a:cxn ang="0">
                    <a:pos x="41" y="75"/>
                  </a:cxn>
                  <a:cxn ang="0">
                    <a:pos x="77" y="52"/>
                  </a:cxn>
                  <a:cxn ang="0">
                    <a:pos x="93" y="40"/>
                  </a:cxn>
                  <a:cxn ang="0">
                    <a:pos x="93" y="24"/>
                  </a:cxn>
                  <a:cxn ang="0">
                    <a:pos x="98" y="3"/>
                  </a:cxn>
                  <a:cxn ang="0">
                    <a:pos x="107" y="8"/>
                  </a:cxn>
                  <a:cxn ang="0">
                    <a:pos x="117" y="10"/>
                  </a:cxn>
                  <a:cxn ang="0">
                    <a:pos x="129" y="18"/>
                  </a:cxn>
                  <a:cxn ang="0">
                    <a:pos x="137" y="20"/>
                  </a:cxn>
                  <a:cxn ang="0">
                    <a:pos x="154" y="25"/>
                  </a:cxn>
                  <a:cxn ang="0">
                    <a:pos x="168" y="34"/>
                  </a:cxn>
                  <a:cxn ang="0">
                    <a:pos x="183" y="36"/>
                  </a:cxn>
                  <a:cxn ang="0">
                    <a:pos x="183" y="36"/>
                  </a:cxn>
                  <a:cxn ang="0">
                    <a:pos x="200" y="36"/>
                  </a:cxn>
                  <a:cxn ang="0">
                    <a:pos x="200" y="36"/>
                  </a:cxn>
                  <a:cxn ang="0">
                    <a:pos x="216" y="48"/>
                  </a:cxn>
                  <a:cxn ang="0">
                    <a:pos x="216" y="33"/>
                  </a:cxn>
                  <a:cxn ang="0">
                    <a:pos x="238" y="28"/>
                  </a:cxn>
                  <a:cxn ang="0">
                    <a:pos x="251" y="34"/>
                  </a:cxn>
                  <a:cxn ang="0">
                    <a:pos x="266" y="35"/>
                  </a:cxn>
                  <a:cxn ang="0">
                    <a:pos x="293" y="27"/>
                  </a:cxn>
                  <a:cxn ang="0">
                    <a:pos x="307" y="25"/>
                  </a:cxn>
                  <a:cxn ang="0">
                    <a:pos x="307" y="25"/>
                  </a:cxn>
                </a:cxnLst>
                <a:rect l="0" t="0" r="r" b="b"/>
                <a:pathLst>
                  <a:path w="326" h="166">
                    <a:moveTo>
                      <a:pt x="307" y="25"/>
                    </a:moveTo>
                    <a:cubicBezTo>
                      <a:pt x="307" y="25"/>
                      <a:pt x="321" y="19"/>
                      <a:pt x="319" y="40"/>
                    </a:cubicBezTo>
                    <a:cubicBezTo>
                      <a:pt x="319" y="40"/>
                      <a:pt x="326" y="48"/>
                      <a:pt x="313" y="62"/>
                    </a:cubicBezTo>
                    <a:cubicBezTo>
                      <a:pt x="313" y="62"/>
                      <a:pt x="310" y="51"/>
                      <a:pt x="295" y="60"/>
                    </a:cubicBezTo>
                    <a:cubicBezTo>
                      <a:pt x="295" y="60"/>
                      <a:pt x="289" y="74"/>
                      <a:pt x="277" y="64"/>
                    </a:cubicBezTo>
                    <a:cubicBezTo>
                      <a:pt x="266" y="54"/>
                      <a:pt x="255" y="73"/>
                      <a:pt x="251" y="65"/>
                    </a:cubicBezTo>
                    <a:cubicBezTo>
                      <a:pt x="251" y="65"/>
                      <a:pt x="236" y="56"/>
                      <a:pt x="236" y="69"/>
                    </a:cubicBezTo>
                    <a:cubicBezTo>
                      <a:pt x="236" y="69"/>
                      <a:pt x="233" y="80"/>
                      <a:pt x="227" y="76"/>
                    </a:cubicBezTo>
                    <a:cubicBezTo>
                      <a:pt x="227" y="76"/>
                      <a:pt x="225" y="64"/>
                      <a:pt x="216" y="85"/>
                    </a:cubicBezTo>
                    <a:cubicBezTo>
                      <a:pt x="216" y="85"/>
                      <a:pt x="217" y="81"/>
                      <a:pt x="209" y="87"/>
                    </a:cubicBezTo>
                    <a:cubicBezTo>
                      <a:pt x="209" y="87"/>
                      <a:pt x="194" y="87"/>
                      <a:pt x="179" y="94"/>
                    </a:cubicBezTo>
                    <a:cubicBezTo>
                      <a:pt x="179" y="94"/>
                      <a:pt x="178" y="102"/>
                      <a:pt x="170" y="113"/>
                    </a:cubicBezTo>
                    <a:cubicBezTo>
                      <a:pt x="157" y="133"/>
                      <a:pt x="156" y="128"/>
                      <a:pt x="131" y="130"/>
                    </a:cubicBezTo>
                    <a:cubicBezTo>
                      <a:pt x="131" y="130"/>
                      <a:pt x="131" y="130"/>
                      <a:pt x="131" y="130"/>
                    </a:cubicBezTo>
                    <a:cubicBezTo>
                      <a:pt x="76" y="134"/>
                      <a:pt x="76" y="134"/>
                      <a:pt x="76" y="134"/>
                    </a:cubicBezTo>
                    <a:cubicBezTo>
                      <a:pt x="76" y="134"/>
                      <a:pt x="76" y="134"/>
                      <a:pt x="76" y="134"/>
                    </a:cubicBezTo>
                    <a:cubicBezTo>
                      <a:pt x="76" y="134"/>
                      <a:pt x="46" y="124"/>
                      <a:pt x="35" y="150"/>
                    </a:cubicBezTo>
                    <a:cubicBezTo>
                      <a:pt x="35" y="150"/>
                      <a:pt x="27" y="164"/>
                      <a:pt x="0" y="166"/>
                    </a:cubicBezTo>
                    <a:cubicBezTo>
                      <a:pt x="14" y="146"/>
                      <a:pt x="5" y="137"/>
                      <a:pt x="5" y="137"/>
                    </a:cubicBezTo>
                    <a:cubicBezTo>
                      <a:pt x="0" y="117"/>
                      <a:pt x="13" y="99"/>
                      <a:pt x="13" y="99"/>
                    </a:cubicBezTo>
                    <a:cubicBezTo>
                      <a:pt x="29" y="95"/>
                      <a:pt x="34" y="80"/>
                      <a:pt x="34" y="80"/>
                    </a:cubicBezTo>
                    <a:cubicBezTo>
                      <a:pt x="38" y="82"/>
                      <a:pt x="41" y="75"/>
                      <a:pt x="41" y="75"/>
                    </a:cubicBezTo>
                    <a:cubicBezTo>
                      <a:pt x="60" y="48"/>
                      <a:pt x="77" y="52"/>
                      <a:pt x="77" y="52"/>
                    </a:cubicBezTo>
                    <a:cubicBezTo>
                      <a:pt x="95" y="55"/>
                      <a:pt x="93" y="40"/>
                      <a:pt x="93" y="40"/>
                    </a:cubicBezTo>
                    <a:cubicBezTo>
                      <a:pt x="97" y="29"/>
                      <a:pt x="93" y="24"/>
                      <a:pt x="93" y="24"/>
                    </a:cubicBezTo>
                    <a:cubicBezTo>
                      <a:pt x="86" y="7"/>
                      <a:pt x="98" y="3"/>
                      <a:pt x="98" y="3"/>
                    </a:cubicBezTo>
                    <a:cubicBezTo>
                      <a:pt x="98" y="3"/>
                      <a:pt x="107" y="2"/>
                      <a:pt x="107" y="8"/>
                    </a:cubicBezTo>
                    <a:cubicBezTo>
                      <a:pt x="107" y="8"/>
                      <a:pt x="110" y="18"/>
                      <a:pt x="117" y="10"/>
                    </a:cubicBezTo>
                    <a:cubicBezTo>
                      <a:pt x="117" y="10"/>
                      <a:pt x="125" y="0"/>
                      <a:pt x="129" y="18"/>
                    </a:cubicBezTo>
                    <a:cubicBezTo>
                      <a:pt x="129" y="18"/>
                      <a:pt x="123" y="35"/>
                      <a:pt x="137" y="20"/>
                    </a:cubicBezTo>
                    <a:cubicBezTo>
                      <a:pt x="137" y="20"/>
                      <a:pt x="151" y="7"/>
                      <a:pt x="154" y="25"/>
                    </a:cubicBezTo>
                    <a:cubicBezTo>
                      <a:pt x="154" y="25"/>
                      <a:pt x="158" y="36"/>
                      <a:pt x="168" y="34"/>
                    </a:cubicBezTo>
                    <a:cubicBezTo>
                      <a:pt x="168" y="34"/>
                      <a:pt x="177" y="32"/>
                      <a:pt x="183" y="36"/>
                    </a:cubicBezTo>
                    <a:cubicBezTo>
                      <a:pt x="183" y="36"/>
                      <a:pt x="183" y="36"/>
                      <a:pt x="183" y="36"/>
                    </a:cubicBezTo>
                    <a:cubicBezTo>
                      <a:pt x="200" y="36"/>
                      <a:pt x="200" y="36"/>
                      <a:pt x="200" y="36"/>
                    </a:cubicBezTo>
                    <a:cubicBezTo>
                      <a:pt x="200" y="36"/>
                      <a:pt x="200" y="36"/>
                      <a:pt x="200" y="36"/>
                    </a:cubicBezTo>
                    <a:cubicBezTo>
                      <a:pt x="200" y="36"/>
                      <a:pt x="204" y="57"/>
                      <a:pt x="216" y="48"/>
                    </a:cubicBezTo>
                    <a:cubicBezTo>
                      <a:pt x="216" y="48"/>
                      <a:pt x="224" y="41"/>
                      <a:pt x="216" y="33"/>
                    </a:cubicBezTo>
                    <a:cubicBezTo>
                      <a:pt x="216" y="33"/>
                      <a:pt x="225" y="28"/>
                      <a:pt x="238" y="28"/>
                    </a:cubicBezTo>
                    <a:cubicBezTo>
                      <a:pt x="238" y="28"/>
                      <a:pt x="241" y="42"/>
                      <a:pt x="251" y="34"/>
                    </a:cubicBezTo>
                    <a:cubicBezTo>
                      <a:pt x="251" y="34"/>
                      <a:pt x="261" y="28"/>
                      <a:pt x="266" y="35"/>
                    </a:cubicBezTo>
                    <a:cubicBezTo>
                      <a:pt x="266" y="35"/>
                      <a:pt x="280" y="37"/>
                      <a:pt x="293" y="27"/>
                    </a:cubicBezTo>
                    <a:cubicBezTo>
                      <a:pt x="293" y="27"/>
                      <a:pt x="302" y="32"/>
                      <a:pt x="307" y="25"/>
                    </a:cubicBezTo>
                    <a:cubicBezTo>
                      <a:pt x="307" y="25"/>
                      <a:pt x="307" y="25"/>
                      <a:pt x="307" y="25"/>
                    </a:cubicBezTo>
                    <a:close/>
                  </a:path>
                </a:pathLst>
              </a:custGeom>
              <a:solidFill>
                <a:srgbClr val="EEBB0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36" name="Freeform 112"/>
              <p:cNvSpPr>
                <a:spLocks/>
              </p:cNvSpPr>
              <p:nvPr/>
            </p:nvSpPr>
            <p:spPr bwMode="auto">
              <a:xfrm>
                <a:off x="2114863" y="3304006"/>
                <a:ext cx="907362" cy="854859"/>
              </a:xfrm>
              <a:custGeom>
                <a:avLst/>
                <a:gdLst/>
                <a:ahLst/>
                <a:cxnLst>
                  <a:cxn ang="0">
                    <a:pos x="288" y="311"/>
                  </a:cxn>
                  <a:cxn ang="0">
                    <a:pos x="274" y="322"/>
                  </a:cxn>
                  <a:cxn ang="0">
                    <a:pos x="253" y="330"/>
                  </a:cxn>
                  <a:cxn ang="0">
                    <a:pos x="235" y="329"/>
                  </a:cxn>
                  <a:cxn ang="0">
                    <a:pos x="207" y="323"/>
                  </a:cxn>
                  <a:cxn ang="0">
                    <a:pos x="196" y="325"/>
                  </a:cxn>
                  <a:cxn ang="0">
                    <a:pos x="180" y="342"/>
                  </a:cxn>
                  <a:cxn ang="0">
                    <a:pos x="157" y="315"/>
                  </a:cxn>
                  <a:cxn ang="0">
                    <a:pos x="130" y="318"/>
                  </a:cxn>
                  <a:cxn ang="0">
                    <a:pos x="123" y="322"/>
                  </a:cxn>
                  <a:cxn ang="0">
                    <a:pos x="124" y="312"/>
                  </a:cxn>
                  <a:cxn ang="0">
                    <a:pos x="111" y="315"/>
                  </a:cxn>
                  <a:cxn ang="0">
                    <a:pos x="118" y="304"/>
                  </a:cxn>
                  <a:cxn ang="0">
                    <a:pos x="111" y="296"/>
                  </a:cxn>
                  <a:cxn ang="0">
                    <a:pos x="100" y="297"/>
                  </a:cxn>
                  <a:cxn ang="0">
                    <a:pos x="84" y="294"/>
                  </a:cxn>
                  <a:cxn ang="0">
                    <a:pos x="76" y="280"/>
                  </a:cxn>
                  <a:cxn ang="0">
                    <a:pos x="52" y="261"/>
                  </a:cxn>
                  <a:cxn ang="0">
                    <a:pos x="31" y="256"/>
                  </a:cxn>
                  <a:cxn ang="0">
                    <a:pos x="5" y="260"/>
                  </a:cxn>
                  <a:cxn ang="0">
                    <a:pos x="11" y="238"/>
                  </a:cxn>
                  <a:cxn ang="0">
                    <a:pos x="0" y="223"/>
                  </a:cxn>
                  <a:cxn ang="0">
                    <a:pos x="2" y="167"/>
                  </a:cxn>
                  <a:cxn ang="0">
                    <a:pos x="13" y="139"/>
                  </a:cxn>
                  <a:cxn ang="0">
                    <a:pos x="42" y="133"/>
                  </a:cxn>
                  <a:cxn ang="0">
                    <a:pos x="63" y="116"/>
                  </a:cxn>
                  <a:cxn ang="0">
                    <a:pos x="56" y="82"/>
                  </a:cxn>
                  <a:cxn ang="0">
                    <a:pos x="55" y="56"/>
                  </a:cxn>
                  <a:cxn ang="0">
                    <a:pos x="59" y="44"/>
                  </a:cxn>
                  <a:cxn ang="0">
                    <a:pos x="59" y="31"/>
                  </a:cxn>
                  <a:cxn ang="0">
                    <a:pos x="64" y="20"/>
                  </a:cxn>
                  <a:cxn ang="0">
                    <a:pos x="101" y="21"/>
                  </a:cxn>
                  <a:cxn ang="0">
                    <a:pos x="129" y="20"/>
                  </a:cxn>
                  <a:cxn ang="0">
                    <a:pos x="146" y="18"/>
                  </a:cxn>
                  <a:cxn ang="0">
                    <a:pos x="168" y="17"/>
                  </a:cxn>
                  <a:cxn ang="0">
                    <a:pos x="179" y="7"/>
                  </a:cxn>
                  <a:cxn ang="0">
                    <a:pos x="196" y="22"/>
                  </a:cxn>
                  <a:cxn ang="0">
                    <a:pos x="196" y="39"/>
                  </a:cxn>
                  <a:cxn ang="0">
                    <a:pos x="200" y="58"/>
                  </a:cxn>
                  <a:cxn ang="0">
                    <a:pos x="229" y="56"/>
                  </a:cxn>
                  <a:cxn ang="0">
                    <a:pos x="253" y="46"/>
                  </a:cxn>
                  <a:cxn ang="0">
                    <a:pos x="259" y="66"/>
                  </a:cxn>
                  <a:cxn ang="0">
                    <a:pos x="261" y="95"/>
                  </a:cxn>
                  <a:cxn ang="0">
                    <a:pos x="258" y="109"/>
                  </a:cxn>
                  <a:cxn ang="0">
                    <a:pos x="278" y="127"/>
                  </a:cxn>
                  <a:cxn ang="0">
                    <a:pos x="273" y="153"/>
                  </a:cxn>
                  <a:cxn ang="0">
                    <a:pos x="274" y="164"/>
                  </a:cxn>
                  <a:cxn ang="0">
                    <a:pos x="279" y="181"/>
                  </a:cxn>
                  <a:cxn ang="0">
                    <a:pos x="281" y="193"/>
                  </a:cxn>
                  <a:cxn ang="0">
                    <a:pos x="291" y="205"/>
                  </a:cxn>
                  <a:cxn ang="0">
                    <a:pos x="302" y="226"/>
                  </a:cxn>
                  <a:cxn ang="0">
                    <a:pos x="309" y="241"/>
                  </a:cxn>
                  <a:cxn ang="0">
                    <a:pos x="314" y="258"/>
                  </a:cxn>
                  <a:cxn ang="0">
                    <a:pos x="317" y="270"/>
                  </a:cxn>
                  <a:cxn ang="0">
                    <a:pos x="299" y="273"/>
                  </a:cxn>
                  <a:cxn ang="0">
                    <a:pos x="286" y="283"/>
                  </a:cxn>
                  <a:cxn ang="0">
                    <a:pos x="288" y="311"/>
                  </a:cxn>
                  <a:cxn ang="0">
                    <a:pos x="288" y="311"/>
                  </a:cxn>
                </a:cxnLst>
                <a:rect l="0" t="0" r="r" b="b"/>
                <a:pathLst>
                  <a:path w="320" h="342">
                    <a:moveTo>
                      <a:pt x="288" y="311"/>
                    </a:moveTo>
                    <a:cubicBezTo>
                      <a:pt x="288" y="311"/>
                      <a:pt x="272" y="311"/>
                      <a:pt x="274" y="322"/>
                    </a:cubicBezTo>
                    <a:cubicBezTo>
                      <a:pt x="274" y="322"/>
                      <a:pt x="274" y="333"/>
                      <a:pt x="253" y="330"/>
                    </a:cubicBezTo>
                    <a:cubicBezTo>
                      <a:pt x="253" y="330"/>
                      <a:pt x="246" y="319"/>
                      <a:pt x="235" y="329"/>
                    </a:cubicBezTo>
                    <a:cubicBezTo>
                      <a:pt x="235" y="329"/>
                      <a:pt x="217" y="333"/>
                      <a:pt x="207" y="323"/>
                    </a:cubicBezTo>
                    <a:cubicBezTo>
                      <a:pt x="207" y="323"/>
                      <a:pt x="199" y="306"/>
                      <a:pt x="196" y="325"/>
                    </a:cubicBezTo>
                    <a:cubicBezTo>
                      <a:pt x="196" y="325"/>
                      <a:pt x="192" y="339"/>
                      <a:pt x="180" y="342"/>
                    </a:cubicBezTo>
                    <a:cubicBezTo>
                      <a:pt x="170" y="339"/>
                      <a:pt x="176" y="314"/>
                      <a:pt x="157" y="315"/>
                    </a:cubicBezTo>
                    <a:cubicBezTo>
                      <a:pt x="157" y="315"/>
                      <a:pt x="137" y="306"/>
                      <a:pt x="130" y="318"/>
                    </a:cubicBezTo>
                    <a:cubicBezTo>
                      <a:pt x="130" y="318"/>
                      <a:pt x="133" y="330"/>
                      <a:pt x="123" y="322"/>
                    </a:cubicBezTo>
                    <a:cubicBezTo>
                      <a:pt x="123" y="322"/>
                      <a:pt x="127" y="315"/>
                      <a:pt x="124" y="312"/>
                    </a:cubicBezTo>
                    <a:cubicBezTo>
                      <a:pt x="124" y="312"/>
                      <a:pt x="118" y="310"/>
                      <a:pt x="111" y="315"/>
                    </a:cubicBezTo>
                    <a:cubicBezTo>
                      <a:pt x="111" y="315"/>
                      <a:pt x="117" y="311"/>
                      <a:pt x="118" y="304"/>
                    </a:cubicBezTo>
                    <a:cubicBezTo>
                      <a:pt x="118" y="304"/>
                      <a:pt x="121" y="292"/>
                      <a:pt x="111" y="296"/>
                    </a:cubicBezTo>
                    <a:cubicBezTo>
                      <a:pt x="111" y="296"/>
                      <a:pt x="103" y="293"/>
                      <a:pt x="100" y="297"/>
                    </a:cubicBezTo>
                    <a:cubicBezTo>
                      <a:pt x="100" y="297"/>
                      <a:pt x="94" y="286"/>
                      <a:pt x="84" y="294"/>
                    </a:cubicBezTo>
                    <a:cubicBezTo>
                      <a:pt x="84" y="294"/>
                      <a:pt x="86" y="278"/>
                      <a:pt x="76" y="280"/>
                    </a:cubicBezTo>
                    <a:cubicBezTo>
                      <a:pt x="60" y="280"/>
                      <a:pt x="59" y="262"/>
                      <a:pt x="52" y="261"/>
                    </a:cubicBezTo>
                    <a:cubicBezTo>
                      <a:pt x="52" y="261"/>
                      <a:pt x="48" y="250"/>
                      <a:pt x="31" y="256"/>
                    </a:cubicBezTo>
                    <a:cubicBezTo>
                      <a:pt x="24" y="249"/>
                      <a:pt x="30" y="263"/>
                      <a:pt x="5" y="260"/>
                    </a:cubicBezTo>
                    <a:cubicBezTo>
                      <a:pt x="18" y="246"/>
                      <a:pt x="11" y="238"/>
                      <a:pt x="11" y="238"/>
                    </a:cubicBezTo>
                    <a:cubicBezTo>
                      <a:pt x="13" y="217"/>
                      <a:pt x="0" y="223"/>
                      <a:pt x="0" y="223"/>
                    </a:cubicBezTo>
                    <a:cubicBezTo>
                      <a:pt x="0" y="223"/>
                      <a:pt x="9" y="208"/>
                      <a:pt x="2" y="167"/>
                    </a:cubicBezTo>
                    <a:cubicBezTo>
                      <a:pt x="1" y="150"/>
                      <a:pt x="16" y="144"/>
                      <a:pt x="13" y="139"/>
                    </a:cubicBezTo>
                    <a:cubicBezTo>
                      <a:pt x="13" y="132"/>
                      <a:pt x="36" y="124"/>
                      <a:pt x="42" y="133"/>
                    </a:cubicBezTo>
                    <a:cubicBezTo>
                      <a:pt x="42" y="133"/>
                      <a:pt x="70" y="147"/>
                      <a:pt x="63" y="116"/>
                    </a:cubicBezTo>
                    <a:cubicBezTo>
                      <a:pt x="63" y="116"/>
                      <a:pt x="65" y="95"/>
                      <a:pt x="56" y="82"/>
                    </a:cubicBezTo>
                    <a:cubicBezTo>
                      <a:pt x="56" y="82"/>
                      <a:pt x="42" y="69"/>
                      <a:pt x="55" y="56"/>
                    </a:cubicBezTo>
                    <a:cubicBezTo>
                      <a:pt x="55" y="56"/>
                      <a:pt x="61" y="51"/>
                      <a:pt x="59" y="44"/>
                    </a:cubicBezTo>
                    <a:cubicBezTo>
                      <a:pt x="59" y="44"/>
                      <a:pt x="48" y="34"/>
                      <a:pt x="59" y="31"/>
                    </a:cubicBezTo>
                    <a:cubicBezTo>
                      <a:pt x="59" y="31"/>
                      <a:pt x="71" y="27"/>
                      <a:pt x="64" y="20"/>
                    </a:cubicBezTo>
                    <a:cubicBezTo>
                      <a:pt x="82" y="15"/>
                      <a:pt x="90" y="27"/>
                      <a:pt x="101" y="21"/>
                    </a:cubicBezTo>
                    <a:cubicBezTo>
                      <a:pt x="122" y="14"/>
                      <a:pt x="126" y="27"/>
                      <a:pt x="129" y="20"/>
                    </a:cubicBezTo>
                    <a:cubicBezTo>
                      <a:pt x="134" y="11"/>
                      <a:pt x="146" y="18"/>
                      <a:pt x="146" y="18"/>
                    </a:cubicBezTo>
                    <a:cubicBezTo>
                      <a:pt x="146" y="18"/>
                      <a:pt x="157" y="22"/>
                      <a:pt x="168" y="17"/>
                    </a:cubicBezTo>
                    <a:cubicBezTo>
                      <a:pt x="167" y="6"/>
                      <a:pt x="172" y="7"/>
                      <a:pt x="179" y="7"/>
                    </a:cubicBezTo>
                    <a:cubicBezTo>
                      <a:pt x="199" y="0"/>
                      <a:pt x="188" y="21"/>
                      <a:pt x="196" y="22"/>
                    </a:cubicBezTo>
                    <a:cubicBezTo>
                      <a:pt x="196" y="22"/>
                      <a:pt x="202" y="34"/>
                      <a:pt x="196" y="39"/>
                    </a:cubicBezTo>
                    <a:cubicBezTo>
                      <a:pt x="196" y="39"/>
                      <a:pt x="189" y="51"/>
                      <a:pt x="200" y="58"/>
                    </a:cubicBezTo>
                    <a:cubicBezTo>
                      <a:pt x="200" y="58"/>
                      <a:pt x="225" y="62"/>
                      <a:pt x="229" y="56"/>
                    </a:cubicBezTo>
                    <a:cubicBezTo>
                      <a:pt x="234" y="46"/>
                      <a:pt x="244" y="54"/>
                      <a:pt x="253" y="46"/>
                    </a:cubicBezTo>
                    <a:cubicBezTo>
                      <a:pt x="263" y="46"/>
                      <a:pt x="254" y="62"/>
                      <a:pt x="259" y="66"/>
                    </a:cubicBezTo>
                    <a:cubicBezTo>
                      <a:pt x="259" y="66"/>
                      <a:pt x="268" y="80"/>
                      <a:pt x="261" y="95"/>
                    </a:cubicBezTo>
                    <a:cubicBezTo>
                      <a:pt x="261" y="95"/>
                      <a:pt x="252" y="98"/>
                      <a:pt x="258" y="109"/>
                    </a:cubicBezTo>
                    <a:cubicBezTo>
                      <a:pt x="258" y="109"/>
                      <a:pt x="269" y="109"/>
                      <a:pt x="278" y="127"/>
                    </a:cubicBezTo>
                    <a:cubicBezTo>
                      <a:pt x="278" y="127"/>
                      <a:pt x="284" y="139"/>
                      <a:pt x="273" y="153"/>
                    </a:cubicBezTo>
                    <a:cubicBezTo>
                      <a:pt x="269" y="151"/>
                      <a:pt x="258" y="164"/>
                      <a:pt x="274" y="164"/>
                    </a:cubicBezTo>
                    <a:cubicBezTo>
                      <a:pt x="274" y="164"/>
                      <a:pt x="268" y="179"/>
                      <a:pt x="279" y="181"/>
                    </a:cubicBezTo>
                    <a:cubicBezTo>
                      <a:pt x="279" y="181"/>
                      <a:pt x="275" y="192"/>
                      <a:pt x="281" y="193"/>
                    </a:cubicBezTo>
                    <a:cubicBezTo>
                      <a:pt x="289" y="190"/>
                      <a:pt x="279" y="203"/>
                      <a:pt x="291" y="205"/>
                    </a:cubicBezTo>
                    <a:cubicBezTo>
                      <a:pt x="303" y="214"/>
                      <a:pt x="293" y="223"/>
                      <a:pt x="302" y="226"/>
                    </a:cubicBezTo>
                    <a:cubicBezTo>
                      <a:pt x="316" y="225"/>
                      <a:pt x="304" y="240"/>
                      <a:pt x="309" y="241"/>
                    </a:cubicBezTo>
                    <a:cubicBezTo>
                      <a:pt x="309" y="241"/>
                      <a:pt x="320" y="243"/>
                      <a:pt x="314" y="258"/>
                    </a:cubicBezTo>
                    <a:cubicBezTo>
                      <a:pt x="314" y="258"/>
                      <a:pt x="301" y="265"/>
                      <a:pt x="317" y="270"/>
                    </a:cubicBezTo>
                    <a:cubicBezTo>
                      <a:pt x="317" y="270"/>
                      <a:pt x="307" y="286"/>
                      <a:pt x="299" y="273"/>
                    </a:cubicBezTo>
                    <a:cubicBezTo>
                      <a:pt x="299" y="273"/>
                      <a:pt x="292" y="267"/>
                      <a:pt x="286" y="283"/>
                    </a:cubicBezTo>
                    <a:cubicBezTo>
                      <a:pt x="286" y="283"/>
                      <a:pt x="276" y="298"/>
                      <a:pt x="288" y="311"/>
                    </a:cubicBezTo>
                    <a:cubicBezTo>
                      <a:pt x="288" y="311"/>
                      <a:pt x="288" y="311"/>
                      <a:pt x="288" y="311"/>
                    </a:cubicBezTo>
                    <a:close/>
                  </a:path>
                </a:pathLst>
              </a:custGeom>
              <a:solidFill>
                <a:srgbClr val="EEBB0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37" name="Freeform 50"/>
              <p:cNvSpPr>
                <a:spLocks/>
              </p:cNvSpPr>
              <p:nvPr/>
            </p:nvSpPr>
            <p:spPr bwMode="auto">
              <a:xfrm>
                <a:off x="2088640" y="2489853"/>
                <a:ext cx="844420" cy="967938"/>
              </a:xfrm>
              <a:custGeom>
                <a:avLst/>
                <a:gdLst/>
                <a:ahLst/>
                <a:cxnLst>
                  <a:cxn ang="0">
                    <a:pos x="85" y="18"/>
                  </a:cxn>
                  <a:cxn ang="0">
                    <a:pos x="125" y="13"/>
                  </a:cxn>
                  <a:cxn ang="0">
                    <a:pos x="143" y="19"/>
                  </a:cxn>
                  <a:cxn ang="0">
                    <a:pos x="169" y="21"/>
                  </a:cxn>
                  <a:cxn ang="0">
                    <a:pos x="191" y="50"/>
                  </a:cxn>
                  <a:cxn ang="0">
                    <a:pos x="236" y="14"/>
                  </a:cxn>
                  <a:cxn ang="0">
                    <a:pos x="257" y="59"/>
                  </a:cxn>
                  <a:cxn ang="0">
                    <a:pos x="246" y="86"/>
                  </a:cxn>
                  <a:cxn ang="0">
                    <a:pos x="247" y="106"/>
                  </a:cxn>
                  <a:cxn ang="0">
                    <a:pos x="260" y="139"/>
                  </a:cxn>
                  <a:cxn ang="0">
                    <a:pos x="272" y="193"/>
                  </a:cxn>
                  <a:cxn ang="0">
                    <a:pos x="271" y="237"/>
                  </a:cxn>
                  <a:cxn ang="0">
                    <a:pos x="290" y="278"/>
                  </a:cxn>
                  <a:cxn ang="0">
                    <a:pos x="293" y="318"/>
                  </a:cxn>
                  <a:cxn ang="0">
                    <a:pos x="260" y="346"/>
                  </a:cxn>
                  <a:cxn ang="0">
                    <a:pos x="263" y="372"/>
                  </a:cxn>
                  <a:cxn ang="0">
                    <a:pos x="209" y="385"/>
                  </a:cxn>
                  <a:cxn ang="0">
                    <a:pos x="205" y="348"/>
                  </a:cxn>
                  <a:cxn ang="0">
                    <a:pos x="177" y="343"/>
                  </a:cxn>
                  <a:cxn ang="0">
                    <a:pos x="138" y="346"/>
                  </a:cxn>
                  <a:cxn ang="0">
                    <a:pos x="73" y="346"/>
                  </a:cxn>
                  <a:cxn ang="0">
                    <a:pos x="40" y="319"/>
                  </a:cxn>
                  <a:cxn ang="0">
                    <a:pos x="51" y="282"/>
                  </a:cxn>
                  <a:cxn ang="0">
                    <a:pos x="30" y="254"/>
                  </a:cxn>
                  <a:cxn ang="0">
                    <a:pos x="11" y="223"/>
                  </a:cxn>
                  <a:cxn ang="0">
                    <a:pos x="8" y="194"/>
                  </a:cxn>
                  <a:cxn ang="0">
                    <a:pos x="11" y="161"/>
                  </a:cxn>
                  <a:cxn ang="0">
                    <a:pos x="14" y="115"/>
                  </a:cxn>
                  <a:cxn ang="0">
                    <a:pos x="27" y="102"/>
                  </a:cxn>
                  <a:cxn ang="0">
                    <a:pos x="35" y="85"/>
                  </a:cxn>
                  <a:cxn ang="0">
                    <a:pos x="45" y="56"/>
                  </a:cxn>
                  <a:cxn ang="0">
                    <a:pos x="57" y="53"/>
                  </a:cxn>
                  <a:cxn ang="0">
                    <a:pos x="72" y="32"/>
                  </a:cxn>
                </a:cxnLst>
                <a:rect l="0" t="0" r="r" b="b"/>
                <a:pathLst>
                  <a:path w="298" h="388">
                    <a:moveTo>
                      <a:pt x="72" y="32"/>
                    </a:moveTo>
                    <a:cubicBezTo>
                      <a:pt x="72" y="32"/>
                      <a:pt x="85" y="40"/>
                      <a:pt x="85" y="18"/>
                    </a:cubicBezTo>
                    <a:cubicBezTo>
                      <a:pt x="85" y="18"/>
                      <a:pt x="88" y="0"/>
                      <a:pt x="99" y="14"/>
                    </a:cubicBezTo>
                    <a:cubicBezTo>
                      <a:pt x="99" y="14"/>
                      <a:pt x="110" y="27"/>
                      <a:pt x="125" y="13"/>
                    </a:cubicBezTo>
                    <a:cubicBezTo>
                      <a:pt x="125" y="13"/>
                      <a:pt x="124" y="7"/>
                      <a:pt x="137" y="1"/>
                    </a:cubicBezTo>
                    <a:cubicBezTo>
                      <a:pt x="142" y="5"/>
                      <a:pt x="135" y="16"/>
                      <a:pt x="143" y="19"/>
                    </a:cubicBezTo>
                    <a:cubicBezTo>
                      <a:pt x="143" y="19"/>
                      <a:pt x="143" y="29"/>
                      <a:pt x="153" y="23"/>
                    </a:cubicBezTo>
                    <a:cubicBezTo>
                      <a:pt x="153" y="23"/>
                      <a:pt x="157" y="14"/>
                      <a:pt x="169" y="21"/>
                    </a:cubicBezTo>
                    <a:cubicBezTo>
                      <a:pt x="169" y="21"/>
                      <a:pt x="178" y="20"/>
                      <a:pt x="177" y="31"/>
                    </a:cubicBezTo>
                    <a:cubicBezTo>
                      <a:pt x="177" y="31"/>
                      <a:pt x="173" y="43"/>
                      <a:pt x="191" y="50"/>
                    </a:cubicBezTo>
                    <a:cubicBezTo>
                      <a:pt x="191" y="50"/>
                      <a:pt x="191" y="21"/>
                      <a:pt x="216" y="21"/>
                    </a:cubicBezTo>
                    <a:cubicBezTo>
                      <a:pt x="216" y="21"/>
                      <a:pt x="229" y="4"/>
                      <a:pt x="236" y="14"/>
                    </a:cubicBezTo>
                    <a:cubicBezTo>
                      <a:pt x="236" y="14"/>
                      <a:pt x="246" y="24"/>
                      <a:pt x="246" y="36"/>
                    </a:cubicBezTo>
                    <a:cubicBezTo>
                      <a:pt x="246" y="36"/>
                      <a:pt x="247" y="56"/>
                      <a:pt x="257" y="59"/>
                    </a:cubicBezTo>
                    <a:cubicBezTo>
                      <a:pt x="257" y="59"/>
                      <a:pt x="270" y="80"/>
                      <a:pt x="246" y="86"/>
                    </a:cubicBezTo>
                    <a:cubicBezTo>
                      <a:pt x="246" y="86"/>
                      <a:pt x="246" y="86"/>
                      <a:pt x="246" y="86"/>
                    </a:cubicBezTo>
                    <a:cubicBezTo>
                      <a:pt x="247" y="106"/>
                      <a:pt x="247" y="106"/>
                      <a:pt x="247" y="106"/>
                    </a:cubicBezTo>
                    <a:cubicBezTo>
                      <a:pt x="247" y="106"/>
                      <a:pt x="247" y="106"/>
                      <a:pt x="247" y="106"/>
                    </a:cubicBezTo>
                    <a:cubicBezTo>
                      <a:pt x="247" y="106"/>
                      <a:pt x="260" y="100"/>
                      <a:pt x="268" y="119"/>
                    </a:cubicBezTo>
                    <a:cubicBezTo>
                      <a:pt x="267" y="134"/>
                      <a:pt x="257" y="135"/>
                      <a:pt x="260" y="139"/>
                    </a:cubicBezTo>
                    <a:cubicBezTo>
                      <a:pt x="260" y="139"/>
                      <a:pt x="273" y="147"/>
                      <a:pt x="271" y="170"/>
                    </a:cubicBezTo>
                    <a:cubicBezTo>
                      <a:pt x="271" y="170"/>
                      <a:pt x="284" y="175"/>
                      <a:pt x="272" y="193"/>
                    </a:cubicBezTo>
                    <a:cubicBezTo>
                      <a:pt x="272" y="193"/>
                      <a:pt x="265" y="197"/>
                      <a:pt x="268" y="218"/>
                    </a:cubicBezTo>
                    <a:cubicBezTo>
                      <a:pt x="267" y="230"/>
                      <a:pt x="256" y="231"/>
                      <a:pt x="271" y="237"/>
                    </a:cubicBezTo>
                    <a:cubicBezTo>
                      <a:pt x="271" y="237"/>
                      <a:pt x="280" y="237"/>
                      <a:pt x="280" y="254"/>
                    </a:cubicBezTo>
                    <a:cubicBezTo>
                      <a:pt x="280" y="254"/>
                      <a:pt x="292" y="257"/>
                      <a:pt x="290" y="278"/>
                    </a:cubicBezTo>
                    <a:cubicBezTo>
                      <a:pt x="290" y="278"/>
                      <a:pt x="298" y="287"/>
                      <a:pt x="288" y="294"/>
                    </a:cubicBezTo>
                    <a:cubicBezTo>
                      <a:pt x="288" y="294"/>
                      <a:pt x="283" y="311"/>
                      <a:pt x="293" y="318"/>
                    </a:cubicBezTo>
                    <a:cubicBezTo>
                      <a:pt x="293" y="318"/>
                      <a:pt x="298" y="324"/>
                      <a:pt x="278" y="337"/>
                    </a:cubicBezTo>
                    <a:cubicBezTo>
                      <a:pt x="278" y="337"/>
                      <a:pt x="271" y="345"/>
                      <a:pt x="260" y="346"/>
                    </a:cubicBezTo>
                    <a:cubicBezTo>
                      <a:pt x="260" y="346"/>
                      <a:pt x="257" y="352"/>
                      <a:pt x="260" y="360"/>
                    </a:cubicBezTo>
                    <a:cubicBezTo>
                      <a:pt x="260" y="360"/>
                      <a:pt x="266" y="365"/>
                      <a:pt x="263" y="372"/>
                    </a:cubicBezTo>
                    <a:cubicBezTo>
                      <a:pt x="255" y="380"/>
                      <a:pt x="243" y="372"/>
                      <a:pt x="238" y="382"/>
                    </a:cubicBezTo>
                    <a:cubicBezTo>
                      <a:pt x="234" y="388"/>
                      <a:pt x="209" y="385"/>
                      <a:pt x="209" y="385"/>
                    </a:cubicBezTo>
                    <a:cubicBezTo>
                      <a:pt x="198" y="377"/>
                      <a:pt x="205" y="365"/>
                      <a:pt x="205" y="365"/>
                    </a:cubicBezTo>
                    <a:cubicBezTo>
                      <a:pt x="211" y="360"/>
                      <a:pt x="205" y="348"/>
                      <a:pt x="205" y="348"/>
                    </a:cubicBezTo>
                    <a:cubicBezTo>
                      <a:pt x="197" y="347"/>
                      <a:pt x="208" y="326"/>
                      <a:pt x="188" y="333"/>
                    </a:cubicBezTo>
                    <a:cubicBezTo>
                      <a:pt x="181" y="333"/>
                      <a:pt x="176" y="332"/>
                      <a:pt x="177" y="343"/>
                    </a:cubicBezTo>
                    <a:cubicBezTo>
                      <a:pt x="166" y="348"/>
                      <a:pt x="155" y="344"/>
                      <a:pt x="155" y="344"/>
                    </a:cubicBezTo>
                    <a:cubicBezTo>
                      <a:pt x="155" y="344"/>
                      <a:pt x="143" y="337"/>
                      <a:pt x="138" y="346"/>
                    </a:cubicBezTo>
                    <a:cubicBezTo>
                      <a:pt x="135" y="353"/>
                      <a:pt x="131" y="340"/>
                      <a:pt x="110" y="347"/>
                    </a:cubicBezTo>
                    <a:cubicBezTo>
                      <a:pt x="99" y="353"/>
                      <a:pt x="91" y="341"/>
                      <a:pt x="73" y="346"/>
                    </a:cubicBezTo>
                    <a:cubicBezTo>
                      <a:pt x="68" y="340"/>
                      <a:pt x="52" y="340"/>
                      <a:pt x="52" y="340"/>
                    </a:cubicBezTo>
                    <a:cubicBezTo>
                      <a:pt x="40" y="329"/>
                      <a:pt x="40" y="319"/>
                      <a:pt x="40" y="319"/>
                    </a:cubicBezTo>
                    <a:cubicBezTo>
                      <a:pt x="37" y="301"/>
                      <a:pt x="47" y="302"/>
                      <a:pt x="47" y="302"/>
                    </a:cubicBezTo>
                    <a:cubicBezTo>
                      <a:pt x="59" y="296"/>
                      <a:pt x="44" y="293"/>
                      <a:pt x="51" y="282"/>
                    </a:cubicBezTo>
                    <a:cubicBezTo>
                      <a:pt x="51" y="263"/>
                      <a:pt x="47" y="259"/>
                      <a:pt x="47" y="259"/>
                    </a:cubicBezTo>
                    <a:cubicBezTo>
                      <a:pt x="40" y="269"/>
                      <a:pt x="30" y="254"/>
                      <a:pt x="30" y="254"/>
                    </a:cubicBezTo>
                    <a:cubicBezTo>
                      <a:pt x="25" y="254"/>
                      <a:pt x="25" y="246"/>
                      <a:pt x="15" y="236"/>
                    </a:cubicBezTo>
                    <a:cubicBezTo>
                      <a:pt x="3" y="229"/>
                      <a:pt x="11" y="223"/>
                      <a:pt x="11" y="223"/>
                    </a:cubicBezTo>
                    <a:cubicBezTo>
                      <a:pt x="18" y="210"/>
                      <a:pt x="7" y="212"/>
                      <a:pt x="7" y="202"/>
                    </a:cubicBezTo>
                    <a:cubicBezTo>
                      <a:pt x="14" y="202"/>
                      <a:pt x="8" y="194"/>
                      <a:pt x="8" y="194"/>
                    </a:cubicBezTo>
                    <a:cubicBezTo>
                      <a:pt x="0" y="183"/>
                      <a:pt x="11" y="179"/>
                      <a:pt x="11" y="179"/>
                    </a:cubicBezTo>
                    <a:cubicBezTo>
                      <a:pt x="17" y="167"/>
                      <a:pt x="11" y="161"/>
                      <a:pt x="11" y="161"/>
                    </a:cubicBezTo>
                    <a:cubicBezTo>
                      <a:pt x="7" y="153"/>
                      <a:pt x="15" y="152"/>
                      <a:pt x="11" y="141"/>
                    </a:cubicBezTo>
                    <a:cubicBezTo>
                      <a:pt x="13" y="127"/>
                      <a:pt x="4" y="117"/>
                      <a:pt x="14" y="115"/>
                    </a:cubicBezTo>
                    <a:cubicBezTo>
                      <a:pt x="23" y="113"/>
                      <a:pt x="27" y="102"/>
                      <a:pt x="27" y="102"/>
                    </a:cubicBezTo>
                    <a:cubicBezTo>
                      <a:pt x="27" y="102"/>
                      <a:pt x="27" y="102"/>
                      <a:pt x="27" y="102"/>
                    </a:cubicBezTo>
                    <a:cubicBezTo>
                      <a:pt x="35" y="85"/>
                      <a:pt x="35" y="85"/>
                      <a:pt x="35" y="85"/>
                    </a:cubicBezTo>
                    <a:cubicBezTo>
                      <a:pt x="35" y="85"/>
                      <a:pt x="35" y="85"/>
                      <a:pt x="35" y="85"/>
                    </a:cubicBezTo>
                    <a:cubicBezTo>
                      <a:pt x="44" y="85"/>
                      <a:pt x="41" y="66"/>
                      <a:pt x="41" y="66"/>
                    </a:cubicBezTo>
                    <a:cubicBezTo>
                      <a:pt x="53" y="59"/>
                      <a:pt x="45" y="56"/>
                      <a:pt x="45" y="56"/>
                    </a:cubicBezTo>
                    <a:cubicBezTo>
                      <a:pt x="40" y="45"/>
                      <a:pt x="47" y="41"/>
                      <a:pt x="47" y="41"/>
                    </a:cubicBezTo>
                    <a:cubicBezTo>
                      <a:pt x="48" y="48"/>
                      <a:pt x="47" y="50"/>
                      <a:pt x="57" y="53"/>
                    </a:cubicBezTo>
                    <a:cubicBezTo>
                      <a:pt x="54" y="42"/>
                      <a:pt x="61" y="35"/>
                      <a:pt x="61" y="35"/>
                    </a:cubicBezTo>
                    <a:cubicBezTo>
                      <a:pt x="66" y="27"/>
                      <a:pt x="72" y="32"/>
                      <a:pt x="72" y="32"/>
                    </a:cubicBezTo>
                    <a:cubicBezTo>
                      <a:pt x="72" y="32"/>
                      <a:pt x="72" y="32"/>
                      <a:pt x="72" y="32"/>
                    </a:cubicBezTo>
                    <a:close/>
                  </a:path>
                </a:pathLst>
              </a:custGeom>
              <a:solidFill>
                <a:srgbClr val="EEBB0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2786204" y="2557697"/>
                <a:ext cx="923095" cy="1085538"/>
              </a:xfrm>
              <a:custGeom>
                <a:avLst/>
                <a:gdLst/>
                <a:ahLst/>
                <a:cxnLst>
                  <a:cxn ang="0">
                    <a:pos x="14" y="333"/>
                  </a:cxn>
                  <a:cxn ang="0">
                    <a:pos x="32" y="310"/>
                  </a:cxn>
                  <a:cxn ang="0">
                    <a:pos x="42" y="267"/>
                  </a:cxn>
                  <a:cxn ang="0">
                    <a:pos x="34" y="227"/>
                  </a:cxn>
                  <a:cxn ang="0">
                    <a:pos x="22" y="191"/>
                  </a:cxn>
                  <a:cxn ang="0">
                    <a:pos x="25" y="143"/>
                  </a:cxn>
                  <a:cxn ang="0">
                    <a:pos x="22" y="92"/>
                  </a:cxn>
                  <a:cxn ang="0">
                    <a:pos x="1" y="79"/>
                  </a:cxn>
                  <a:cxn ang="0">
                    <a:pos x="0" y="59"/>
                  </a:cxn>
                  <a:cxn ang="0">
                    <a:pos x="39" y="18"/>
                  </a:cxn>
                  <a:cxn ang="0">
                    <a:pos x="72" y="18"/>
                  </a:cxn>
                  <a:cxn ang="0">
                    <a:pos x="115" y="21"/>
                  </a:cxn>
                  <a:cxn ang="0">
                    <a:pos x="146" y="53"/>
                  </a:cxn>
                  <a:cxn ang="0">
                    <a:pos x="145" y="83"/>
                  </a:cxn>
                  <a:cxn ang="0">
                    <a:pos x="144" y="104"/>
                  </a:cxn>
                  <a:cxn ang="0">
                    <a:pos x="164" y="127"/>
                  </a:cxn>
                  <a:cxn ang="0">
                    <a:pos x="190" y="148"/>
                  </a:cxn>
                  <a:cxn ang="0">
                    <a:pos x="217" y="171"/>
                  </a:cxn>
                  <a:cxn ang="0">
                    <a:pos x="270" y="189"/>
                  </a:cxn>
                  <a:cxn ang="0">
                    <a:pos x="300" y="180"/>
                  </a:cxn>
                  <a:cxn ang="0">
                    <a:pos x="314" y="210"/>
                  </a:cxn>
                  <a:cxn ang="0">
                    <a:pos x="322" y="240"/>
                  </a:cxn>
                  <a:cxn ang="0">
                    <a:pos x="294" y="269"/>
                  </a:cxn>
                  <a:cxn ang="0">
                    <a:pos x="272" y="311"/>
                  </a:cxn>
                  <a:cxn ang="0">
                    <a:pos x="230" y="309"/>
                  </a:cxn>
                  <a:cxn ang="0">
                    <a:pos x="209" y="357"/>
                  </a:cxn>
                  <a:cxn ang="0">
                    <a:pos x="190" y="392"/>
                  </a:cxn>
                  <a:cxn ang="0">
                    <a:pos x="135" y="406"/>
                  </a:cxn>
                  <a:cxn ang="0">
                    <a:pos x="120" y="422"/>
                  </a:cxn>
                  <a:cxn ang="0">
                    <a:pos x="89" y="416"/>
                  </a:cxn>
                  <a:cxn ang="0">
                    <a:pos x="52" y="432"/>
                  </a:cxn>
                  <a:cxn ang="0">
                    <a:pos x="21" y="408"/>
                  </a:cxn>
                  <a:cxn ang="0">
                    <a:pos x="22" y="365"/>
                  </a:cxn>
                  <a:cxn ang="0">
                    <a:pos x="17" y="346"/>
                  </a:cxn>
                </a:cxnLst>
                <a:rect l="0" t="0" r="r" b="b"/>
                <a:pathLst>
                  <a:path w="327" h="434">
                    <a:moveTo>
                      <a:pt x="17" y="346"/>
                    </a:moveTo>
                    <a:cubicBezTo>
                      <a:pt x="20" y="339"/>
                      <a:pt x="14" y="333"/>
                      <a:pt x="14" y="333"/>
                    </a:cubicBezTo>
                    <a:cubicBezTo>
                      <a:pt x="11" y="325"/>
                      <a:pt x="14" y="319"/>
                      <a:pt x="14" y="319"/>
                    </a:cubicBezTo>
                    <a:cubicBezTo>
                      <a:pt x="25" y="318"/>
                      <a:pt x="32" y="310"/>
                      <a:pt x="32" y="310"/>
                    </a:cubicBezTo>
                    <a:cubicBezTo>
                      <a:pt x="52" y="297"/>
                      <a:pt x="47" y="291"/>
                      <a:pt x="47" y="291"/>
                    </a:cubicBezTo>
                    <a:cubicBezTo>
                      <a:pt x="37" y="284"/>
                      <a:pt x="42" y="267"/>
                      <a:pt x="42" y="267"/>
                    </a:cubicBezTo>
                    <a:cubicBezTo>
                      <a:pt x="52" y="260"/>
                      <a:pt x="44" y="251"/>
                      <a:pt x="44" y="251"/>
                    </a:cubicBezTo>
                    <a:cubicBezTo>
                      <a:pt x="46" y="230"/>
                      <a:pt x="34" y="227"/>
                      <a:pt x="34" y="227"/>
                    </a:cubicBezTo>
                    <a:cubicBezTo>
                      <a:pt x="34" y="210"/>
                      <a:pt x="25" y="210"/>
                      <a:pt x="25" y="210"/>
                    </a:cubicBezTo>
                    <a:cubicBezTo>
                      <a:pt x="10" y="204"/>
                      <a:pt x="21" y="203"/>
                      <a:pt x="22" y="191"/>
                    </a:cubicBezTo>
                    <a:cubicBezTo>
                      <a:pt x="19" y="170"/>
                      <a:pt x="26" y="166"/>
                      <a:pt x="26" y="166"/>
                    </a:cubicBezTo>
                    <a:cubicBezTo>
                      <a:pt x="38" y="148"/>
                      <a:pt x="25" y="143"/>
                      <a:pt x="25" y="143"/>
                    </a:cubicBezTo>
                    <a:cubicBezTo>
                      <a:pt x="27" y="120"/>
                      <a:pt x="14" y="112"/>
                      <a:pt x="14" y="112"/>
                    </a:cubicBezTo>
                    <a:cubicBezTo>
                      <a:pt x="11" y="108"/>
                      <a:pt x="21" y="107"/>
                      <a:pt x="22" y="92"/>
                    </a:cubicBezTo>
                    <a:cubicBezTo>
                      <a:pt x="14" y="73"/>
                      <a:pt x="1" y="79"/>
                      <a:pt x="1" y="79"/>
                    </a:cubicBezTo>
                    <a:cubicBezTo>
                      <a:pt x="1" y="79"/>
                      <a:pt x="1" y="79"/>
                      <a:pt x="1" y="79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24" y="53"/>
                      <a:pt x="11" y="32"/>
                      <a:pt x="11" y="32"/>
                    </a:cubicBezTo>
                    <a:cubicBezTo>
                      <a:pt x="26" y="28"/>
                      <a:pt x="31" y="17"/>
                      <a:pt x="39" y="18"/>
                    </a:cubicBezTo>
                    <a:cubicBezTo>
                      <a:pt x="39" y="18"/>
                      <a:pt x="45" y="0"/>
                      <a:pt x="56" y="16"/>
                    </a:cubicBezTo>
                    <a:cubicBezTo>
                      <a:pt x="56" y="16"/>
                      <a:pt x="60" y="27"/>
                      <a:pt x="72" y="18"/>
                    </a:cubicBezTo>
                    <a:cubicBezTo>
                      <a:pt x="72" y="18"/>
                      <a:pt x="80" y="11"/>
                      <a:pt x="93" y="13"/>
                    </a:cubicBezTo>
                    <a:cubicBezTo>
                      <a:pt x="93" y="13"/>
                      <a:pt x="109" y="11"/>
                      <a:pt x="115" y="21"/>
                    </a:cubicBezTo>
                    <a:cubicBezTo>
                      <a:pt x="115" y="21"/>
                      <a:pt x="127" y="30"/>
                      <a:pt x="124" y="38"/>
                    </a:cubicBezTo>
                    <a:cubicBezTo>
                      <a:pt x="124" y="38"/>
                      <a:pt x="127" y="49"/>
                      <a:pt x="146" y="53"/>
                    </a:cubicBezTo>
                    <a:cubicBezTo>
                      <a:pt x="146" y="53"/>
                      <a:pt x="146" y="53"/>
                      <a:pt x="146" y="53"/>
                    </a:cubicBezTo>
                    <a:cubicBezTo>
                      <a:pt x="145" y="83"/>
                      <a:pt x="145" y="83"/>
                      <a:pt x="145" y="83"/>
                    </a:cubicBezTo>
                    <a:cubicBezTo>
                      <a:pt x="144" y="104"/>
                      <a:pt x="144" y="104"/>
                      <a:pt x="144" y="104"/>
                    </a:cubicBezTo>
                    <a:cubicBezTo>
                      <a:pt x="144" y="104"/>
                      <a:pt x="144" y="104"/>
                      <a:pt x="144" y="104"/>
                    </a:cubicBezTo>
                    <a:cubicBezTo>
                      <a:pt x="144" y="104"/>
                      <a:pt x="158" y="102"/>
                      <a:pt x="156" y="114"/>
                    </a:cubicBezTo>
                    <a:cubicBezTo>
                      <a:pt x="156" y="114"/>
                      <a:pt x="153" y="127"/>
                      <a:pt x="164" y="127"/>
                    </a:cubicBezTo>
                    <a:cubicBezTo>
                      <a:pt x="164" y="127"/>
                      <a:pt x="175" y="131"/>
                      <a:pt x="168" y="141"/>
                    </a:cubicBezTo>
                    <a:cubicBezTo>
                      <a:pt x="168" y="141"/>
                      <a:pt x="162" y="152"/>
                      <a:pt x="190" y="148"/>
                    </a:cubicBezTo>
                    <a:cubicBezTo>
                      <a:pt x="190" y="148"/>
                      <a:pt x="204" y="143"/>
                      <a:pt x="212" y="158"/>
                    </a:cubicBezTo>
                    <a:cubicBezTo>
                      <a:pt x="212" y="158"/>
                      <a:pt x="217" y="165"/>
                      <a:pt x="217" y="171"/>
                    </a:cubicBezTo>
                    <a:cubicBezTo>
                      <a:pt x="217" y="171"/>
                      <a:pt x="215" y="184"/>
                      <a:pt x="225" y="188"/>
                    </a:cubicBezTo>
                    <a:cubicBezTo>
                      <a:pt x="225" y="188"/>
                      <a:pt x="239" y="200"/>
                      <a:pt x="270" y="189"/>
                    </a:cubicBezTo>
                    <a:cubicBezTo>
                      <a:pt x="275" y="181"/>
                      <a:pt x="285" y="186"/>
                      <a:pt x="285" y="181"/>
                    </a:cubicBezTo>
                    <a:cubicBezTo>
                      <a:pt x="285" y="181"/>
                      <a:pt x="288" y="163"/>
                      <a:pt x="300" y="180"/>
                    </a:cubicBezTo>
                    <a:cubicBezTo>
                      <a:pt x="300" y="180"/>
                      <a:pt x="303" y="189"/>
                      <a:pt x="315" y="187"/>
                    </a:cubicBezTo>
                    <a:cubicBezTo>
                      <a:pt x="315" y="187"/>
                      <a:pt x="298" y="196"/>
                      <a:pt x="314" y="210"/>
                    </a:cubicBezTo>
                    <a:cubicBezTo>
                      <a:pt x="325" y="206"/>
                      <a:pt x="317" y="218"/>
                      <a:pt x="325" y="220"/>
                    </a:cubicBezTo>
                    <a:cubicBezTo>
                      <a:pt x="327" y="233"/>
                      <a:pt x="322" y="240"/>
                      <a:pt x="322" y="240"/>
                    </a:cubicBezTo>
                    <a:cubicBezTo>
                      <a:pt x="322" y="240"/>
                      <a:pt x="303" y="244"/>
                      <a:pt x="305" y="256"/>
                    </a:cubicBezTo>
                    <a:cubicBezTo>
                      <a:pt x="308" y="261"/>
                      <a:pt x="295" y="261"/>
                      <a:pt x="294" y="269"/>
                    </a:cubicBezTo>
                    <a:cubicBezTo>
                      <a:pt x="294" y="269"/>
                      <a:pt x="300" y="282"/>
                      <a:pt x="289" y="285"/>
                    </a:cubicBezTo>
                    <a:cubicBezTo>
                      <a:pt x="289" y="285"/>
                      <a:pt x="287" y="313"/>
                      <a:pt x="272" y="311"/>
                    </a:cubicBezTo>
                    <a:cubicBezTo>
                      <a:pt x="272" y="311"/>
                      <a:pt x="255" y="315"/>
                      <a:pt x="248" y="308"/>
                    </a:cubicBezTo>
                    <a:cubicBezTo>
                      <a:pt x="248" y="308"/>
                      <a:pt x="238" y="297"/>
                      <a:pt x="230" y="309"/>
                    </a:cubicBezTo>
                    <a:cubicBezTo>
                      <a:pt x="230" y="309"/>
                      <a:pt x="215" y="302"/>
                      <a:pt x="215" y="329"/>
                    </a:cubicBezTo>
                    <a:cubicBezTo>
                      <a:pt x="215" y="329"/>
                      <a:pt x="216" y="345"/>
                      <a:pt x="209" y="357"/>
                    </a:cubicBezTo>
                    <a:cubicBezTo>
                      <a:pt x="209" y="357"/>
                      <a:pt x="208" y="365"/>
                      <a:pt x="208" y="374"/>
                    </a:cubicBezTo>
                    <a:cubicBezTo>
                      <a:pt x="208" y="374"/>
                      <a:pt x="191" y="383"/>
                      <a:pt x="190" y="392"/>
                    </a:cubicBezTo>
                    <a:cubicBezTo>
                      <a:pt x="190" y="392"/>
                      <a:pt x="188" y="405"/>
                      <a:pt x="165" y="406"/>
                    </a:cubicBezTo>
                    <a:cubicBezTo>
                      <a:pt x="165" y="406"/>
                      <a:pt x="158" y="397"/>
                      <a:pt x="135" y="406"/>
                    </a:cubicBezTo>
                    <a:cubicBezTo>
                      <a:pt x="135" y="406"/>
                      <a:pt x="125" y="394"/>
                      <a:pt x="125" y="412"/>
                    </a:cubicBezTo>
                    <a:cubicBezTo>
                      <a:pt x="125" y="412"/>
                      <a:pt x="127" y="427"/>
                      <a:pt x="120" y="422"/>
                    </a:cubicBezTo>
                    <a:cubicBezTo>
                      <a:pt x="120" y="422"/>
                      <a:pt x="114" y="416"/>
                      <a:pt x="103" y="416"/>
                    </a:cubicBezTo>
                    <a:cubicBezTo>
                      <a:pt x="103" y="416"/>
                      <a:pt x="94" y="401"/>
                      <a:pt x="89" y="416"/>
                    </a:cubicBezTo>
                    <a:cubicBezTo>
                      <a:pt x="89" y="416"/>
                      <a:pt x="72" y="415"/>
                      <a:pt x="68" y="424"/>
                    </a:cubicBezTo>
                    <a:cubicBezTo>
                      <a:pt x="68" y="424"/>
                      <a:pt x="61" y="434"/>
                      <a:pt x="52" y="432"/>
                    </a:cubicBezTo>
                    <a:cubicBezTo>
                      <a:pt x="45" y="434"/>
                      <a:pt x="51" y="420"/>
                      <a:pt x="40" y="425"/>
                    </a:cubicBezTo>
                    <a:cubicBezTo>
                      <a:pt x="31" y="407"/>
                      <a:pt x="21" y="408"/>
                      <a:pt x="21" y="408"/>
                    </a:cubicBezTo>
                    <a:cubicBezTo>
                      <a:pt x="15" y="397"/>
                      <a:pt x="24" y="394"/>
                      <a:pt x="24" y="394"/>
                    </a:cubicBezTo>
                    <a:cubicBezTo>
                      <a:pt x="31" y="379"/>
                      <a:pt x="22" y="365"/>
                      <a:pt x="22" y="365"/>
                    </a:cubicBezTo>
                    <a:cubicBezTo>
                      <a:pt x="17" y="361"/>
                      <a:pt x="27" y="346"/>
                      <a:pt x="17" y="346"/>
                    </a:cubicBezTo>
                    <a:cubicBezTo>
                      <a:pt x="17" y="346"/>
                      <a:pt x="17" y="346"/>
                      <a:pt x="17" y="346"/>
                    </a:cubicBezTo>
                    <a:close/>
                  </a:path>
                </a:pathLst>
              </a:custGeom>
              <a:solidFill>
                <a:srgbClr val="EEBB0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39" name="Freeform 48"/>
              <p:cNvSpPr>
                <a:spLocks/>
              </p:cNvSpPr>
              <p:nvPr/>
            </p:nvSpPr>
            <p:spPr bwMode="auto">
              <a:xfrm>
                <a:off x="3179570" y="2168713"/>
                <a:ext cx="938828" cy="954370"/>
              </a:xfrm>
              <a:custGeom>
                <a:avLst/>
                <a:gdLst/>
                <a:ahLst/>
                <a:cxnLst>
                  <a:cxn ang="0">
                    <a:pos x="185" y="376"/>
                  </a:cxn>
                  <a:cxn ang="0">
                    <a:pos x="175" y="364"/>
                  </a:cxn>
                  <a:cxn ang="0">
                    <a:pos x="176" y="341"/>
                  </a:cxn>
                  <a:cxn ang="0">
                    <a:pos x="161" y="334"/>
                  </a:cxn>
                  <a:cxn ang="0">
                    <a:pos x="146" y="335"/>
                  </a:cxn>
                  <a:cxn ang="0">
                    <a:pos x="131" y="343"/>
                  </a:cxn>
                  <a:cxn ang="0">
                    <a:pos x="86" y="342"/>
                  </a:cxn>
                  <a:cxn ang="0">
                    <a:pos x="78" y="324"/>
                  </a:cxn>
                  <a:cxn ang="0">
                    <a:pos x="73" y="312"/>
                  </a:cxn>
                  <a:cxn ang="0">
                    <a:pos x="51" y="302"/>
                  </a:cxn>
                  <a:cxn ang="0">
                    <a:pos x="29" y="295"/>
                  </a:cxn>
                  <a:cxn ang="0">
                    <a:pos x="25" y="281"/>
                  </a:cxn>
                  <a:cxn ang="0">
                    <a:pos x="17" y="268"/>
                  </a:cxn>
                  <a:cxn ang="0">
                    <a:pos x="5" y="258"/>
                  </a:cxn>
                  <a:cxn ang="0">
                    <a:pos x="5" y="258"/>
                  </a:cxn>
                  <a:cxn ang="0">
                    <a:pos x="6" y="237"/>
                  </a:cxn>
                  <a:cxn ang="0">
                    <a:pos x="7" y="207"/>
                  </a:cxn>
                  <a:cxn ang="0">
                    <a:pos x="7" y="207"/>
                  </a:cxn>
                  <a:cxn ang="0">
                    <a:pos x="14" y="200"/>
                  </a:cxn>
                  <a:cxn ang="0">
                    <a:pos x="11" y="163"/>
                  </a:cxn>
                  <a:cxn ang="0">
                    <a:pos x="14" y="130"/>
                  </a:cxn>
                  <a:cxn ang="0">
                    <a:pos x="29" y="97"/>
                  </a:cxn>
                  <a:cxn ang="0">
                    <a:pos x="43" y="82"/>
                  </a:cxn>
                  <a:cxn ang="0">
                    <a:pos x="52" y="66"/>
                  </a:cxn>
                  <a:cxn ang="0">
                    <a:pos x="78" y="60"/>
                  </a:cxn>
                  <a:cxn ang="0">
                    <a:pos x="91" y="59"/>
                  </a:cxn>
                  <a:cxn ang="0">
                    <a:pos x="131" y="56"/>
                  </a:cxn>
                  <a:cxn ang="0">
                    <a:pos x="161" y="61"/>
                  </a:cxn>
                  <a:cxn ang="0">
                    <a:pos x="176" y="65"/>
                  </a:cxn>
                  <a:cxn ang="0">
                    <a:pos x="203" y="52"/>
                  </a:cxn>
                  <a:cxn ang="0">
                    <a:pos x="210" y="24"/>
                  </a:cxn>
                  <a:cxn ang="0">
                    <a:pos x="231" y="16"/>
                  </a:cxn>
                  <a:cxn ang="0">
                    <a:pos x="257" y="24"/>
                  </a:cxn>
                  <a:cxn ang="0">
                    <a:pos x="295" y="8"/>
                  </a:cxn>
                  <a:cxn ang="0">
                    <a:pos x="327" y="4"/>
                  </a:cxn>
                  <a:cxn ang="0">
                    <a:pos x="319" y="24"/>
                  </a:cxn>
                  <a:cxn ang="0">
                    <a:pos x="318" y="49"/>
                  </a:cxn>
                  <a:cxn ang="0">
                    <a:pos x="330" y="61"/>
                  </a:cxn>
                  <a:cxn ang="0">
                    <a:pos x="321" y="71"/>
                  </a:cxn>
                  <a:cxn ang="0">
                    <a:pos x="319" y="79"/>
                  </a:cxn>
                  <a:cxn ang="0">
                    <a:pos x="307" y="87"/>
                  </a:cxn>
                  <a:cxn ang="0">
                    <a:pos x="292" y="103"/>
                  </a:cxn>
                  <a:cxn ang="0">
                    <a:pos x="295" y="132"/>
                  </a:cxn>
                  <a:cxn ang="0">
                    <a:pos x="297" y="151"/>
                  </a:cxn>
                  <a:cxn ang="0">
                    <a:pos x="293" y="175"/>
                  </a:cxn>
                  <a:cxn ang="0">
                    <a:pos x="285" y="189"/>
                  </a:cxn>
                  <a:cxn ang="0">
                    <a:pos x="289" y="216"/>
                  </a:cxn>
                  <a:cxn ang="0">
                    <a:pos x="278" y="230"/>
                  </a:cxn>
                  <a:cxn ang="0">
                    <a:pos x="285" y="243"/>
                  </a:cxn>
                  <a:cxn ang="0">
                    <a:pos x="294" y="251"/>
                  </a:cxn>
                  <a:cxn ang="0">
                    <a:pos x="306" y="245"/>
                  </a:cxn>
                  <a:cxn ang="0">
                    <a:pos x="306" y="264"/>
                  </a:cxn>
                  <a:cxn ang="0">
                    <a:pos x="297" y="284"/>
                  </a:cxn>
                  <a:cxn ang="0">
                    <a:pos x="300" y="309"/>
                  </a:cxn>
                  <a:cxn ang="0">
                    <a:pos x="292" y="339"/>
                  </a:cxn>
                  <a:cxn ang="0">
                    <a:pos x="279" y="357"/>
                  </a:cxn>
                  <a:cxn ang="0">
                    <a:pos x="259" y="368"/>
                  </a:cxn>
                  <a:cxn ang="0">
                    <a:pos x="227" y="368"/>
                  </a:cxn>
                  <a:cxn ang="0">
                    <a:pos x="205" y="368"/>
                  </a:cxn>
                  <a:cxn ang="0">
                    <a:pos x="185" y="376"/>
                  </a:cxn>
                  <a:cxn ang="0">
                    <a:pos x="185" y="376"/>
                  </a:cxn>
                </a:cxnLst>
                <a:rect l="0" t="0" r="r" b="b"/>
                <a:pathLst>
                  <a:path w="331" h="381">
                    <a:moveTo>
                      <a:pt x="185" y="376"/>
                    </a:moveTo>
                    <a:cubicBezTo>
                      <a:pt x="177" y="374"/>
                      <a:pt x="186" y="360"/>
                      <a:pt x="175" y="364"/>
                    </a:cubicBezTo>
                    <a:cubicBezTo>
                      <a:pt x="159" y="350"/>
                      <a:pt x="176" y="341"/>
                      <a:pt x="176" y="341"/>
                    </a:cubicBezTo>
                    <a:cubicBezTo>
                      <a:pt x="164" y="343"/>
                      <a:pt x="161" y="334"/>
                      <a:pt x="161" y="334"/>
                    </a:cubicBezTo>
                    <a:cubicBezTo>
                      <a:pt x="149" y="317"/>
                      <a:pt x="146" y="335"/>
                      <a:pt x="146" y="335"/>
                    </a:cubicBezTo>
                    <a:cubicBezTo>
                      <a:pt x="146" y="340"/>
                      <a:pt x="136" y="335"/>
                      <a:pt x="131" y="343"/>
                    </a:cubicBezTo>
                    <a:cubicBezTo>
                      <a:pt x="100" y="354"/>
                      <a:pt x="86" y="342"/>
                      <a:pt x="86" y="342"/>
                    </a:cubicBezTo>
                    <a:cubicBezTo>
                      <a:pt x="76" y="338"/>
                      <a:pt x="78" y="324"/>
                      <a:pt x="78" y="324"/>
                    </a:cubicBezTo>
                    <a:cubicBezTo>
                      <a:pt x="78" y="318"/>
                      <a:pt x="73" y="312"/>
                      <a:pt x="73" y="312"/>
                    </a:cubicBezTo>
                    <a:cubicBezTo>
                      <a:pt x="65" y="297"/>
                      <a:pt x="51" y="302"/>
                      <a:pt x="51" y="302"/>
                    </a:cubicBezTo>
                    <a:cubicBezTo>
                      <a:pt x="23" y="306"/>
                      <a:pt x="29" y="295"/>
                      <a:pt x="29" y="295"/>
                    </a:cubicBezTo>
                    <a:cubicBezTo>
                      <a:pt x="36" y="285"/>
                      <a:pt x="25" y="281"/>
                      <a:pt x="25" y="281"/>
                    </a:cubicBezTo>
                    <a:cubicBezTo>
                      <a:pt x="14" y="281"/>
                      <a:pt x="17" y="268"/>
                      <a:pt x="17" y="268"/>
                    </a:cubicBezTo>
                    <a:cubicBezTo>
                      <a:pt x="19" y="256"/>
                      <a:pt x="5" y="258"/>
                      <a:pt x="5" y="258"/>
                    </a:cubicBezTo>
                    <a:cubicBezTo>
                      <a:pt x="5" y="258"/>
                      <a:pt x="5" y="258"/>
                      <a:pt x="5" y="258"/>
                    </a:cubicBezTo>
                    <a:cubicBezTo>
                      <a:pt x="6" y="237"/>
                      <a:pt x="6" y="237"/>
                      <a:pt x="6" y="237"/>
                    </a:cubicBezTo>
                    <a:cubicBezTo>
                      <a:pt x="7" y="207"/>
                      <a:pt x="7" y="207"/>
                      <a:pt x="7" y="207"/>
                    </a:cubicBezTo>
                    <a:cubicBezTo>
                      <a:pt x="7" y="207"/>
                      <a:pt x="7" y="207"/>
                      <a:pt x="7" y="207"/>
                    </a:cubicBezTo>
                    <a:cubicBezTo>
                      <a:pt x="7" y="207"/>
                      <a:pt x="6" y="197"/>
                      <a:pt x="14" y="200"/>
                    </a:cubicBezTo>
                    <a:cubicBezTo>
                      <a:pt x="23" y="182"/>
                      <a:pt x="7" y="182"/>
                      <a:pt x="11" y="163"/>
                    </a:cubicBezTo>
                    <a:cubicBezTo>
                      <a:pt x="11" y="163"/>
                      <a:pt x="0" y="155"/>
                      <a:pt x="14" y="130"/>
                    </a:cubicBezTo>
                    <a:cubicBezTo>
                      <a:pt x="22" y="124"/>
                      <a:pt x="18" y="108"/>
                      <a:pt x="29" y="97"/>
                    </a:cubicBezTo>
                    <a:cubicBezTo>
                      <a:pt x="39" y="92"/>
                      <a:pt x="36" y="83"/>
                      <a:pt x="43" y="82"/>
                    </a:cubicBezTo>
                    <a:cubicBezTo>
                      <a:pt x="43" y="82"/>
                      <a:pt x="53" y="75"/>
                      <a:pt x="52" y="66"/>
                    </a:cubicBezTo>
                    <a:cubicBezTo>
                      <a:pt x="52" y="66"/>
                      <a:pt x="47" y="53"/>
                      <a:pt x="78" y="60"/>
                    </a:cubicBezTo>
                    <a:cubicBezTo>
                      <a:pt x="78" y="60"/>
                      <a:pt x="89" y="75"/>
                      <a:pt x="91" y="59"/>
                    </a:cubicBezTo>
                    <a:cubicBezTo>
                      <a:pt x="91" y="59"/>
                      <a:pt x="97" y="45"/>
                      <a:pt x="131" y="56"/>
                    </a:cubicBezTo>
                    <a:cubicBezTo>
                      <a:pt x="131" y="56"/>
                      <a:pt x="159" y="52"/>
                      <a:pt x="161" y="61"/>
                    </a:cubicBezTo>
                    <a:cubicBezTo>
                      <a:pt x="161" y="61"/>
                      <a:pt x="155" y="71"/>
                      <a:pt x="176" y="65"/>
                    </a:cubicBezTo>
                    <a:cubicBezTo>
                      <a:pt x="176" y="65"/>
                      <a:pt x="183" y="69"/>
                      <a:pt x="203" y="52"/>
                    </a:cubicBezTo>
                    <a:cubicBezTo>
                      <a:pt x="203" y="38"/>
                      <a:pt x="209" y="38"/>
                      <a:pt x="210" y="24"/>
                    </a:cubicBezTo>
                    <a:cubicBezTo>
                      <a:pt x="210" y="24"/>
                      <a:pt x="200" y="7"/>
                      <a:pt x="231" y="16"/>
                    </a:cubicBezTo>
                    <a:cubicBezTo>
                      <a:pt x="231" y="16"/>
                      <a:pt x="249" y="28"/>
                      <a:pt x="257" y="24"/>
                    </a:cubicBezTo>
                    <a:cubicBezTo>
                      <a:pt x="273" y="24"/>
                      <a:pt x="270" y="27"/>
                      <a:pt x="295" y="8"/>
                    </a:cubicBezTo>
                    <a:cubicBezTo>
                      <a:pt x="295" y="8"/>
                      <a:pt x="296" y="0"/>
                      <a:pt x="327" y="4"/>
                    </a:cubicBezTo>
                    <a:cubicBezTo>
                      <a:pt x="322" y="11"/>
                      <a:pt x="319" y="24"/>
                      <a:pt x="319" y="24"/>
                    </a:cubicBezTo>
                    <a:cubicBezTo>
                      <a:pt x="309" y="46"/>
                      <a:pt x="318" y="49"/>
                      <a:pt x="318" y="49"/>
                    </a:cubicBezTo>
                    <a:cubicBezTo>
                      <a:pt x="330" y="53"/>
                      <a:pt x="330" y="61"/>
                      <a:pt x="330" y="61"/>
                    </a:cubicBezTo>
                    <a:cubicBezTo>
                      <a:pt x="331" y="65"/>
                      <a:pt x="318" y="59"/>
                      <a:pt x="321" y="71"/>
                    </a:cubicBezTo>
                    <a:cubicBezTo>
                      <a:pt x="317" y="75"/>
                      <a:pt x="319" y="79"/>
                      <a:pt x="319" y="79"/>
                    </a:cubicBezTo>
                    <a:cubicBezTo>
                      <a:pt x="322" y="90"/>
                      <a:pt x="307" y="87"/>
                      <a:pt x="307" y="87"/>
                    </a:cubicBezTo>
                    <a:cubicBezTo>
                      <a:pt x="296" y="90"/>
                      <a:pt x="292" y="103"/>
                      <a:pt x="292" y="103"/>
                    </a:cubicBezTo>
                    <a:cubicBezTo>
                      <a:pt x="278" y="114"/>
                      <a:pt x="295" y="132"/>
                      <a:pt x="295" y="132"/>
                    </a:cubicBezTo>
                    <a:cubicBezTo>
                      <a:pt x="300" y="132"/>
                      <a:pt x="297" y="151"/>
                      <a:pt x="297" y="151"/>
                    </a:cubicBezTo>
                    <a:cubicBezTo>
                      <a:pt x="305" y="162"/>
                      <a:pt x="292" y="158"/>
                      <a:pt x="293" y="175"/>
                    </a:cubicBezTo>
                    <a:cubicBezTo>
                      <a:pt x="297" y="191"/>
                      <a:pt x="285" y="189"/>
                      <a:pt x="285" y="189"/>
                    </a:cubicBezTo>
                    <a:cubicBezTo>
                      <a:pt x="291" y="206"/>
                      <a:pt x="289" y="216"/>
                      <a:pt x="289" y="216"/>
                    </a:cubicBezTo>
                    <a:cubicBezTo>
                      <a:pt x="287" y="222"/>
                      <a:pt x="275" y="217"/>
                      <a:pt x="278" y="230"/>
                    </a:cubicBezTo>
                    <a:cubicBezTo>
                      <a:pt x="274" y="240"/>
                      <a:pt x="285" y="243"/>
                      <a:pt x="285" y="243"/>
                    </a:cubicBezTo>
                    <a:cubicBezTo>
                      <a:pt x="291" y="240"/>
                      <a:pt x="287" y="252"/>
                      <a:pt x="294" y="251"/>
                    </a:cubicBezTo>
                    <a:cubicBezTo>
                      <a:pt x="300" y="251"/>
                      <a:pt x="297" y="244"/>
                      <a:pt x="306" y="245"/>
                    </a:cubicBezTo>
                    <a:cubicBezTo>
                      <a:pt x="296" y="258"/>
                      <a:pt x="306" y="264"/>
                      <a:pt x="306" y="264"/>
                    </a:cubicBezTo>
                    <a:cubicBezTo>
                      <a:pt x="305" y="274"/>
                      <a:pt x="296" y="276"/>
                      <a:pt x="297" y="284"/>
                    </a:cubicBezTo>
                    <a:cubicBezTo>
                      <a:pt x="296" y="291"/>
                      <a:pt x="306" y="299"/>
                      <a:pt x="300" y="309"/>
                    </a:cubicBezTo>
                    <a:cubicBezTo>
                      <a:pt x="300" y="327"/>
                      <a:pt x="292" y="339"/>
                      <a:pt x="292" y="339"/>
                    </a:cubicBezTo>
                    <a:cubicBezTo>
                      <a:pt x="292" y="347"/>
                      <a:pt x="279" y="357"/>
                      <a:pt x="279" y="357"/>
                    </a:cubicBezTo>
                    <a:cubicBezTo>
                      <a:pt x="270" y="371"/>
                      <a:pt x="259" y="368"/>
                      <a:pt x="259" y="368"/>
                    </a:cubicBezTo>
                    <a:cubicBezTo>
                      <a:pt x="237" y="377"/>
                      <a:pt x="227" y="368"/>
                      <a:pt x="227" y="368"/>
                    </a:cubicBezTo>
                    <a:cubicBezTo>
                      <a:pt x="217" y="358"/>
                      <a:pt x="205" y="368"/>
                      <a:pt x="205" y="368"/>
                    </a:cubicBezTo>
                    <a:cubicBezTo>
                      <a:pt x="197" y="381"/>
                      <a:pt x="185" y="376"/>
                      <a:pt x="185" y="376"/>
                    </a:cubicBezTo>
                    <a:cubicBezTo>
                      <a:pt x="185" y="376"/>
                      <a:pt x="185" y="376"/>
                      <a:pt x="185" y="376"/>
                    </a:cubicBezTo>
                    <a:close/>
                  </a:path>
                </a:pathLst>
              </a:custGeom>
              <a:solidFill>
                <a:srgbClr val="EEBB0D">
                  <a:alpha val="87059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40" name="Freeform 47"/>
              <p:cNvSpPr>
                <a:spLocks/>
              </p:cNvSpPr>
              <p:nvPr/>
            </p:nvSpPr>
            <p:spPr bwMode="auto">
              <a:xfrm>
                <a:off x="3955809" y="2150621"/>
                <a:ext cx="912605" cy="1044831"/>
              </a:xfrm>
              <a:custGeom>
                <a:avLst/>
                <a:gdLst/>
                <a:ahLst/>
                <a:cxnLst>
                  <a:cxn ang="0">
                    <a:pos x="45" y="33"/>
                  </a:cxn>
                  <a:cxn ang="0">
                    <a:pos x="56" y="70"/>
                  </a:cxn>
                  <a:cxn ang="0">
                    <a:pos x="45" y="88"/>
                  </a:cxn>
                  <a:cxn ang="0">
                    <a:pos x="18" y="112"/>
                  </a:cxn>
                  <a:cxn ang="0">
                    <a:pos x="23" y="160"/>
                  </a:cxn>
                  <a:cxn ang="0">
                    <a:pos x="11" y="198"/>
                  </a:cxn>
                  <a:cxn ang="0">
                    <a:pos x="4" y="239"/>
                  </a:cxn>
                  <a:cxn ang="0">
                    <a:pos x="20" y="260"/>
                  </a:cxn>
                  <a:cxn ang="0">
                    <a:pos x="32" y="273"/>
                  </a:cxn>
                  <a:cxn ang="0">
                    <a:pos x="26" y="318"/>
                  </a:cxn>
                  <a:cxn ang="0">
                    <a:pos x="35" y="348"/>
                  </a:cxn>
                  <a:cxn ang="0">
                    <a:pos x="90" y="355"/>
                  </a:cxn>
                  <a:cxn ang="0">
                    <a:pos x="123" y="352"/>
                  </a:cxn>
                  <a:cxn ang="0">
                    <a:pos x="155" y="342"/>
                  </a:cxn>
                  <a:cxn ang="0">
                    <a:pos x="173" y="391"/>
                  </a:cxn>
                  <a:cxn ang="0">
                    <a:pos x="183" y="407"/>
                  </a:cxn>
                  <a:cxn ang="0">
                    <a:pos x="212" y="410"/>
                  </a:cxn>
                  <a:cxn ang="0">
                    <a:pos x="253" y="400"/>
                  </a:cxn>
                  <a:cxn ang="0">
                    <a:pos x="300" y="376"/>
                  </a:cxn>
                  <a:cxn ang="0">
                    <a:pos x="313" y="361"/>
                  </a:cxn>
                  <a:cxn ang="0">
                    <a:pos x="293" y="322"/>
                  </a:cxn>
                  <a:cxn ang="0">
                    <a:pos x="288" y="283"/>
                  </a:cxn>
                  <a:cxn ang="0">
                    <a:pos x="276" y="248"/>
                  </a:cxn>
                  <a:cxn ang="0">
                    <a:pos x="254" y="229"/>
                  </a:cxn>
                  <a:cxn ang="0">
                    <a:pos x="198" y="218"/>
                  </a:cxn>
                  <a:cxn ang="0">
                    <a:pos x="164" y="211"/>
                  </a:cxn>
                  <a:cxn ang="0">
                    <a:pos x="150" y="189"/>
                  </a:cxn>
                  <a:cxn ang="0">
                    <a:pos x="138" y="145"/>
                  </a:cxn>
                  <a:cxn ang="0">
                    <a:pos x="168" y="116"/>
                  </a:cxn>
                  <a:cxn ang="0">
                    <a:pos x="127" y="69"/>
                  </a:cxn>
                  <a:cxn ang="0">
                    <a:pos x="102" y="20"/>
                  </a:cxn>
                  <a:cxn ang="0">
                    <a:pos x="66" y="26"/>
                  </a:cxn>
                  <a:cxn ang="0">
                    <a:pos x="53" y="13"/>
                  </a:cxn>
                </a:cxnLst>
                <a:rect l="0" t="0" r="r" b="b"/>
                <a:pathLst>
                  <a:path w="323" h="419">
                    <a:moveTo>
                      <a:pt x="53" y="13"/>
                    </a:moveTo>
                    <a:cubicBezTo>
                      <a:pt x="48" y="20"/>
                      <a:pt x="45" y="33"/>
                      <a:pt x="45" y="33"/>
                    </a:cubicBezTo>
                    <a:cubicBezTo>
                      <a:pt x="35" y="55"/>
                      <a:pt x="44" y="58"/>
                      <a:pt x="44" y="58"/>
                    </a:cubicBezTo>
                    <a:cubicBezTo>
                      <a:pt x="56" y="62"/>
                      <a:pt x="56" y="70"/>
                      <a:pt x="56" y="70"/>
                    </a:cubicBezTo>
                    <a:cubicBezTo>
                      <a:pt x="57" y="74"/>
                      <a:pt x="44" y="68"/>
                      <a:pt x="47" y="80"/>
                    </a:cubicBezTo>
                    <a:cubicBezTo>
                      <a:pt x="43" y="84"/>
                      <a:pt x="45" y="88"/>
                      <a:pt x="45" y="88"/>
                    </a:cubicBezTo>
                    <a:cubicBezTo>
                      <a:pt x="48" y="99"/>
                      <a:pt x="33" y="96"/>
                      <a:pt x="33" y="96"/>
                    </a:cubicBezTo>
                    <a:cubicBezTo>
                      <a:pt x="22" y="99"/>
                      <a:pt x="18" y="112"/>
                      <a:pt x="18" y="112"/>
                    </a:cubicBezTo>
                    <a:cubicBezTo>
                      <a:pt x="4" y="123"/>
                      <a:pt x="21" y="141"/>
                      <a:pt x="21" y="141"/>
                    </a:cubicBezTo>
                    <a:cubicBezTo>
                      <a:pt x="26" y="141"/>
                      <a:pt x="23" y="160"/>
                      <a:pt x="23" y="160"/>
                    </a:cubicBezTo>
                    <a:cubicBezTo>
                      <a:pt x="31" y="171"/>
                      <a:pt x="18" y="167"/>
                      <a:pt x="19" y="184"/>
                    </a:cubicBezTo>
                    <a:cubicBezTo>
                      <a:pt x="23" y="200"/>
                      <a:pt x="11" y="198"/>
                      <a:pt x="11" y="198"/>
                    </a:cubicBezTo>
                    <a:cubicBezTo>
                      <a:pt x="17" y="215"/>
                      <a:pt x="15" y="225"/>
                      <a:pt x="15" y="225"/>
                    </a:cubicBezTo>
                    <a:cubicBezTo>
                      <a:pt x="13" y="231"/>
                      <a:pt x="1" y="226"/>
                      <a:pt x="4" y="239"/>
                    </a:cubicBezTo>
                    <a:cubicBezTo>
                      <a:pt x="0" y="249"/>
                      <a:pt x="11" y="252"/>
                      <a:pt x="11" y="252"/>
                    </a:cubicBezTo>
                    <a:cubicBezTo>
                      <a:pt x="17" y="249"/>
                      <a:pt x="13" y="261"/>
                      <a:pt x="20" y="260"/>
                    </a:cubicBezTo>
                    <a:cubicBezTo>
                      <a:pt x="26" y="260"/>
                      <a:pt x="23" y="253"/>
                      <a:pt x="32" y="254"/>
                    </a:cubicBezTo>
                    <a:cubicBezTo>
                      <a:pt x="22" y="267"/>
                      <a:pt x="32" y="273"/>
                      <a:pt x="32" y="273"/>
                    </a:cubicBezTo>
                    <a:cubicBezTo>
                      <a:pt x="31" y="283"/>
                      <a:pt x="22" y="285"/>
                      <a:pt x="23" y="293"/>
                    </a:cubicBezTo>
                    <a:cubicBezTo>
                      <a:pt x="22" y="300"/>
                      <a:pt x="32" y="308"/>
                      <a:pt x="26" y="318"/>
                    </a:cubicBezTo>
                    <a:cubicBezTo>
                      <a:pt x="26" y="336"/>
                      <a:pt x="18" y="348"/>
                      <a:pt x="18" y="348"/>
                    </a:cubicBezTo>
                    <a:cubicBezTo>
                      <a:pt x="32" y="355"/>
                      <a:pt x="35" y="348"/>
                      <a:pt x="35" y="348"/>
                    </a:cubicBezTo>
                    <a:cubicBezTo>
                      <a:pt x="41" y="341"/>
                      <a:pt x="55" y="352"/>
                      <a:pt x="55" y="352"/>
                    </a:cubicBezTo>
                    <a:cubicBezTo>
                      <a:pt x="59" y="355"/>
                      <a:pt x="84" y="351"/>
                      <a:pt x="90" y="355"/>
                    </a:cubicBezTo>
                    <a:cubicBezTo>
                      <a:pt x="107" y="359"/>
                      <a:pt x="107" y="352"/>
                      <a:pt x="107" y="352"/>
                    </a:cubicBezTo>
                    <a:cubicBezTo>
                      <a:pt x="115" y="339"/>
                      <a:pt x="123" y="352"/>
                      <a:pt x="123" y="352"/>
                    </a:cubicBezTo>
                    <a:cubicBezTo>
                      <a:pt x="133" y="361"/>
                      <a:pt x="138" y="352"/>
                      <a:pt x="138" y="352"/>
                    </a:cubicBezTo>
                    <a:cubicBezTo>
                      <a:pt x="139" y="341"/>
                      <a:pt x="155" y="342"/>
                      <a:pt x="155" y="342"/>
                    </a:cubicBezTo>
                    <a:cubicBezTo>
                      <a:pt x="154" y="366"/>
                      <a:pt x="165" y="369"/>
                      <a:pt x="165" y="369"/>
                    </a:cubicBezTo>
                    <a:cubicBezTo>
                      <a:pt x="172" y="377"/>
                      <a:pt x="173" y="391"/>
                      <a:pt x="173" y="391"/>
                    </a:cubicBezTo>
                    <a:cubicBezTo>
                      <a:pt x="180" y="388"/>
                      <a:pt x="180" y="398"/>
                      <a:pt x="180" y="398"/>
                    </a:cubicBezTo>
                    <a:cubicBezTo>
                      <a:pt x="193" y="403"/>
                      <a:pt x="183" y="407"/>
                      <a:pt x="183" y="407"/>
                    </a:cubicBezTo>
                    <a:cubicBezTo>
                      <a:pt x="178" y="418"/>
                      <a:pt x="191" y="417"/>
                      <a:pt x="191" y="417"/>
                    </a:cubicBezTo>
                    <a:cubicBezTo>
                      <a:pt x="205" y="419"/>
                      <a:pt x="212" y="410"/>
                      <a:pt x="212" y="410"/>
                    </a:cubicBezTo>
                    <a:cubicBezTo>
                      <a:pt x="224" y="403"/>
                      <a:pt x="235" y="409"/>
                      <a:pt x="235" y="409"/>
                    </a:cubicBezTo>
                    <a:cubicBezTo>
                      <a:pt x="242" y="399"/>
                      <a:pt x="253" y="400"/>
                      <a:pt x="253" y="400"/>
                    </a:cubicBezTo>
                    <a:cubicBezTo>
                      <a:pt x="258" y="388"/>
                      <a:pt x="272" y="392"/>
                      <a:pt x="272" y="392"/>
                    </a:cubicBezTo>
                    <a:cubicBezTo>
                      <a:pt x="275" y="377"/>
                      <a:pt x="296" y="370"/>
                      <a:pt x="300" y="376"/>
                    </a:cubicBezTo>
                    <a:cubicBezTo>
                      <a:pt x="304" y="370"/>
                      <a:pt x="323" y="378"/>
                      <a:pt x="323" y="364"/>
                    </a:cubicBezTo>
                    <a:cubicBezTo>
                      <a:pt x="318" y="364"/>
                      <a:pt x="313" y="361"/>
                      <a:pt x="313" y="361"/>
                    </a:cubicBezTo>
                    <a:cubicBezTo>
                      <a:pt x="312" y="341"/>
                      <a:pt x="303" y="344"/>
                      <a:pt x="303" y="344"/>
                    </a:cubicBezTo>
                    <a:cubicBezTo>
                      <a:pt x="290" y="341"/>
                      <a:pt x="293" y="322"/>
                      <a:pt x="293" y="322"/>
                    </a:cubicBezTo>
                    <a:cubicBezTo>
                      <a:pt x="281" y="311"/>
                      <a:pt x="297" y="315"/>
                      <a:pt x="296" y="300"/>
                    </a:cubicBezTo>
                    <a:cubicBezTo>
                      <a:pt x="296" y="289"/>
                      <a:pt x="287" y="287"/>
                      <a:pt x="288" y="283"/>
                    </a:cubicBezTo>
                    <a:cubicBezTo>
                      <a:pt x="279" y="276"/>
                      <a:pt x="279" y="263"/>
                      <a:pt x="279" y="263"/>
                    </a:cubicBezTo>
                    <a:cubicBezTo>
                      <a:pt x="269" y="255"/>
                      <a:pt x="276" y="248"/>
                      <a:pt x="276" y="248"/>
                    </a:cubicBezTo>
                    <a:cubicBezTo>
                      <a:pt x="285" y="240"/>
                      <a:pt x="268" y="242"/>
                      <a:pt x="268" y="242"/>
                    </a:cubicBezTo>
                    <a:cubicBezTo>
                      <a:pt x="257" y="248"/>
                      <a:pt x="254" y="229"/>
                      <a:pt x="254" y="229"/>
                    </a:cubicBezTo>
                    <a:cubicBezTo>
                      <a:pt x="254" y="205"/>
                      <a:pt x="231" y="215"/>
                      <a:pt x="231" y="215"/>
                    </a:cubicBezTo>
                    <a:cubicBezTo>
                      <a:pt x="215" y="227"/>
                      <a:pt x="198" y="218"/>
                      <a:pt x="198" y="218"/>
                    </a:cubicBezTo>
                    <a:cubicBezTo>
                      <a:pt x="192" y="207"/>
                      <a:pt x="180" y="211"/>
                      <a:pt x="180" y="211"/>
                    </a:cubicBezTo>
                    <a:cubicBezTo>
                      <a:pt x="172" y="202"/>
                      <a:pt x="164" y="211"/>
                      <a:pt x="164" y="211"/>
                    </a:cubicBezTo>
                    <a:cubicBezTo>
                      <a:pt x="139" y="217"/>
                      <a:pt x="154" y="205"/>
                      <a:pt x="154" y="205"/>
                    </a:cubicBezTo>
                    <a:cubicBezTo>
                      <a:pt x="164" y="187"/>
                      <a:pt x="150" y="189"/>
                      <a:pt x="150" y="189"/>
                    </a:cubicBezTo>
                    <a:cubicBezTo>
                      <a:pt x="144" y="190"/>
                      <a:pt x="149" y="168"/>
                      <a:pt x="149" y="168"/>
                    </a:cubicBezTo>
                    <a:cubicBezTo>
                      <a:pt x="149" y="155"/>
                      <a:pt x="138" y="145"/>
                      <a:pt x="138" y="145"/>
                    </a:cubicBezTo>
                    <a:cubicBezTo>
                      <a:pt x="124" y="134"/>
                      <a:pt x="150" y="128"/>
                      <a:pt x="150" y="128"/>
                    </a:cubicBezTo>
                    <a:cubicBezTo>
                      <a:pt x="169" y="128"/>
                      <a:pt x="168" y="116"/>
                      <a:pt x="168" y="116"/>
                    </a:cubicBezTo>
                    <a:cubicBezTo>
                      <a:pt x="169" y="106"/>
                      <a:pt x="149" y="95"/>
                      <a:pt x="149" y="95"/>
                    </a:cubicBezTo>
                    <a:cubicBezTo>
                      <a:pt x="129" y="84"/>
                      <a:pt x="127" y="69"/>
                      <a:pt x="127" y="69"/>
                    </a:cubicBezTo>
                    <a:cubicBezTo>
                      <a:pt x="118" y="55"/>
                      <a:pt x="139" y="51"/>
                      <a:pt x="119" y="40"/>
                    </a:cubicBezTo>
                    <a:cubicBezTo>
                      <a:pt x="109" y="40"/>
                      <a:pt x="102" y="20"/>
                      <a:pt x="102" y="20"/>
                    </a:cubicBezTo>
                    <a:cubicBezTo>
                      <a:pt x="92" y="0"/>
                      <a:pt x="84" y="13"/>
                      <a:pt x="84" y="13"/>
                    </a:cubicBezTo>
                    <a:cubicBezTo>
                      <a:pt x="73" y="13"/>
                      <a:pt x="66" y="26"/>
                      <a:pt x="66" y="26"/>
                    </a:cubicBezTo>
                    <a:cubicBezTo>
                      <a:pt x="58" y="29"/>
                      <a:pt x="68" y="10"/>
                      <a:pt x="53" y="13"/>
                    </a:cubicBezTo>
                    <a:cubicBezTo>
                      <a:pt x="53" y="13"/>
                      <a:pt x="53" y="13"/>
                      <a:pt x="53" y="13"/>
                    </a:cubicBezTo>
                    <a:close/>
                  </a:path>
                </a:pathLst>
              </a:custGeom>
              <a:solidFill>
                <a:srgbClr val="EEBB0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41" name="Freeform 46"/>
              <p:cNvSpPr>
                <a:spLocks/>
              </p:cNvSpPr>
              <p:nvPr/>
            </p:nvSpPr>
            <p:spPr bwMode="auto">
              <a:xfrm>
                <a:off x="3698809" y="2996437"/>
                <a:ext cx="1132889" cy="827721"/>
              </a:xfrm>
              <a:custGeom>
                <a:avLst/>
                <a:gdLst/>
                <a:ahLst/>
                <a:cxnLst>
                  <a:cxn ang="0">
                    <a:pos x="326" y="70"/>
                  </a:cxn>
                  <a:cxn ang="0">
                    <a:pos x="324" y="92"/>
                  </a:cxn>
                  <a:cxn ang="0">
                    <a:pos x="327" y="112"/>
                  </a:cxn>
                  <a:cxn ang="0">
                    <a:pos x="349" y="123"/>
                  </a:cxn>
                  <a:cxn ang="0">
                    <a:pos x="363" y="137"/>
                  </a:cxn>
                  <a:cxn ang="0">
                    <a:pos x="383" y="152"/>
                  </a:cxn>
                  <a:cxn ang="0">
                    <a:pos x="393" y="160"/>
                  </a:cxn>
                  <a:cxn ang="0">
                    <a:pos x="390" y="185"/>
                  </a:cxn>
                  <a:cxn ang="0">
                    <a:pos x="383" y="198"/>
                  </a:cxn>
                  <a:cxn ang="0">
                    <a:pos x="380" y="216"/>
                  </a:cxn>
                  <a:cxn ang="0">
                    <a:pos x="359" y="221"/>
                  </a:cxn>
                  <a:cxn ang="0">
                    <a:pos x="343" y="246"/>
                  </a:cxn>
                  <a:cxn ang="0">
                    <a:pos x="315" y="250"/>
                  </a:cxn>
                  <a:cxn ang="0">
                    <a:pos x="285" y="265"/>
                  </a:cxn>
                  <a:cxn ang="0">
                    <a:pos x="270" y="284"/>
                  </a:cxn>
                  <a:cxn ang="0">
                    <a:pos x="266" y="301"/>
                  </a:cxn>
                  <a:cxn ang="0">
                    <a:pos x="263" y="321"/>
                  </a:cxn>
                  <a:cxn ang="0">
                    <a:pos x="242" y="318"/>
                  </a:cxn>
                  <a:cxn ang="0">
                    <a:pos x="219" y="307"/>
                  </a:cxn>
                  <a:cxn ang="0">
                    <a:pos x="185" y="299"/>
                  </a:cxn>
                  <a:cxn ang="0">
                    <a:pos x="168" y="298"/>
                  </a:cxn>
                  <a:cxn ang="0">
                    <a:pos x="150" y="284"/>
                  </a:cxn>
                  <a:cxn ang="0">
                    <a:pos x="136" y="273"/>
                  </a:cxn>
                  <a:cxn ang="0">
                    <a:pos x="126" y="260"/>
                  </a:cxn>
                  <a:cxn ang="0">
                    <a:pos x="96" y="249"/>
                  </a:cxn>
                  <a:cxn ang="0">
                    <a:pos x="84" y="240"/>
                  </a:cxn>
                  <a:cxn ang="0">
                    <a:pos x="75" y="210"/>
                  </a:cxn>
                  <a:cxn ang="0">
                    <a:pos x="74" y="188"/>
                  </a:cxn>
                  <a:cxn ang="0">
                    <a:pos x="73" y="174"/>
                  </a:cxn>
                  <a:cxn ang="0">
                    <a:pos x="58" y="161"/>
                  </a:cxn>
                  <a:cxn ang="0">
                    <a:pos x="43" y="143"/>
                  </a:cxn>
                  <a:cxn ang="0">
                    <a:pos x="36" y="128"/>
                  </a:cxn>
                  <a:cxn ang="0">
                    <a:pos x="34" y="110"/>
                  </a:cxn>
                  <a:cxn ang="0">
                    <a:pos x="24" y="99"/>
                  </a:cxn>
                  <a:cxn ang="0">
                    <a:pos x="15" y="79"/>
                  </a:cxn>
                  <a:cxn ang="0">
                    <a:pos x="0" y="63"/>
                  </a:cxn>
                  <a:cxn ang="0">
                    <a:pos x="3" y="46"/>
                  </a:cxn>
                  <a:cxn ang="0">
                    <a:pos x="22" y="38"/>
                  </a:cxn>
                  <a:cxn ang="0">
                    <a:pos x="44" y="38"/>
                  </a:cxn>
                  <a:cxn ang="0">
                    <a:pos x="76" y="38"/>
                  </a:cxn>
                  <a:cxn ang="0">
                    <a:pos x="96" y="27"/>
                  </a:cxn>
                  <a:cxn ang="0">
                    <a:pos x="109" y="9"/>
                  </a:cxn>
                  <a:cxn ang="0">
                    <a:pos x="126" y="9"/>
                  </a:cxn>
                  <a:cxn ang="0">
                    <a:pos x="146" y="13"/>
                  </a:cxn>
                  <a:cxn ang="0">
                    <a:pos x="181" y="16"/>
                  </a:cxn>
                  <a:cxn ang="0">
                    <a:pos x="198" y="13"/>
                  </a:cxn>
                  <a:cxn ang="0">
                    <a:pos x="214" y="13"/>
                  </a:cxn>
                  <a:cxn ang="0">
                    <a:pos x="229" y="13"/>
                  </a:cxn>
                  <a:cxn ang="0">
                    <a:pos x="246" y="3"/>
                  </a:cxn>
                  <a:cxn ang="0">
                    <a:pos x="256" y="30"/>
                  </a:cxn>
                  <a:cxn ang="0">
                    <a:pos x="264" y="52"/>
                  </a:cxn>
                  <a:cxn ang="0">
                    <a:pos x="271" y="59"/>
                  </a:cxn>
                  <a:cxn ang="0">
                    <a:pos x="274" y="68"/>
                  </a:cxn>
                  <a:cxn ang="0">
                    <a:pos x="282" y="78"/>
                  </a:cxn>
                  <a:cxn ang="0">
                    <a:pos x="303" y="71"/>
                  </a:cxn>
                  <a:cxn ang="0">
                    <a:pos x="326" y="70"/>
                  </a:cxn>
                  <a:cxn ang="0">
                    <a:pos x="326" y="70"/>
                  </a:cxn>
                </a:cxnLst>
                <a:rect l="0" t="0" r="r" b="b"/>
                <a:pathLst>
                  <a:path w="400" h="331">
                    <a:moveTo>
                      <a:pt x="326" y="70"/>
                    </a:moveTo>
                    <a:cubicBezTo>
                      <a:pt x="329" y="84"/>
                      <a:pt x="324" y="92"/>
                      <a:pt x="324" y="92"/>
                    </a:cubicBezTo>
                    <a:cubicBezTo>
                      <a:pt x="312" y="108"/>
                      <a:pt x="327" y="112"/>
                      <a:pt x="327" y="112"/>
                    </a:cubicBezTo>
                    <a:cubicBezTo>
                      <a:pt x="331" y="119"/>
                      <a:pt x="340" y="110"/>
                      <a:pt x="349" y="123"/>
                    </a:cubicBezTo>
                    <a:cubicBezTo>
                      <a:pt x="369" y="122"/>
                      <a:pt x="363" y="137"/>
                      <a:pt x="363" y="137"/>
                    </a:cubicBezTo>
                    <a:cubicBezTo>
                      <a:pt x="368" y="158"/>
                      <a:pt x="383" y="152"/>
                      <a:pt x="383" y="152"/>
                    </a:cubicBezTo>
                    <a:cubicBezTo>
                      <a:pt x="393" y="146"/>
                      <a:pt x="393" y="160"/>
                      <a:pt x="393" y="160"/>
                    </a:cubicBezTo>
                    <a:cubicBezTo>
                      <a:pt x="400" y="187"/>
                      <a:pt x="390" y="185"/>
                      <a:pt x="390" y="185"/>
                    </a:cubicBezTo>
                    <a:cubicBezTo>
                      <a:pt x="375" y="183"/>
                      <a:pt x="383" y="198"/>
                      <a:pt x="383" y="198"/>
                    </a:cubicBezTo>
                    <a:cubicBezTo>
                      <a:pt x="392" y="203"/>
                      <a:pt x="380" y="216"/>
                      <a:pt x="380" y="216"/>
                    </a:cubicBezTo>
                    <a:cubicBezTo>
                      <a:pt x="373" y="224"/>
                      <a:pt x="359" y="221"/>
                      <a:pt x="359" y="221"/>
                    </a:cubicBezTo>
                    <a:cubicBezTo>
                      <a:pt x="329" y="211"/>
                      <a:pt x="343" y="246"/>
                      <a:pt x="343" y="246"/>
                    </a:cubicBezTo>
                    <a:cubicBezTo>
                      <a:pt x="333" y="251"/>
                      <a:pt x="322" y="243"/>
                      <a:pt x="315" y="250"/>
                    </a:cubicBezTo>
                    <a:cubicBezTo>
                      <a:pt x="311" y="254"/>
                      <a:pt x="298" y="251"/>
                      <a:pt x="285" y="265"/>
                    </a:cubicBezTo>
                    <a:cubicBezTo>
                      <a:pt x="272" y="264"/>
                      <a:pt x="270" y="284"/>
                      <a:pt x="270" y="284"/>
                    </a:cubicBezTo>
                    <a:cubicBezTo>
                      <a:pt x="256" y="298"/>
                      <a:pt x="266" y="301"/>
                      <a:pt x="266" y="301"/>
                    </a:cubicBezTo>
                    <a:cubicBezTo>
                      <a:pt x="270" y="314"/>
                      <a:pt x="263" y="321"/>
                      <a:pt x="263" y="321"/>
                    </a:cubicBezTo>
                    <a:cubicBezTo>
                      <a:pt x="263" y="321"/>
                      <a:pt x="260" y="331"/>
                      <a:pt x="242" y="318"/>
                    </a:cubicBezTo>
                    <a:cubicBezTo>
                      <a:pt x="242" y="318"/>
                      <a:pt x="227" y="311"/>
                      <a:pt x="219" y="307"/>
                    </a:cubicBezTo>
                    <a:cubicBezTo>
                      <a:pt x="219" y="307"/>
                      <a:pt x="215" y="294"/>
                      <a:pt x="185" y="299"/>
                    </a:cubicBezTo>
                    <a:cubicBezTo>
                      <a:pt x="185" y="299"/>
                      <a:pt x="175" y="302"/>
                      <a:pt x="168" y="298"/>
                    </a:cubicBezTo>
                    <a:cubicBezTo>
                      <a:pt x="162" y="292"/>
                      <a:pt x="154" y="304"/>
                      <a:pt x="150" y="284"/>
                    </a:cubicBezTo>
                    <a:cubicBezTo>
                      <a:pt x="150" y="284"/>
                      <a:pt x="152" y="273"/>
                      <a:pt x="136" y="273"/>
                    </a:cubicBezTo>
                    <a:cubicBezTo>
                      <a:pt x="136" y="273"/>
                      <a:pt x="132" y="266"/>
                      <a:pt x="126" y="260"/>
                    </a:cubicBezTo>
                    <a:cubicBezTo>
                      <a:pt x="126" y="260"/>
                      <a:pt x="120" y="250"/>
                      <a:pt x="96" y="249"/>
                    </a:cubicBezTo>
                    <a:cubicBezTo>
                      <a:pt x="96" y="249"/>
                      <a:pt x="92" y="242"/>
                      <a:pt x="84" y="240"/>
                    </a:cubicBezTo>
                    <a:cubicBezTo>
                      <a:pt x="84" y="240"/>
                      <a:pt x="85" y="222"/>
                      <a:pt x="75" y="210"/>
                    </a:cubicBezTo>
                    <a:cubicBezTo>
                      <a:pt x="75" y="210"/>
                      <a:pt x="65" y="199"/>
                      <a:pt x="74" y="188"/>
                    </a:cubicBezTo>
                    <a:cubicBezTo>
                      <a:pt x="74" y="188"/>
                      <a:pt x="87" y="187"/>
                      <a:pt x="73" y="174"/>
                    </a:cubicBezTo>
                    <a:cubicBezTo>
                      <a:pt x="73" y="174"/>
                      <a:pt x="75" y="164"/>
                      <a:pt x="58" y="161"/>
                    </a:cubicBezTo>
                    <a:cubicBezTo>
                      <a:pt x="58" y="161"/>
                      <a:pt x="58" y="149"/>
                      <a:pt x="43" y="143"/>
                    </a:cubicBezTo>
                    <a:cubicBezTo>
                      <a:pt x="43" y="143"/>
                      <a:pt x="23" y="130"/>
                      <a:pt x="36" y="128"/>
                    </a:cubicBezTo>
                    <a:cubicBezTo>
                      <a:pt x="36" y="128"/>
                      <a:pt x="40" y="115"/>
                      <a:pt x="34" y="110"/>
                    </a:cubicBezTo>
                    <a:cubicBezTo>
                      <a:pt x="34" y="110"/>
                      <a:pt x="32" y="99"/>
                      <a:pt x="24" y="99"/>
                    </a:cubicBezTo>
                    <a:cubicBezTo>
                      <a:pt x="24" y="99"/>
                      <a:pt x="15" y="101"/>
                      <a:pt x="15" y="79"/>
                    </a:cubicBezTo>
                    <a:cubicBezTo>
                      <a:pt x="15" y="79"/>
                      <a:pt x="0" y="78"/>
                      <a:pt x="0" y="63"/>
                    </a:cubicBezTo>
                    <a:cubicBezTo>
                      <a:pt x="0" y="63"/>
                      <a:pt x="5" y="58"/>
                      <a:pt x="3" y="46"/>
                    </a:cubicBezTo>
                    <a:cubicBezTo>
                      <a:pt x="3" y="46"/>
                      <a:pt x="14" y="51"/>
                      <a:pt x="22" y="38"/>
                    </a:cubicBezTo>
                    <a:cubicBezTo>
                      <a:pt x="22" y="38"/>
                      <a:pt x="34" y="28"/>
                      <a:pt x="44" y="38"/>
                    </a:cubicBezTo>
                    <a:cubicBezTo>
                      <a:pt x="44" y="38"/>
                      <a:pt x="54" y="47"/>
                      <a:pt x="76" y="38"/>
                    </a:cubicBezTo>
                    <a:cubicBezTo>
                      <a:pt x="76" y="38"/>
                      <a:pt x="87" y="41"/>
                      <a:pt x="96" y="27"/>
                    </a:cubicBezTo>
                    <a:cubicBezTo>
                      <a:pt x="96" y="27"/>
                      <a:pt x="109" y="17"/>
                      <a:pt x="109" y="9"/>
                    </a:cubicBezTo>
                    <a:cubicBezTo>
                      <a:pt x="123" y="16"/>
                      <a:pt x="126" y="9"/>
                      <a:pt x="126" y="9"/>
                    </a:cubicBezTo>
                    <a:cubicBezTo>
                      <a:pt x="132" y="2"/>
                      <a:pt x="146" y="13"/>
                      <a:pt x="146" y="13"/>
                    </a:cubicBezTo>
                    <a:cubicBezTo>
                      <a:pt x="150" y="16"/>
                      <a:pt x="175" y="12"/>
                      <a:pt x="181" y="16"/>
                    </a:cubicBezTo>
                    <a:cubicBezTo>
                      <a:pt x="198" y="20"/>
                      <a:pt x="198" y="13"/>
                      <a:pt x="198" y="13"/>
                    </a:cubicBezTo>
                    <a:cubicBezTo>
                      <a:pt x="206" y="0"/>
                      <a:pt x="214" y="13"/>
                      <a:pt x="214" y="13"/>
                    </a:cubicBezTo>
                    <a:cubicBezTo>
                      <a:pt x="224" y="22"/>
                      <a:pt x="229" y="13"/>
                      <a:pt x="229" y="13"/>
                    </a:cubicBezTo>
                    <a:cubicBezTo>
                      <a:pt x="230" y="2"/>
                      <a:pt x="246" y="3"/>
                      <a:pt x="246" y="3"/>
                    </a:cubicBezTo>
                    <a:cubicBezTo>
                      <a:pt x="245" y="27"/>
                      <a:pt x="256" y="30"/>
                      <a:pt x="256" y="30"/>
                    </a:cubicBezTo>
                    <a:cubicBezTo>
                      <a:pt x="263" y="38"/>
                      <a:pt x="264" y="52"/>
                      <a:pt x="264" y="52"/>
                    </a:cubicBezTo>
                    <a:cubicBezTo>
                      <a:pt x="271" y="49"/>
                      <a:pt x="271" y="59"/>
                      <a:pt x="271" y="59"/>
                    </a:cubicBezTo>
                    <a:cubicBezTo>
                      <a:pt x="284" y="64"/>
                      <a:pt x="274" y="68"/>
                      <a:pt x="274" y="68"/>
                    </a:cubicBezTo>
                    <a:cubicBezTo>
                      <a:pt x="269" y="79"/>
                      <a:pt x="282" y="78"/>
                      <a:pt x="282" y="78"/>
                    </a:cubicBezTo>
                    <a:cubicBezTo>
                      <a:pt x="296" y="80"/>
                      <a:pt x="303" y="71"/>
                      <a:pt x="303" y="71"/>
                    </a:cubicBezTo>
                    <a:cubicBezTo>
                      <a:pt x="315" y="64"/>
                      <a:pt x="326" y="70"/>
                      <a:pt x="326" y="70"/>
                    </a:cubicBezTo>
                    <a:cubicBezTo>
                      <a:pt x="326" y="70"/>
                      <a:pt x="326" y="70"/>
                      <a:pt x="326" y="70"/>
                    </a:cubicBezTo>
                    <a:close/>
                  </a:path>
                </a:pathLst>
              </a:custGeom>
              <a:solidFill>
                <a:srgbClr val="EEBB0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42" name="Freeform 45"/>
              <p:cNvSpPr>
                <a:spLocks/>
              </p:cNvSpPr>
              <p:nvPr/>
            </p:nvSpPr>
            <p:spPr bwMode="auto">
              <a:xfrm>
                <a:off x="4579945" y="2978345"/>
                <a:ext cx="1090930" cy="918182"/>
              </a:xfrm>
              <a:custGeom>
                <a:avLst/>
                <a:gdLst/>
                <a:ahLst/>
                <a:cxnLst>
                  <a:cxn ang="0">
                    <a:pos x="102" y="33"/>
                  </a:cxn>
                  <a:cxn ang="0">
                    <a:pos x="79" y="45"/>
                  </a:cxn>
                  <a:cxn ang="0">
                    <a:pos x="51" y="61"/>
                  </a:cxn>
                  <a:cxn ang="0">
                    <a:pos x="32" y="69"/>
                  </a:cxn>
                  <a:cxn ang="0">
                    <a:pos x="14" y="77"/>
                  </a:cxn>
                  <a:cxn ang="0">
                    <a:pos x="12" y="100"/>
                  </a:cxn>
                  <a:cxn ang="0">
                    <a:pos x="15" y="120"/>
                  </a:cxn>
                  <a:cxn ang="0">
                    <a:pos x="37" y="131"/>
                  </a:cxn>
                  <a:cxn ang="0">
                    <a:pos x="51" y="145"/>
                  </a:cxn>
                  <a:cxn ang="0">
                    <a:pos x="71" y="160"/>
                  </a:cxn>
                  <a:cxn ang="0">
                    <a:pos x="81" y="168"/>
                  </a:cxn>
                  <a:cxn ang="0">
                    <a:pos x="78" y="193"/>
                  </a:cxn>
                  <a:cxn ang="0">
                    <a:pos x="71" y="206"/>
                  </a:cxn>
                  <a:cxn ang="0">
                    <a:pos x="68" y="224"/>
                  </a:cxn>
                  <a:cxn ang="0">
                    <a:pos x="47" y="229"/>
                  </a:cxn>
                  <a:cxn ang="0">
                    <a:pos x="31" y="254"/>
                  </a:cxn>
                  <a:cxn ang="0">
                    <a:pos x="64" y="265"/>
                  </a:cxn>
                  <a:cxn ang="0">
                    <a:pos x="102" y="287"/>
                  </a:cxn>
                  <a:cxn ang="0">
                    <a:pos x="132" y="287"/>
                  </a:cxn>
                  <a:cxn ang="0">
                    <a:pos x="157" y="303"/>
                  </a:cxn>
                  <a:cxn ang="0">
                    <a:pos x="175" y="321"/>
                  </a:cxn>
                  <a:cxn ang="0">
                    <a:pos x="185" y="333"/>
                  </a:cxn>
                  <a:cxn ang="0">
                    <a:pos x="195" y="349"/>
                  </a:cxn>
                  <a:cxn ang="0">
                    <a:pos x="208" y="349"/>
                  </a:cxn>
                  <a:cxn ang="0">
                    <a:pos x="228" y="339"/>
                  </a:cxn>
                  <a:cxn ang="0">
                    <a:pos x="245" y="338"/>
                  </a:cxn>
                  <a:cxn ang="0">
                    <a:pos x="241" y="316"/>
                  </a:cxn>
                  <a:cxn ang="0">
                    <a:pos x="254" y="310"/>
                  </a:cxn>
                  <a:cxn ang="0">
                    <a:pos x="263" y="303"/>
                  </a:cxn>
                  <a:cxn ang="0">
                    <a:pos x="278" y="309"/>
                  </a:cxn>
                  <a:cxn ang="0">
                    <a:pos x="284" y="298"/>
                  </a:cxn>
                  <a:cxn ang="0">
                    <a:pos x="296" y="299"/>
                  </a:cxn>
                  <a:cxn ang="0">
                    <a:pos x="304" y="282"/>
                  </a:cxn>
                  <a:cxn ang="0">
                    <a:pos x="310" y="267"/>
                  </a:cxn>
                  <a:cxn ang="0">
                    <a:pos x="328" y="245"/>
                  </a:cxn>
                  <a:cxn ang="0">
                    <a:pos x="343" y="231"/>
                  </a:cxn>
                  <a:cxn ang="0">
                    <a:pos x="332" y="226"/>
                  </a:cxn>
                  <a:cxn ang="0">
                    <a:pos x="348" y="221"/>
                  </a:cxn>
                  <a:cxn ang="0">
                    <a:pos x="371" y="218"/>
                  </a:cxn>
                  <a:cxn ang="0">
                    <a:pos x="373" y="200"/>
                  </a:cxn>
                  <a:cxn ang="0">
                    <a:pos x="373" y="169"/>
                  </a:cxn>
                  <a:cxn ang="0">
                    <a:pos x="376" y="153"/>
                  </a:cxn>
                  <a:cxn ang="0">
                    <a:pos x="380" y="134"/>
                  </a:cxn>
                  <a:cxn ang="0">
                    <a:pos x="377" y="120"/>
                  </a:cxn>
                  <a:cxn ang="0">
                    <a:pos x="384" y="103"/>
                  </a:cxn>
                  <a:cxn ang="0">
                    <a:pos x="381" y="87"/>
                  </a:cxn>
                  <a:cxn ang="0">
                    <a:pos x="374" y="80"/>
                  </a:cxn>
                  <a:cxn ang="0">
                    <a:pos x="346" y="65"/>
                  </a:cxn>
                  <a:cxn ang="0">
                    <a:pos x="328" y="41"/>
                  </a:cxn>
                  <a:cxn ang="0">
                    <a:pos x="318" y="21"/>
                  </a:cxn>
                  <a:cxn ang="0">
                    <a:pos x="308" y="8"/>
                  </a:cxn>
                  <a:cxn ang="0">
                    <a:pos x="292" y="3"/>
                  </a:cxn>
                  <a:cxn ang="0">
                    <a:pos x="259" y="22"/>
                  </a:cxn>
                  <a:cxn ang="0">
                    <a:pos x="230" y="35"/>
                  </a:cxn>
                  <a:cxn ang="0">
                    <a:pos x="219" y="45"/>
                  </a:cxn>
                  <a:cxn ang="0">
                    <a:pos x="203" y="45"/>
                  </a:cxn>
                  <a:cxn ang="0">
                    <a:pos x="184" y="39"/>
                  </a:cxn>
                  <a:cxn ang="0">
                    <a:pos x="166" y="30"/>
                  </a:cxn>
                  <a:cxn ang="0">
                    <a:pos x="141" y="14"/>
                  </a:cxn>
                  <a:cxn ang="0">
                    <a:pos x="112" y="25"/>
                  </a:cxn>
                  <a:cxn ang="0">
                    <a:pos x="102" y="33"/>
                  </a:cxn>
                  <a:cxn ang="0">
                    <a:pos x="102" y="33"/>
                  </a:cxn>
                </a:cxnLst>
                <a:rect l="0" t="0" r="r" b="b"/>
                <a:pathLst>
                  <a:path w="385" h="369">
                    <a:moveTo>
                      <a:pt x="102" y="33"/>
                    </a:moveTo>
                    <a:cubicBezTo>
                      <a:pt x="102" y="47"/>
                      <a:pt x="83" y="39"/>
                      <a:pt x="79" y="45"/>
                    </a:cubicBezTo>
                    <a:cubicBezTo>
                      <a:pt x="75" y="39"/>
                      <a:pt x="54" y="46"/>
                      <a:pt x="51" y="61"/>
                    </a:cubicBezTo>
                    <a:cubicBezTo>
                      <a:pt x="51" y="61"/>
                      <a:pt x="37" y="57"/>
                      <a:pt x="32" y="69"/>
                    </a:cubicBezTo>
                    <a:cubicBezTo>
                      <a:pt x="32" y="69"/>
                      <a:pt x="21" y="68"/>
                      <a:pt x="14" y="77"/>
                    </a:cubicBezTo>
                    <a:cubicBezTo>
                      <a:pt x="17" y="91"/>
                      <a:pt x="12" y="100"/>
                      <a:pt x="12" y="100"/>
                    </a:cubicBezTo>
                    <a:cubicBezTo>
                      <a:pt x="0" y="116"/>
                      <a:pt x="15" y="120"/>
                      <a:pt x="15" y="120"/>
                    </a:cubicBezTo>
                    <a:cubicBezTo>
                      <a:pt x="19" y="127"/>
                      <a:pt x="28" y="118"/>
                      <a:pt x="37" y="131"/>
                    </a:cubicBezTo>
                    <a:cubicBezTo>
                      <a:pt x="57" y="130"/>
                      <a:pt x="51" y="145"/>
                      <a:pt x="51" y="145"/>
                    </a:cubicBezTo>
                    <a:cubicBezTo>
                      <a:pt x="56" y="166"/>
                      <a:pt x="71" y="160"/>
                      <a:pt x="71" y="160"/>
                    </a:cubicBezTo>
                    <a:cubicBezTo>
                      <a:pt x="81" y="154"/>
                      <a:pt x="81" y="168"/>
                      <a:pt x="81" y="168"/>
                    </a:cubicBezTo>
                    <a:cubicBezTo>
                      <a:pt x="88" y="195"/>
                      <a:pt x="78" y="193"/>
                      <a:pt x="78" y="193"/>
                    </a:cubicBezTo>
                    <a:cubicBezTo>
                      <a:pt x="63" y="191"/>
                      <a:pt x="71" y="206"/>
                      <a:pt x="71" y="206"/>
                    </a:cubicBezTo>
                    <a:cubicBezTo>
                      <a:pt x="80" y="211"/>
                      <a:pt x="68" y="224"/>
                      <a:pt x="68" y="224"/>
                    </a:cubicBezTo>
                    <a:cubicBezTo>
                      <a:pt x="61" y="232"/>
                      <a:pt x="47" y="229"/>
                      <a:pt x="47" y="229"/>
                    </a:cubicBezTo>
                    <a:cubicBezTo>
                      <a:pt x="17" y="219"/>
                      <a:pt x="31" y="254"/>
                      <a:pt x="31" y="254"/>
                    </a:cubicBezTo>
                    <a:cubicBezTo>
                      <a:pt x="33" y="259"/>
                      <a:pt x="54" y="250"/>
                      <a:pt x="64" y="265"/>
                    </a:cubicBezTo>
                    <a:cubicBezTo>
                      <a:pt x="82" y="281"/>
                      <a:pt x="90" y="290"/>
                      <a:pt x="102" y="287"/>
                    </a:cubicBezTo>
                    <a:cubicBezTo>
                      <a:pt x="116" y="289"/>
                      <a:pt x="132" y="287"/>
                      <a:pt x="132" y="287"/>
                    </a:cubicBezTo>
                    <a:cubicBezTo>
                      <a:pt x="159" y="271"/>
                      <a:pt x="157" y="303"/>
                      <a:pt x="157" y="303"/>
                    </a:cubicBezTo>
                    <a:cubicBezTo>
                      <a:pt x="180" y="313"/>
                      <a:pt x="175" y="321"/>
                      <a:pt x="175" y="321"/>
                    </a:cubicBezTo>
                    <a:cubicBezTo>
                      <a:pt x="178" y="332"/>
                      <a:pt x="185" y="333"/>
                      <a:pt x="185" y="333"/>
                    </a:cubicBezTo>
                    <a:cubicBezTo>
                      <a:pt x="197" y="338"/>
                      <a:pt x="195" y="349"/>
                      <a:pt x="195" y="349"/>
                    </a:cubicBezTo>
                    <a:cubicBezTo>
                      <a:pt x="197" y="369"/>
                      <a:pt x="208" y="349"/>
                      <a:pt x="208" y="349"/>
                    </a:cubicBezTo>
                    <a:cubicBezTo>
                      <a:pt x="215" y="330"/>
                      <a:pt x="228" y="339"/>
                      <a:pt x="228" y="339"/>
                    </a:cubicBezTo>
                    <a:cubicBezTo>
                      <a:pt x="230" y="348"/>
                      <a:pt x="245" y="338"/>
                      <a:pt x="245" y="338"/>
                    </a:cubicBezTo>
                    <a:cubicBezTo>
                      <a:pt x="248" y="321"/>
                      <a:pt x="240" y="325"/>
                      <a:pt x="241" y="316"/>
                    </a:cubicBezTo>
                    <a:cubicBezTo>
                      <a:pt x="241" y="316"/>
                      <a:pt x="239" y="303"/>
                      <a:pt x="254" y="310"/>
                    </a:cubicBezTo>
                    <a:cubicBezTo>
                      <a:pt x="259" y="313"/>
                      <a:pt x="260" y="304"/>
                      <a:pt x="263" y="303"/>
                    </a:cubicBezTo>
                    <a:cubicBezTo>
                      <a:pt x="263" y="303"/>
                      <a:pt x="270" y="309"/>
                      <a:pt x="278" y="309"/>
                    </a:cubicBezTo>
                    <a:cubicBezTo>
                      <a:pt x="278" y="309"/>
                      <a:pt x="273" y="303"/>
                      <a:pt x="284" y="298"/>
                    </a:cubicBezTo>
                    <a:cubicBezTo>
                      <a:pt x="284" y="298"/>
                      <a:pt x="290" y="292"/>
                      <a:pt x="296" y="299"/>
                    </a:cubicBezTo>
                    <a:cubicBezTo>
                      <a:pt x="296" y="299"/>
                      <a:pt x="291" y="288"/>
                      <a:pt x="304" y="282"/>
                    </a:cubicBezTo>
                    <a:cubicBezTo>
                      <a:pt x="304" y="282"/>
                      <a:pt x="316" y="278"/>
                      <a:pt x="310" y="267"/>
                    </a:cubicBezTo>
                    <a:cubicBezTo>
                      <a:pt x="310" y="267"/>
                      <a:pt x="310" y="259"/>
                      <a:pt x="328" y="245"/>
                    </a:cubicBezTo>
                    <a:cubicBezTo>
                      <a:pt x="328" y="245"/>
                      <a:pt x="343" y="240"/>
                      <a:pt x="343" y="231"/>
                    </a:cubicBezTo>
                    <a:cubicBezTo>
                      <a:pt x="343" y="224"/>
                      <a:pt x="329" y="232"/>
                      <a:pt x="332" y="226"/>
                    </a:cubicBezTo>
                    <a:cubicBezTo>
                      <a:pt x="332" y="226"/>
                      <a:pt x="337" y="212"/>
                      <a:pt x="348" y="221"/>
                    </a:cubicBezTo>
                    <a:cubicBezTo>
                      <a:pt x="348" y="221"/>
                      <a:pt x="364" y="223"/>
                      <a:pt x="371" y="218"/>
                    </a:cubicBezTo>
                    <a:cubicBezTo>
                      <a:pt x="371" y="218"/>
                      <a:pt x="383" y="203"/>
                      <a:pt x="373" y="200"/>
                    </a:cubicBezTo>
                    <a:cubicBezTo>
                      <a:pt x="373" y="200"/>
                      <a:pt x="368" y="193"/>
                      <a:pt x="373" y="169"/>
                    </a:cubicBezTo>
                    <a:cubicBezTo>
                      <a:pt x="373" y="169"/>
                      <a:pt x="382" y="163"/>
                      <a:pt x="376" y="153"/>
                    </a:cubicBezTo>
                    <a:cubicBezTo>
                      <a:pt x="369" y="142"/>
                      <a:pt x="385" y="141"/>
                      <a:pt x="380" y="134"/>
                    </a:cubicBezTo>
                    <a:cubicBezTo>
                      <a:pt x="380" y="134"/>
                      <a:pt x="373" y="128"/>
                      <a:pt x="377" y="120"/>
                    </a:cubicBezTo>
                    <a:cubicBezTo>
                      <a:pt x="381" y="118"/>
                      <a:pt x="376" y="110"/>
                      <a:pt x="384" y="103"/>
                    </a:cubicBezTo>
                    <a:cubicBezTo>
                      <a:pt x="384" y="103"/>
                      <a:pt x="376" y="96"/>
                      <a:pt x="381" y="87"/>
                    </a:cubicBezTo>
                    <a:cubicBezTo>
                      <a:pt x="376" y="87"/>
                      <a:pt x="374" y="80"/>
                      <a:pt x="374" y="80"/>
                    </a:cubicBezTo>
                    <a:cubicBezTo>
                      <a:pt x="363" y="63"/>
                      <a:pt x="346" y="65"/>
                      <a:pt x="346" y="65"/>
                    </a:cubicBezTo>
                    <a:cubicBezTo>
                      <a:pt x="336" y="46"/>
                      <a:pt x="328" y="41"/>
                      <a:pt x="328" y="41"/>
                    </a:cubicBezTo>
                    <a:cubicBezTo>
                      <a:pt x="330" y="17"/>
                      <a:pt x="318" y="21"/>
                      <a:pt x="318" y="21"/>
                    </a:cubicBezTo>
                    <a:cubicBezTo>
                      <a:pt x="307" y="17"/>
                      <a:pt x="308" y="8"/>
                      <a:pt x="308" y="8"/>
                    </a:cubicBezTo>
                    <a:cubicBezTo>
                      <a:pt x="307" y="0"/>
                      <a:pt x="292" y="3"/>
                      <a:pt x="292" y="3"/>
                    </a:cubicBezTo>
                    <a:cubicBezTo>
                      <a:pt x="270" y="28"/>
                      <a:pt x="259" y="22"/>
                      <a:pt x="259" y="22"/>
                    </a:cubicBezTo>
                    <a:cubicBezTo>
                      <a:pt x="241" y="19"/>
                      <a:pt x="230" y="35"/>
                      <a:pt x="230" y="35"/>
                    </a:cubicBezTo>
                    <a:cubicBezTo>
                      <a:pt x="216" y="39"/>
                      <a:pt x="219" y="45"/>
                      <a:pt x="219" y="45"/>
                    </a:cubicBezTo>
                    <a:cubicBezTo>
                      <a:pt x="208" y="57"/>
                      <a:pt x="203" y="45"/>
                      <a:pt x="203" y="45"/>
                    </a:cubicBezTo>
                    <a:cubicBezTo>
                      <a:pt x="192" y="24"/>
                      <a:pt x="184" y="39"/>
                      <a:pt x="184" y="39"/>
                    </a:cubicBezTo>
                    <a:cubicBezTo>
                      <a:pt x="173" y="46"/>
                      <a:pt x="166" y="30"/>
                      <a:pt x="166" y="30"/>
                    </a:cubicBezTo>
                    <a:cubicBezTo>
                      <a:pt x="157" y="10"/>
                      <a:pt x="141" y="14"/>
                      <a:pt x="141" y="14"/>
                    </a:cubicBezTo>
                    <a:cubicBezTo>
                      <a:pt x="118" y="12"/>
                      <a:pt x="112" y="25"/>
                      <a:pt x="112" y="25"/>
                    </a:cubicBezTo>
                    <a:cubicBezTo>
                      <a:pt x="109" y="32"/>
                      <a:pt x="105" y="33"/>
                      <a:pt x="102" y="33"/>
                    </a:cubicBezTo>
                    <a:cubicBezTo>
                      <a:pt x="102" y="33"/>
                      <a:pt x="102" y="33"/>
                      <a:pt x="102" y="33"/>
                    </a:cubicBezTo>
                    <a:close/>
                  </a:path>
                </a:pathLst>
              </a:custGeom>
              <a:solidFill>
                <a:srgbClr val="EEBB0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43" name="Freeform 44"/>
              <p:cNvSpPr>
                <a:spLocks/>
              </p:cNvSpPr>
              <p:nvPr/>
            </p:nvSpPr>
            <p:spPr bwMode="auto">
              <a:xfrm>
                <a:off x="5623673" y="3118559"/>
                <a:ext cx="818198" cy="976984"/>
              </a:xfrm>
              <a:custGeom>
                <a:avLst/>
                <a:gdLst/>
                <a:ahLst/>
                <a:cxnLst>
                  <a:cxn ang="0">
                    <a:pos x="4" y="161"/>
                  </a:cxn>
                  <a:cxn ang="0">
                    <a:pos x="5" y="143"/>
                  </a:cxn>
                  <a:cxn ang="0">
                    <a:pos x="5" y="112"/>
                  </a:cxn>
                  <a:cxn ang="0">
                    <a:pos x="8" y="96"/>
                  </a:cxn>
                  <a:cxn ang="0">
                    <a:pos x="12" y="77"/>
                  </a:cxn>
                  <a:cxn ang="0">
                    <a:pos x="9" y="63"/>
                  </a:cxn>
                  <a:cxn ang="0">
                    <a:pos x="16" y="46"/>
                  </a:cxn>
                  <a:cxn ang="0">
                    <a:pos x="13" y="30"/>
                  </a:cxn>
                  <a:cxn ang="0">
                    <a:pos x="20" y="29"/>
                  </a:cxn>
                  <a:cxn ang="0">
                    <a:pos x="30" y="15"/>
                  </a:cxn>
                  <a:cxn ang="0">
                    <a:pos x="38" y="2"/>
                  </a:cxn>
                  <a:cxn ang="0">
                    <a:pos x="56" y="15"/>
                  </a:cxn>
                  <a:cxn ang="0">
                    <a:pos x="73" y="17"/>
                  </a:cxn>
                  <a:cxn ang="0">
                    <a:pos x="96" y="26"/>
                  </a:cxn>
                  <a:cxn ang="0">
                    <a:pos x="115" y="33"/>
                  </a:cxn>
                  <a:cxn ang="0">
                    <a:pos x="137" y="33"/>
                  </a:cxn>
                  <a:cxn ang="0">
                    <a:pos x="155" y="36"/>
                  </a:cxn>
                  <a:cxn ang="0">
                    <a:pos x="176" y="45"/>
                  </a:cxn>
                  <a:cxn ang="0">
                    <a:pos x="192" y="46"/>
                  </a:cxn>
                  <a:cxn ang="0">
                    <a:pos x="201" y="56"/>
                  </a:cxn>
                  <a:cxn ang="0">
                    <a:pos x="221" y="67"/>
                  </a:cxn>
                  <a:cxn ang="0">
                    <a:pos x="242" y="68"/>
                  </a:cxn>
                  <a:cxn ang="0">
                    <a:pos x="260" y="58"/>
                  </a:cxn>
                  <a:cxn ang="0">
                    <a:pos x="261" y="72"/>
                  </a:cxn>
                  <a:cxn ang="0">
                    <a:pos x="265" y="98"/>
                  </a:cxn>
                  <a:cxn ang="0">
                    <a:pos x="258" y="146"/>
                  </a:cxn>
                  <a:cxn ang="0">
                    <a:pos x="235" y="165"/>
                  </a:cxn>
                  <a:cxn ang="0">
                    <a:pos x="232" y="183"/>
                  </a:cxn>
                  <a:cxn ang="0">
                    <a:pos x="251" y="191"/>
                  </a:cxn>
                  <a:cxn ang="0">
                    <a:pos x="262" y="195"/>
                  </a:cxn>
                  <a:cxn ang="0">
                    <a:pos x="269" y="202"/>
                  </a:cxn>
                  <a:cxn ang="0">
                    <a:pos x="254" y="205"/>
                  </a:cxn>
                  <a:cxn ang="0">
                    <a:pos x="236" y="213"/>
                  </a:cxn>
                  <a:cxn ang="0">
                    <a:pos x="232" y="238"/>
                  </a:cxn>
                  <a:cxn ang="0">
                    <a:pos x="243" y="249"/>
                  </a:cxn>
                  <a:cxn ang="0">
                    <a:pos x="259" y="268"/>
                  </a:cxn>
                  <a:cxn ang="0">
                    <a:pos x="265" y="290"/>
                  </a:cxn>
                  <a:cxn ang="0">
                    <a:pos x="269" y="297"/>
                  </a:cxn>
                  <a:cxn ang="0">
                    <a:pos x="269" y="319"/>
                  </a:cxn>
                  <a:cxn ang="0">
                    <a:pos x="262" y="364"/>
                  </a:cxn>
                  <a:cxn ang="0">
                    <a:pos x="247" y="386"/>
                  </a:cxn>
                  <a:cxn ang="0">
                    <a:pos x="194" y="389"/>
                  </a:cxn>
                  <a:cxn ang="0">
                    <a:pos x="170" y="390"/>
                  </a:cxn>
                  <a:cxn ang="0">
                    <a:pos x="170" y="390"/>
                  </a:cxn>
                  <a:cxn ang="0">
                    <a:pos x="170" y="378"/>
                  </a:cxn>
                  <a:cxn ang="0">
                    <a:pos x="170" y="378"/>
                  </a:cxn>
                  <a:cxn ang="0">
                    <a:pos x="154" y="362"/>
                  </a:cxn>
                  <a:cxn ang="0">
                    <a:pos x="137" y="356"/>
                  </a:cxn>
                  <a:cxn ang="0">
                    <a:pos x="111" y="343"/>
                  </a:cxn>
                  <a:cxn ang="0">
                    <a:pos x="89" y="304"/>
                  </a:cxn>
                  <a:cxn ang="0">
                    <a:pos x="73" y="295"/>
                  </a:cxn>
                  <a:cxn ang="0">
                    <a:pos x="64" y="272"/>
                  </a:cxn>
                  <a:cxn ang="0">
                    <a:pos x="62" y="251"/>
                  </a:cxn>
                  <a:cxn ang="0">
                    <a:pos x="60" y="238"/>
                  </a:cxn>
                  <a:cxn ang="0">
                    <a:pos x="53" y="222"/>
                  </a:cxn>
                  <a:cxn ang="0">
                    <a:pos x="39" y="209"/>
                  </a:cxn>
                  <a:cxn ang="0">
                    <a:pos x="30" y="201"/>
                  </a:cxn>
                  <a:cxn ang="0">
                    <a:pos x="30" y="185"/>
                  </a:cxn>
                  <a:cxn ang="0">
                    <a:pos x="19" y="173"/>
                  </a:cxn>
                  <a:cxn ang="0">
                    <a:pos x="10" y="169"/>
                  </a:cxn>
                  <a:cxn ang="0">
                    <a:pos x="4" y="161"/>
                  </a:cxn>
                  <a:cxn ang="0">
                    <a:pos x="4" y="161"/>
                  </a:cxn>
                </a:cxnLst>
                <a:rect l="0" t="0" r="r" b="b"/>
                <a:pathLst>
                  <a:path w="289" h="390">
                    <a:moveTo>
                      <a:pt x="4" y="161"/>
                    </a:moveTo>
                    <a:cubicBezTo>
                      <a:pt x="4" y="161"/>
                      <a:pt x="15" y="146"/>
                      <a:pt x="5" y="143"/>
                    </a:cubicBezTo>
                    <a:cubicBezTo>
                      <a:pt x="5" y="143"/>
                      <a:pt x="0" y="136"/>
                      <a:pt x="5" y="112"/>
                    </a:cubicBezTo>
                    <a:cubicBezTo>
                      <a:pt x="5" y="112"/>
                      <a:pt x="14" y="106"/>
                      <a:pt x="8" y="96"/>
                    </a:cubicBezTo>
                    <a:cubicBezTo>
                      <a:pt x="1" y="85"/>
                      <a:pt x="17" y="84"/>
                      <a:pt x="12" y="77"/>
                    </a:cubicBezTo>
                    <a:cubicBezTo>
                      <a:pt x="12" y="77"/>
                      <a:pt x="5" y="71"/>
                      <a:pt x="9" y="63"/>
                    </a:cubicBezTo>
                    <a:cubicBezTo>
                      <a:pt x="13" y="61"/>
                      <a:pt x="8" y="53"/>
                      <a:pt x="16" y="46"/>
                    </a:cubicBezTo>
                    <a:cubicBezTo>
                      <a:pt x="16" y="46"/>
                      <a:pt x="8" y="39"/>
                      <a:pt x="13" y="30"/>
                    </a:cubicBezTo>
                    <a:cubicBezTo>
                      <a:pt x="16" y="31"/>
                      <a:pt x="18" y="30"/>
                      <a:pt x="20" y="29"/>
                    </a:cubicBezTo>
                    <a:cubicBezTo>
                      <a:pt x="20" y="29"/>
                      <a:pt x="31" y="32"/>
                      <a:pt x="30" y="15"/>
                    </a:cubicBezTo>
                    <a:cubicBezTo>
                      <a:pt x="30" y="15"/>
                      <a:pt x="25" y="1"/>
                      <a:pt x="38" y="2"/>
                    </a:cubicBezTo>
                    <a:cubicBezTo>
                      <a:pt x="49" y="0"/>
                      <a:pt x="44" y="11"/>
                      <a:pt x="56" y="15"/>
                    </a:cubicBezTo>
                    <a:cubicBezTo>
                      <a:pt x="56" y="15"/>
                      <a:pt x="67" y="21"/>
                      <a:pt x="73" y="17"/>
                    </a:cubicBezTo>
                    <a:cubicBezTo>
                      <a:pt x="73" y="17"/>
                      <a:pt x="87" y="11"/>
                      <a:pt x="96" y="26"/>
                    </a:cubicBezTo>
                    <a:cubicBezTo>
                      <a:pt x="96" y="26"/>
                      <a:pt x="115" y="28"/>
                      <a:pt x="115" y="33"/>
                    </a:cubicBezTo>
                    <a:cubicBezTo>
                      <a:pt x="115" y="33"/>
                      <a:pt x="126" y="47"/>
                      <a:pt x="137" y="33"/>
                    </a:cubicBezTo>
                    <a:cubicBezTo>
                      <a:pt x="137" y="33"/>
                      <a:pt x="145" y="8"/>
                      <a:pt x="155" y="36"/>
                    </a:cubicBezTo>
                    <a:cubicBezTo>
                      <a:pt x="155" y="36"/>
                      <a:pt x="160" y="52"/>
                      <a:pt x="176" y="45"/>
                    </a:cubicBezTo>
                    <a:cubicBezTo>
                      <a:pt x="176" y="45"/>
                      <a:pt x="181" y="39"/>
                      <a:pt x="192" y="46"/>
                    </a:cubicBezTo>
                    <a:cubicBezTo>
                      <a:pt x="192" y="46"/>
                      <a:pt x="203" y="43"/>
                      <a:pt x="201" y="56"/>
                    </a:cubicBezTo>
                    <a:cubicBezTo>
                      <a:pt x="201" y="56"/>
                      <a:pt x="204" y="70"/>
                      <a:pt x="221" y="67"/>
                    </a:cubicBezTo>
                    <a:cubicBezTo>
                      <a:pt x="221" y="67"/>
                      <a:pt x="226" y="81"/>
                      <a:pt x="242" y="68"/>
                    </a:cubicBezTo>
                    <a:cubicBezTo>
                      <a:pt x="242" y="68"/>
                      <a:pt x="245" y="57"/>
                      <a:pt x="260" y="58"/>
                    </a:cubicBezTo>
                    <a:cubicBezTo>
                      <a:pt x="260" y="58"/>
                      <a:pt x="276" y="61"/>
                      <a:pt x="261" y="72"/>
                    </a:cubicBezTo>
                    <a:cubicBezTo>
                      <a:pt x="261" y="72"/>
                      <a:pt x="245" y="77"/>
                      <a:pt x="265" y="98"/>
                    </a:cubicBezTo>
                    <a:cubicBezTo>
                      <a:pt x="265" y="98"/>
                      <a:pt x="288" y="117"/>
                      <a:pt x="258" y="146"/>
                    </a:cubicBezTo>
                    <a:cubicBezTo>
                      <a:pt x="255" y="170"/>
                      <a:pt x="240" y="158"/>
                      <a:pt x="235" y="165"/>
                    </a:cubicBezTo>
                    <a:cubicBezTo>
                      <a:pt x="235" y="165"/>
                      <a:pt x="219" y="168"/>
                      <a:pt x="232" y="183"/>
                    </a:cubicBezTo>
                    <a:cubicBezTo>
                      <a:pt x="232" y="183"/>
                      <a:pt x="231" y="194"/>
                      <a:pt x="251" y="191"/>
                    </a:cubicBezTo>
                    <a:cubicBezTo>
                      <a:pt x="251" y="191"/>
                      <a:pt x="257" y="191"/>
                      <a:pt x="262" y="195"/>
                    </a:cubicBezTo>
                    <a:cubicBezTo>
                      <a:pt x="273" y="181"/>
                      <a:pt x="280" y="194"/>
                      <a:pt x="269" y="202"/>
                    </a:cubicBezTo>
                    <a:cubicBezTo>
                      <a:pt x="269" y="202"/>
                      <a:pt x="272" y="209"/>
                      <a:pt x="254" y="205"/>
                    </a:cubicBezTo>
                    <a:cubicBezTo>
                      <a:pt x="254" y="205"/>
                      <a:pt x="245" y="197"/>
                      <a:pt x="236" y="213"/>
                    </a:cubicBezTo>
                    <a:cubicBezTo>
                      <a:pt x="236" y="213"/>
                      <a:pt x="232" y="224"/>
                      <a:pt x="232" y="238"/>
                    </a:cubicBezTo>
                    <a:cubicBezTo>
                      <a:pt x="232" y="238"/>
                      <a:pt x="226" y="252"/>
                      <a:pt x="243" y="249"/>
                    </a:cubicBezTo>
                    <a:cubicBezTo>
                      <a:pt x="243" y="249"/>
                      <a:pt x="259" y="244"/>
                      <a:pt x="259" y="268"/>
                    </a:cubicBezTo>
                    <a:cubicBezTo>
                      <a:pt x="259" y="268"/>
                      <a:pt x="271" y="285"/>
                      <a:pt x="265" y="290"/>
                    </a:cubicBezTo>
                    <a:cubicBezTo>
                      <a:pt x="265" y="290"/>
                      <a:pt x="252" y="294"/>
                      <a:pt x="269" y="297"/>
                    </a:cubicBezTo>
                    <a:cubicBezTo>
                      <a:pt x="269" y="297"/>
                      <a:pt x="289" y="289"/>
                      <a:pt x="269" y="319"/>
                    </a:cubicBezTo>
                    <a:cubicBezTo>
                      <a:pt x="269" y="319"/>
                      <a:pt x="262" y="334"/>
                      <a:pt x="262" y="364"/>
                    </a:cubicBezTo>
                    <a:cubicBezTo>
                      <a:pt x="263" y="387"/>
                      <a:pt x="265" y="385"/>
                      <a:pt x="247" y="386"/>
                    </a:cubicBezTo>
                    <a:cubicBezTo>
                      <a:pt x="247" y="386"/>
                      <a:pt x="223" y="383"/>
                      <a:pt x="194" y="389"/>
                    </a:cubicBezTo>
                    <a:cubicBezTo>
                      <a:pt x="194" y="389"/>
                      <a:pt x="185" y="390"/>
                      <a:pt x="170" y="390"/>
                    </a:cubicBezTo>
                    <a:cubicBezTo>
                      <a:pt x="170" y="390"/>
                      <a:pt x="170" y="390"/>
                      <a:pt x="170" y="390"/>
                    </a:cubicBezTo>
                    <a:cubicBezTo>
                      <a:pt x="170" y="378"/>
                      <a:pt x="170" y="378"/>
                      <a:pt x="170" y="378"/>
                    </a:cubicBezTo>
                    <a:cubicBezTo>
                      <a:pt x="170" y="378"/>
                      <a:pt x="170" y="378"/>
                      <a:pt x="170" y="378"/>
                    </a:cubicBezTo>
                    <a:cubicBezTo>
                      <a:pt x="170" y="378"/>
                      <a:pt x="174" y="363"/>
                      <a:pt x="154" y="362"/>
                    </a:cubicBezTo>
                    <a:cubicBezTo>
                      <a:pt x="154" y="362"/>
                      <a:pt x="141" y="367"/>
                      <a:pt x="137" y="356"/>
                    </a:cubicBezTo>
                    <a:cubicBezTo>
                      <a:pt x="137" y="356"/>
                      <a:pt x="147" y="348"/>
                      <a:pt x="111" y="343"/>
                    </a:cubicBezTo>
                    <a:cubicBezTo>
                      <a:pt x="111" y="343"/>
                      <a:pt x="115" y="327"/>
                      <a:pt x="89" y="304"/>
                    </a:cubicBezTo>
                    <a:cubicBezTo>
                      <a:pt x="89" y="304"/>
                      <a:pt x="91" y="296"/>
                      <a:pt x="73" y="295"/>
                    </a:cubicBezTo>
                    <a:cubicBezTo>
                      <a:pt x="74" y="279"/>
                      <a:pt x="63" y="285"/>
                      <a:pt x="64" y="272"/>
                    </a:cubicBezTo>
                    <a:cubicBezTo>
                      <a:pt x="64" y="272"/>
                      <a:pt x="56" y="268"/>
                      <a:pt x="62" y="251"/>
                    </a:cubicBezTo>
                    <a:cubicBezTo>
                      <a:pt x="69" y="247"/>
                      <a:pt x="56" y="243"/>
                      <a:pt x="60" y="238"/>
                    </a:cubicBezTo>
                    <a:cubicBezTo>
                      <a:pt x="60" y="238"/>
                      <a:pt x="72" y="236"/>
                      <a:pt x="53" y="222"/>
                    </a:cubicBezTo>
                    <a:cubicBezTo>
                      <a:pt x="53" y="222"/>
                      <a:pt x="56" y="209"/>
                      <a:pt x="39" y="209"/>
                    </a:cubicBezTo>
                    <a:cubicBezTo>
                      <a:pt x="39" y="209"/>
                      <a:pt x="17" y="210"/>
                      <a:pt x="30" y="201"/>
                    </a:cubicBezTo>
                    <a:cubicBezTo>
                      <a:pt x="40" y="198"/>
                      <a:pt x="28" y="194"/>
                      <a:pt x="30" y="185"/>
                    </a:cubicBezTo>
                    <a:cubicBezTo>
                      <a:pt x="30" y="185"/>
                      <a:pt x="33" y="166"/>
                      <a:pt x="19" y="173"/>
                    </a:cubicBezTo>
                    <a:cubicBezTo>
                      <a:pt x="19" y="173"/>
                      <a:pt x="9" y="175"/>
                      <a:pt x="10" y="169"/>
                    </a:cubicBezTo>
                    <a:cubicBezTo>
                      <a:pt x="10" y="169"/>
                      <a:pt x="14" y="162"/>
                      <a:pt x="4" y="161"/>
                    </a:cubicBezTo>
                    <a:cubicBezTo>
                      <a:pt x="4" y="161"/>
                      <a:pt x="4" y="161"/>
                      <a:pt x="4" y="161"/>
                    </a:cubicBezTo>
                    <a:close/>
                  </a:path>
                </a:pathLst>
              </a:custGeom>
              <a:solidFill>
                <a:srgbClr val="EEBB0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44" name="Freeform 42"/>
              <p:cNvSpPr>
                <a:spLocks/>
              </p:cNvSpPr>
              <p:nvPr/>
            </p:nvSpPr>
            <p:spPr bwMode="auto">
              <a:xfrm>
                <a:off x="4008257" y="3598004"/>
                <a:ext cx="1368906" cy="800585"/>
              </a:xfrm>
              <a:custGeom>
                <a:avLst/>
                <a:gdLst/>
                <a:ahLst/>
                <a:cxnLst>
                  <a:cxn ang="0">
                    <a:pos x="429" y="234"/>
                  </a:cxn>
                  <a:cxn ang="0">
                    <a:pos x="404" y="236"/>
                  </a:cxn>
                  <a:cxn ang="0">
                    <a:pos x="382" y="229"/>
                  </a:cxn>
                  <a:cxn ang="0">
                    <a:pos x="374" y="196"/>
                  </a:cxn>
                  <a:cxn ang="0">
                    <a:pos x="354" y="196"/>
                  </a:cxn>
                  <a:cxn ang="0">
                    <a:pos x="317" y="192"/>
                  </a:cxn>
                  <a:cxn ang="0">
                    <a:pos x="272" y="192"/>
                  </a:cxn>
                  <a:cxn ang="0">
                    <a:pos x="262" y="192"/>
                  </a:cxn>
                  <a:cxn ang="0">
                    <a:pos x="229" y="206"/>
                  </a:cxn>
                  <a:cxn ang="0">
                    <a:pos x="238" y="224"/>
                  </a:cxn>
                  <a:cxn ang="0">
                    <a:pos x="239" y="247"/>
                  </a:cxn>
                  <a:cxn ang="0">
                    <a:pos x="242" y="287"/>
                  </a:cxn>
                  <a:cxn ang="0">
                    <a:pos x="220" y="298"/>
                  </a:cxn>
                  <a:cxn ang="0">
                    <a:pos x="175" y="309"/>
                  </a:cxn>
                  <a:cxn ang="0">
                    <a:pos x="136" y="314"/>
                  </a:cxn>
                  <a:cxn ang="0">
                    <a:pos x="110" y="313"/>
                  </a:cxn>
                  <a:cxn ang="0">
                    <a:pos x="66" y="308"/>
                  </a:cxn>
                  <a:cxn ang="0">
                    <a:pos x="46" y="309"/>
                  </a:cxn>
                  <a:cxn ang="0">
                    <a:pos x="20" y="302"/>
                  </a:cxn>
                  <a:cxn ang="0">
                    <a:pos x="14" y="275"/>
                  </a:cxn>
                  <a:cxn ang="0">
                    <a:pos x="12" y="239"/>
                  </a:cxn>
                  <a:cxn ang="0">
                    <a:pos x="35" y="207"/>
                  </a:cxn>
                  <a:cxn ang="0">
                    <a:pos x="66" y="162"/>
                  </a:cxn>
                  <a:cxn ang="0">
                    <a:pos x="69" y="121"/>
                  </a:cxn>
                  <a:cxn ang="0">
                    <a:pos x="86" y="115"/>
                  </a:cxn>
                  <a:cxn ang="0">
                    <a:pos x="99" y="100"/>
                  </a:cxn>
                  <a:cxn ang="0">
                    <a:pos x="80" y="79"/>
                  </a:cxn>
                  <a:cxn ang="0">
                    <a:pos x="100" y="82"/>
                  </a:cxn>
                  <a:cxn ang="0">
                    <a:pos x="110" y="65"/>
                  </a:cxn>
                  <a:cxn ang="0">
                    <a:pos x="154" y="79"/>
                  </a:cxn>
                  <a:cxn ang="0">
                    <a:pos x="161" y="42"/>
                  </a:cxn>
                  <a:cxn ang="0">
                    <a:pos x="206" y="8"/>
                  </a:cxn>
                  <a:cxn ang="0">
                    <a:pos x="267" y="15"/>
                  </a:cxn>
                  <a:cxn ang="0">
                    <a:pos x="335" y="37"/>
                  </a:cxn>
                  <a:cxn ang="0">
                    <a:pos x="378" y="71"/>
                  </a:cxn>
                  <a:cxn ang="0">
                    <a:pos x="398" y="99"/>
                  </a:cxn>
                  <a:cxn ang="0">
                    <a:pos x="431" y="89"/>
                  </a:cxn>
                  <a:cxn ang="0">
                    <a:pos x="455" y="97"/>
                  </a:cxn>
                  <a:cxn ang="0">
                    <a:pos x="473" y="97"/>
                  </a:cxn>
                  <a:cxn ang="0">
                    <a:pos x="469" y="142"/>
                  </a:cxn>
                  <a:cxn ang="0">
                    <a:pos x="477" y="167"/>
                  </a:cxn>
                  <a:cxn ang="0">
                    <a:pos x="463" y="192"/>
                  </a:cxn>
                  <a:cxn ang="0">
                    <a:pos x="443" y="206"/>
                  </a:cxn>
                  <a:cxn ang="0">
                    <a:pos x="444" y="233"/>
                  </a:cxn>
                </a:cxnLst>
                <a:rect l="0" t="0" r="r" b="b"/>
                <a:pathLst>
                  <a:path w="484" h="320">
                    <a:moveTo>
                      <a:pt x="444" y="233"/>
                    </a:moveTo>
                    <a:cubicBezTo>
                      <a:pt x="433" y="228"/>
                      <a:pt x="429" y="234"/>
                      <a:pt x="429" y="234"/>
                    </a:cubicBezTo>
                    <a:cubicBezTo>
                      <a:pt x="425" y="239"/>
                      <a:pt x="417" y="233"/>
                      <a:pt x="417" y="233"/>
                    </a:cubicBezTo>
                    <a:cubicBezTo>
                      <a:pt x="405" y="243"/>
                      <a:pt x="404" y="236"/>
                      <a:pt x="404" y="236"/>
                    </a:cubicBezTo>
                    <a:cubicBezTo>
                      <a:pt x="395" y="226"/>
                      <a:pt x="393" y="233"/>
                      <a:pt x="393" y="233"/>
                    </a:cubicBezTo>
                    <a:cubicBezTo>
                      <a:pt x="382" y="238"/>
                      <a:pt x="382" y="229"/>
                      <a:pt x="382" y="229"/>
                    </a:cubicBezTo>
                    <a:cubicBezTo>
                      <a:pt x="396" y="219"/>
                      <a:pt x="379" y="215"/>
                      <a:pt x="379" y="215"/>
                    </a:cubicBezTo>
                    <a:cubicBezTo>
                      <a:pt x="370" y="203"/>
                      <a:pt x="374" y="196"/>
                      <a:pt x="374" y="196"/>
                    </a:cubicBezTo>
                    <a:cubicBezTo>
                      <a:pt x="369" y="205"/>
                      <a:pt x="366" y="199"/>
                      <a:pt x="366" y="199"/>
                    </a:cubicBezTo>
                    <a:cubicBezTo>
                      <a:pt x="365" y="186"/>
                      <a:pt x="354" y="196"/>
                      <a:pt x="354" y="196"/>
                    </a:cubicBezTo>
                    <a:cubicBezTo>
                      <a:pt x="343" y="196"/>
                      <a:pt x="337" y="190"/>
                      <a:pt x="337" y="190"/>
                    </a:cubicBezTo>
                    <a:cubicBezTo>
                      <a:pt x="327" y="181"/>
                      <a:pt x="317" y="192"/>
                      <a:pt x="317" y="192"/>
                    </a:cubicBezTo>
                    <a:cubicBezTo>
                      <a:pt x="306" y="199"/>
                      <a:pt x="297" y="192"/>
                      <a:pt x="297" y="192"/>
                    </a:cubicBezTo>
                    <a:cubicBezTo>
                      <a:pt x="279" y="188"/>
                      <a:pt x="272" y="192"/>
                      <a:pt x="272" y="192"/>
                    </a:cubicBezTo>
                    <a:cubicBezTo>
                      <a:pt x="270" y="193"/>
                      <a:pt x="269" y="192"/>
                      <a:pt x="267" y="191"/>
                    </a:cubicBezTo>
                    <a:cubicBezTo>
                      <a:pt x="265" y="190"/>
                      <a:pt x="264" y="191"/>
                      <a:pt x="262" y="192"/>
                    </a:cubicBezTo>
                    <a:cubicBezTo>
                      <a:pt x="249" y="188"/>
                      <a:pt x="246" y="199"/>
                      <a:pt x="246" y="199"/>
                    </a:cubicBezTo>
                    <a:cubicBezTo>
                      <a:pt x="228" y="197"/>
                      <a:pt x="229" y="206"/>
                      <a:pt x="229" y="206"/>
                    </a:cubicBezTo>
                    <a:cubicBezTo>
                      <a:pt x="231" y="210"/>
                      <a:pt x="225" y="215"/>
                      <a:pt x="225" y="215"/>
                    </a:cubicBezTo>
                    <a:cubicBezTo>
                      <a:pt x="232" y="215"/>
                      <a:pt x="238" y="224"/>
                      <a:pt x="238" y="224"/>
                    </a:cubicBezTo>
                    <a:cubicBezTo>
                      <a:pt x="245" y="227"/>
                      <a:pt x="227" y="226"/>
                      <a:pt x="227" y="236"/>
                    </a:cubicBezTo>
                    <a:cubicBezTo>
                      <a:pt x="227" y="240"/>
                      <a:pt x="239" y="247"/>
                      <a:pt x="239" y="247"/>
                    </a:cubicBezTo>
                    <a:cubicBezTo>
                      <a:pt x="235" y="267"/>
                      <a:pt x="253" y="261"/>
                      <a:pt x="244" y="273"/>
                    </a:cubicBezTo>
                    <a:cubicBezTo>
                      <a:pt x="242" y="277"/>
                      <a:pt x="242" y="287"/>
                      <a:pt x="242" y="287"/>
                    </a:cubicBezTo>
                    <a:cubicBezTo>
                      <a:pt x="246" y="305"/>
                      <a:pt x="237" y="302"/>
                      <a:pt x="237" y="302"/>
                    </a:cubicBezTo>
                    <a:cubicBezTo>
                      <a:pt x="221" y="303"/>
                      <a:pt x="220" y="298"/>
                      <a:pt x="220" y="298"/>
                    </a:cubicBezTo>
                    <a:cubicBezTo>
                      <a:pt x="203" y="291"/>
                      <a:pt x="192" y="300"/>
                      <a:pt x="192" y="300"/>
                    </a:cubicBezTo>
                    <a:cubicBezTo>
                      <a:pt x="187" y="306"/>
                      <a:pt x="175" y="309"/>
                      <a:pt x="175" y="309"/>
                    </a:cubicBezTo>
                    <a:cubicBezTo>
                      <a:pt x="165" y="309"/>
                      <a:pt x="160" y="314"/>
                      <a:pt x="160" y="314"/>
                    </a:cubicBezTo>
                    <a:cubicBezTo>
                      <a:pt x="150" y="315"/>
                      <a:pt x="136" y="314"/>
                      <a:pt x="136" y="314"/>
                    </a:cubicBezTo>
                    <a:cubicBezTo>
                      <a:pt x="127" y="317"/>
                      <a:pt x="126" y="312"/>
                      <a:pt x="126" y="312"/>
                    </a:cubicBezTo>
                    <a:cubicBezTo>
                      <a:pt x="115" y="306"/>
                      <a:pt x="110" y="313"/>
                      <a:pt x="110" y="313"/>
                    </a:cubicBezTo>
                    <a:cubicBezTo>
                      <a:pt x="82" y="319"/>
                      <a:pt x="85" y="309"/>
                      <a:pt x="85" y="309"/>
                    </a:cubicBezTo>
                    <a:cubicBezTo>
                      <a:pt x="75" y="294"/>
                      <a:pt x="66" y="308"/>
                      <a:pt x="66" y="308"/>
                    </a:cubicBezTo>
                    <a:cubicBezTo>
                      <a:pt x="64" y="312"/>
                      <a:pt x="55" y="306"/>
                      <a:pt x="55" y="313"/>
                    </a:cubicBezTo>
                    <a:cubicBezTo>
                      <a:pt x="52" y="320"/>
                      <a:pt x="46" y="309"/>
                      <a:pt x="46" y="309"/>
                    </a:cubicBezTo>
                    <a:cubicBezTo>
                      <a:pt x="44" y="305"/>
                      <a:pt x="33" y="306"/>
                      <a:pt x="33" y="306"/>
                    </a:cubicBezTo>
                    <a:cubicBezTo>
                      <a:pt x="28" y="299"/>
                      <a:pt x="20" y="302"/>
                      <a:pt x="20" y="302"/>
                    </a:cubicBezTo>
                    <a:cubicBezTo>
                      <a:pt x="6" y="298"/>
                      <a:pt x="11" y="289"/>
                      <a:pt x="11" y="289"/>
                    </a:cubicBezTo>
                    <a:cubicBezTo>
                      <a:pt x="0" y="273"/>
                      <a:pt x="14" y="275"/>
                      <a:pt x="14" y="275"/>
                    </a:cubicBezTo>
                    <a:cubicBezTo>
                      <a:pt x="21" y="270"/>
                      <a:pt x="15" y="254"/>
                      <a:pt x="15" y="254"/>
                    </a:cubicBezTo>
                    <a:cubicBezTo>
                      <a:pt x="19" y="243"/>
                      <a:pt x="12" y="239"/>
                      <a:pt x="12" y="239"/>
                    </a:cubicBezTo>
                    <a:cubicBezTo>
                      <a:pt x="8" y="232"/>
                      <a:pt x="11" y="225"/>
                      <a:pt x="11" y="225"/>
                    </a:cubicBezTo>
                    <a:cubicBezTo>
                      <a:pt x="18" y="210"/>
                      <a:pt x="35" y="207"/>
                      <a:pt x="35" y="207"/>
                    </a:cubicBezTo>
                    <a:cubicBezTo>
                      <a:pt x="37" y="192"/>
                      <a:pt x="52" y="192"/>
                      <a:pt x="52" y="192"/>
                    </a:cubicBezTo>
                    <a:cubicBezTo>
                      <a:pt x="75" y="180"/>
                      <a:pt x="66" y="162"/>
                      <a:pt x="66" y="162"/>
                    </a:cubicBezTo>
                    <a:cubicBezTo>
                      <a:pt x="66" y="145"/>
                      <a:pt x="62" y="141"/>
                      <a:pt x="62" y="141"/>
                    </a:cubicBezTo>
                    <a:cubicBezTo>
                      <a:pt x="53" y="129"/>
                      <a:pt x="69" y="121"/>
                      <a:pt x="69" y="121"/>
                    </a:cubicBezTo>
                    <a:cubicBezTo>
                      <a:pt x="69" y="121"/>
                      <a:pt x="69" y="121"/>
                      <a:pt x="69" y="121"/>
                    </a:cubicBezTo>
                    <a:cubicBezTo>
                      <a:pt x="86" y="115"/>
                      <a:pt x="86" y="115"/>
                      <a:pt x="86" y="115"/>
                    </a:cubicBezTo>
                    <a:cubicBezTo>
                      <a:pt x="86" y="115"/>
                      <a:pt x="86" y="115"/>
                      <a:pt x="86" y="115"/>
                    </a:cubicBezTo>
                    <a:cubicBezTo>
                      <a:pt x="98" y="108"/>
                      <a:pt x="99" y="100"/>
                      <a:pt x="99" y="100"/>
                    </a:cubicBezTo>
                    <a:cubicBezTo>
                      <a:pt x="96" y="93"/>
                      <a:pt x="80" y="94"/>
                      <a:pt x="80" y="94"/>
                    </a:cubicBezTo>
                    <a:cubicBezTo>
                      <a:pt x="53" y="79"/>
                      <a:pt x="80" y="79"/>
                      <a:pt x="80" y="79"/>
                    </a:cubicBezTo>
                    <a:cubicBezTo>
                      <a:pt x="96" y="72"/>
                      <a:pt x="100" y="82"/>
                      <a:pt x="100" y="82"/>
                    </a:cubicBezTo>
                    <a:cubicBezTo>
                      <a:pt x="100" y="82"/>
                      <a:pt x="100" y="82"/>
                      <a:pt x="100" y="82"/>
                    </a:cubicBezTo>
                    <a:cubicBezTo>
                      <a:pt x="110" y="65"/>
                      <a:pt x="110" y="65"/>
                      <a:pt x="110" y="65"/>
                    </a:cubicBezTo>
                    <a:cubicBezTo>
                      <a:pt x="110" y="65"/>
                      <a:pt x="110" y="65"/>
                      <a:pt x="110" y="65"/>
                    </a:cubicBezTo>
                    <a:cubicBezTo>
                      <a:pt x="118" y="69"/>
                      <a:pt x="133" y="76"/>
                      <a:pt x="133" y="76"/>
                    </a:cubicBezTo>
                    <a:cubicBezTo>
                      <a:pt x="151" y="89"/>
                      <a:pt x="154" y="79"/>
                      <a:pt x="154" y="79"/>
                    </a:cubicBezTo>
                    <a:cubicBezTo>
                      <a:pt x="154" y="79"/>
                      <a:pt x="161" y="72"/>
                      <a:pt x="157" y="59"/>
                    </a:cubicBezTo>
                    <a:cubicBezTo>
                      <a:pt x="157" y="59"/>
                      <a:pt x="147" y="56"/>
                      <a:pt x="161" y="42"/>
                    </a:cubicBezTo>
                    <a:cubicBezTo>
                      <a:pt x="161" y="42"/>
                      <a:pt x="164" y="22"/>
                      <a:pt x="176" y="23"/>
                    </a:cubicBezTo>
                    <a:cubicBezTo>
                      <a:pt x="189" y="9"/>
                      <a:pt x="202" y="12"/>
                      <a:pt x="206" y="8"/>
                    </a:cubicBezTo>
                    <a:cubicBezTo>
                      <a:pt x="213" y="1"/>
                      <a:pt x="224" y="9"/>
                      <a:pt x="234" y="4"/>
                    </a:cubicBezTo>
                    <a:cubicBezTo>
                      <a:pt x="236" y="9"/>
                      <a:pt x="257" y="0"/>
                      <a:pt x="267" y="15"/>
                    </a:cubicBezTo>
                    <a:cubicBezTo>
                      <a:pt x="285" y="31"/>
                      <a:pt x="293" y="40"/>
                      <a:pt x="305" y="37"/>
                    </a:cubicBezTo>
                    <a:cubicBezTo>
                      <a:pt x="319" y="39"/>
                      <a:pt x="335" y="37"/>
                      <a:pt x="335" y="37"/>
                    </a:cubicBezTo>
                    <a:cubicBezTo>
                      <a:pt x="362" y="21"/>
                      <a:pt x="360" y="53"/>
                      <a:pt x="360" y="53"/>
                    </a:cubicBezTo>
                    <a:cubicBezTo>
                      <a:pt x="383" y="63"/>
                      <a:pt x="378" y="71"/>
                      <a:pt x="378" y="71"/>
                    </a:cubicBezTo>
                    <a:cubicBezTo>
                      <a:pt x="381" y="82"/>
                      <a:pt x="388" y="83"/>
                      <a:pt x="388" y="83"/>
                    </a:cubicBezTo>
                    <a:cubicBezTo>
                      <a:pt x="400" y="88"/>
                      <a:pt x="398" y="99"/>
                      <a:pt x="398" y="99"/>
                    </a:cubicBezTo>
                    <a:cubicBezTo>
                      <a:pt x="400" y="119"/>
                      <a:pt x="411" y="99"/>
                      <a:pt x="411" y="99"/>
                    </a:cubicBezTo>
                    <a:cubicBezTo>
                      <a:pt x="418" y="80"/>
                      <a:pt x="431" y="89"/>
                      <a:pt x="431" y="89"/>
                    </a:cubicBezTo>
                    <a:cubicBezTo>
                      <a:pt x="433" y="98"/>
                      <a:pt x="448" y="89"/>
                      <a:pt x="448" y="89"/>
                    </a:cubicBezTo>
                    <a:cubicBezTo>
                      <a:pt x="463" y="93"/>
                      <a:pt x="455" y="97"/>
                      <a:pt x="455" y="97"/>
                    </a:cubicBezTo>
                    <a:cubicBezTo>
                      <a:pt x="449" y="103"/>
                      <a:pt x="459" y="107"/>
                      <a:pt x="460" y="99"/>
                    </a:cubicBezTo>
                    <a:cubicBezTo>
                      <a:pt x="466" y="93"/>
                      <a:pt x="473" y="97"/>
                      <a:pt x="473" y="97"/>
                    </a:cubicBezTo>
                    <a:cubicBezTo>
                      <a:pt x="473" y="100"/>
                      <a:pt x="462" y="106"/>
                      <a:pt x="466" y="117"/>
                    </a:cubicBezTo>
                    <a:cubicBezTo>
                      <a:pt x="461" y="142"/>
                      <a:pt x="469" y="142"/>
                      <a:pt x="469" y="142"/>
                    </a:cubicBezTo>
                    <a:cubicBezTo>
                      <a:pt x="479" y="144"/>
                      <a:pt x="480" y="155"/>
                      <a:pt x="480" y="155"/>
                    </a:cubicBezTo>
                    <a:cubicBezTo>
                      <a:pt x="484" y="164"/>
                      <a:pt x="477" y="167"/>
                      <a:pt x="477" y="167"/>
                    </a:cubicBezTo>
                    <a:cubicBezTo>
                      <a:pt x="469" y="168"/>
                      <a:pt x="477" y="182"/>
                      <a:pt x="477" y="182"/>
                    </a:cubicBezTo>
                    <a:cubicBezTo>
                      <a:pt x="484" y="199"/>
                      <a:pt x="463" y="192"/>
                      <a:pt x="463" y="192"/>
                    </a:cubicBezTo>
                    <a:cubicBezTo>
                      <a:pt x="450" y="177"/>
                      <a:pt x="443" y="188"/>
                      <a:pt x="443" y="188"/>
                    </a:cubicBezTo>
                    <a:cubicBezTo>
                      <a:pt x="434" y="199"/>
                      <a:pt x="443" y="206"/>
                      <a:pt x="443" y="206"/>
                    </a:cubicBezTo>
                    <a:cubicBezTo>
                      <a:pt x="453" y="214"/>
                      <a:pt x="443" y="217"/>
                      <a:pt x="443" y="217"/>
                    </a:cubicBezTo>
                    <a:cubicBezTo>
                      <a:pt x="429" y="219"/>
                      <a:pt x="444" y="233"/>
                      <a:pt x="444" y="233"/>
                    </a:cubicBezTo>
                    <a:cubicBezTo>
                      <a:pt x="444" y="233"/>
                      <a:pt x="444" y="233"/>
                      <a:pt x="444" y="233"/>
                    </a:cubicBezTo>
                    <a:close/>
                  </a:path>
                </a:pathLst>
              </a:custGeom>
              <a:solidFill>
                <a:srgbClr val="EEBB0D">
                  <a:alpha val="87059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45" name="Freeform 41"/>
              <p:cNvSpPr>
                <a:spLocks/>
              </p:cNvSpPr>
              <p:nvPr/>
            </p:nvSpPr>
            <p:spPr bwMode="auto">
              <a:xfrm>
                <a:off x="2843899" y="3154743"/>
                <a:ext cx="1122399" cy="823199"/>
              </a:xfrm>
              <a:custGeom>
                <a:avLst/>
                <a:gdLst/>
                <a:ahLst/>
                <a:cxnLst>
                  <a:cxn ang="0">
                    <a:pos x="385" y="177"/>
                  </a:cxn>
                  <a:cxn ang="0">
                    <a:pos x="389" y="206"/>
                  </a:cxn>
                  <a:cxn ang="0">
                    <a:pos x="389" y="228"/>
                  </a:cxn>
                  <a:cxn ang="0">
                    <a:pos x="372" y="230"/>
                  </a:cxn>
                  <a:cxn ang="0">
                    <a:pos x="355" y="235"/>
                  </a:cxn>
                  <a:cxn ang="0">
                    <a:pos x="342" y="217"/>
                  </a:cxn>
                  <a:cxn ang="0">
                    <a:pos x="332" y="209"/>
                  </a:cxn>
                  <a:cxn ang="0">
                    <a:pos x="319" y="221"/>
                  </a:cxn>
                  <a:cxn ang="0">
                    <a:pos x="311" y="233"/>
                  </a:cxn>
                  <a:cxn ang="0">
                    <a:pos x="301" y="242"/>
                  </a:cxn>
                  <a:cxn ang="0">
                    <a:pos x="288" y="244"/>
                  </a:cxn>
                  <a:cxn ang="0">
                    <a:pos x="275" y="243"/>
                  </a:cxn>
                  <a:cxn ang="0">
                    <a:pos x="250" y="240"/>
                  </a:cxn>
                  <a:cxn ang="0">
                    <a:pos x="238" y="252"/>
                  </a:cxn>
                  <a:cxn ang="0">
                    <a:pos x="230" y="270"/>
                  </a:cxn>
                  <a:cxn ang="0">
                    <a:pos x="209" y="274"/>
                  </a:cxn>
                  <a:cxn ang="0">
                    <a:pos x="192" y="273"/>
                  </a:cxn>
                  <a:cxn ang="0">
                    <a:pos x="178" y="273"/>
                  </a:cxn>
                  <a:cxn ang="0">
                    <a:pos x="139" y="272"/>
                  </a:cxn>
                  <a:cxn ang="0">
                    <a:pos x="127" y="286"/>
                  </a:cxn>
                  <a:cxn ang="0">
                    <a:pos x="122" y="300"/>
                  </a:cxn>
                  <a:cxn ang="0">
                    <a:pos x="115" y="306"/>
                  </a:cxn>
                  <a:cxn ang="0">
                    <a:pos x="87" y="320"/>
                  </a:cxn>
                  <a:cxn ang="0">
                    <a:pos x="59" y="330"/>
                  </a:cxn>
                  <a:cxn ang="0">
                    <a:pos x="56" y="318"/>
                  </a:cxn>
                  <a:cxn ang="0">
                    <a:pos x="51" y="301"/>
                  </a:cxn>
                  <a:cxn ang="0">
                    <a:pos x="44" y="286"/>
                  </a:cxn>
                  <a:cxn ang="0">
                    <a:pos x="33" y="265"/>
                  </a:cxn>
                  <a:cxn ang="0">
                    <a:pos x="23" y="253"/>
                  </a:cxn>
                  <a:cxn ang="0">
                    <a:pos x="21" y="241"/>
                  </a:cxn>
                  <a:cxn ang="0">
                    <a:pos x="16" y="224"/>
                  </a:cxn>
                  <a:cxn ang="0">
                    <a:pos x="15" y="213"/>
                  </a:cxn>
                  <a:cxn ang="0">
                    <a:pos x="20" y="187"/>
                  </a:cxn>
                  <a:cxn ang="0">
                    <a:pos x="31" y="193"/>
                  </a:cxn>
                  <a:cxn ang="0">
                    <a:pos x="47" y="185"/>
                  </a:cxn>
                  <a:cxn ang="0">
                    <a:pos x="68" y="177"/>
                  </a:cxn>
                  <a:cxn ang="0">
                    <a:pos x="82" y="177"/>
                  </a:cxn>
                  <a:cxn ang="0">
                    <a:pos x="99" y="183"/>
                  </a:cxn>
                  <a:cxn ang="0">
                    <a:pos x="104" y="173"/>
                  </a:cxn>
                  <a:cxn ang="0">
                    <a:pos x="114" y="167"/>
                  </a:cxn>
                  <a:cxn ang="0">
                    <a:pos x="144" y="166"/>
                  </a:cxn>
                  <a:cxn ang="0">
                    <a:pos x="169" y="153"/>
                  </a:cxn>
                  <a:cxn ang="0">
                    <a:pos x="187" y="135"/>
                  </a:cxn>
                  <a:cxn ang="0">
                    <a:pos x="188" y="118"/>
                  </a:cxn>
                  <a:cxn ang="0">
                    <a:pos x="194" y="90"/>
                  </a:cxn>
                  <a:cxn ang="0">
                    <a:pos x="209" y="70"/>
                  </a:cxn>
                  <a:cxn ang="0">
                    <a:pos x="227" y="69"/>
                  </a:cxn>
                  <a:cxn ang="0">
                    <a:pos x="251" y="72"/>
                  </a:cxn>
                  <a:cxn ang="0">
                    <a:pos x="268" y="46"/>
                  </a:cxn>
                  <a:cxn ang="0">
                    <a:pos x="273" y="30"/>
                  </a:cxn>
                  <a:cxn ang="0">
                    <a:pos x="284" y="17"/>
                  </a:cxn>
                  <a:cxn ang="0">
                    <a:pos x="301" y="0"/>
                  </a:cxn>
                  <a:cxn ang="0">
                    <a:pos x="316" y="16"/>
                  </a:cxn>
                  <a:cxn ang="0">
                    <a:pos x="325" y="36"/>
                  </a:cxn>
                  <a:cxn ang="0">
                    <a:pos x="335" y="47"/>
                  </a:cxn>
                  <a:cxn ang="0">
                    <a:pos x="337" y="65"/>
                  </a:cxn>
                  <a:cxn ang="0">
                    <a:pos x="344" y="80"/>
                  </a:cxn>
                  <a:cxn ang="0">
                    <a:pos x="359" y="98"/>
                  </a:cxn>
                  <a:cxn ang="0">
                    <a:pos x="374" y="111"/>
                  </a:cxn>
                  <a:cxn ang="0">
                    <a:pos x="375" y="125"/>
                  </a:cxn>
                  <a:cxn ang="0">
                    <a:pos x="376" y="147"/>
                  </a:cxn>
                  <a:cxn ang="0">
                    <a:pos x="385" y="177"/>
                  </a:cxn>
                  <a:cxn ang="0">
                    <a:pos x="385" y="177"/>
                  </a:cxn>
                </a:cxnLst>
                <a:rect l="0" t="0" r="r" b="b"/>
                <a:pathLst>
                  <a:path w="396" h="330">
                    <a:moveTo>
                      <a:pt x="385" y="177"/>
                    </a:moveTo>
                    <a:cubicBezTo>
                      <a:pt x="374" y="195"/>
                      <a:pt x="385" y="191"/>
                      <a:pt x="389" y="206"/>
                    </a:cubicBezTo>
                    <a:cubicBezTo>
                      <a:pt x="389" y="206"/>
                      <a:pt x="396" y="220"/>
                      <a:pt x="389" y="228"/>
                    </a:cubicBezTo>
                    <a:cubicBezTo>
                      <a:pt x="380" y="238"/>
                      <a:pt x="380" y="226"/>
                      <a:pt x="372" y="230"/>
                    </a:cubicBezTo>
                    <a:cubicBezTo>
                      <a:pt x="372" y="230"/>
                      <a:pt x="365" y="239"/>
                      <a:pt x="355" y="235"/>
                    </a:cubicBezTo>
                    <a:cubicBezTo>
                      <a:pt x="355" y="235"/>
                      <a:pt x="354" y="224"/>
                      <a:pt x="342" y="217"/>
                    </a:cubicBezTo>
                    <a:cubicBezTo>
                      <a:pt x="342" y="217"/>
                      <a:pt x="335" y="217"/>
                      <a:pt x="332" y="209"/>
                    </a:cubicBezTo>
                    <a:cubicBezTo>
                      <a:pt x="332" y="209"/>
                      <a:pt x="325" y="217"/>
                      <a:pt x="319" y="221"/>
                    </a:cubicBezTo>
                    <a:cubicBezTo>
                      <a:pt x="319" y="221"/>
                      <a:pt x="310" y="223"/>
                      <a:pt x="311" y="233"/>
                    </a:cubicBezTo>
                    <a:cubicBezTo>
                      <a:pt x="311" y="233"/>
                      <a:pt x="313" y="248"/>
                      <a:pt x="301" y="242"/>
                    </a:cubicBezTo>
                    <a:cubicBezTo>
                      <a:pt x="301" y="242"/>
                      <a:pt x="296" y="232"/>
                      <a:pt x="288" y="244"/>
                    </a:cubicBezTo>
                    <a:cubicBezTo>
                      <a:pt x="288" y="244"/>
                      <a:pt x="279" y="259"/>
                      <a:pt x="275" y="243"/>
                    </a:cubicBezTo>
                    <a:cubicBezTo>
                      <a:pt x="275" y="243"/>
                      <a:pt x="260" y="234"/>
                      <a:pt x="250" y="240"/>
                    </a:cubicBezTo>
                    <a:cubicBezTo>
                      <a:pt x="250" y="240"/>
                      <a:pt x="232" y="234"/>
                      <a:pt x="238" y="252"/>
                    </a:cubicBezTo>
                    <a:cubicBezTo>
                      <a:pt x="238" y="252"/>
                      <a:pt x="229" y="261"/>
                      <a:pt x="230" y="270"/>
                    </a:cubicBezTo>
                    <a:cubicBezTo>
                      <a:pt x="230" y="270"/>
                      <a:pt x="212" y="282"/>
                      <a:pt x="209" y="274"/>
                    </a:cubicBezTo>
                    <a:cubicBezTo>
                      <a:pt x="209" y="274"/>
                      <a:pt x="205" y="265"/>
                      <a:pt x="192" y="273"/>
                    </a:cubicBezTo>
                    <a:cubicBezTo>
                      <a:pt x="192" y="273"/>
                      <a:pt x="182" y="281"/>
                      <a:pt x="178" y="273"/>
                    </a:cubicBezTo>
                    <a:cubicBezTo>
                      <a:pt x="178" y="273"/>
                      <a:pt x="161" y="268"/>
                      <a:pt x="139" y="272"/>
                    </a:cubicBezTo>
                    <a:cubicBezTo>
                      <a:pt x="139" y="272"/>
                      <a:pt x="128" y="268"/>
                      <a:pt x="127" y="286"/>
                    </a:cubicBezTo>
                    <a:cubicBezTo>
                      <a:pt x="127" y="286"/>
                      <a:pt x="118" y="296"/>
                      <a:pt x="122" y="300"/>
                    </a:cubicBezTo>
                    <a:cubicBezTo>
                      <a:pt x="122" y="300"/>
                      <a:pt x="127" y="309"/>
                      <a:pt x="115" y="306"/>
                    </a:cubicBezTo>
                    <a:cubicBezTo>
                      <a:pt x="115" y="306"/>
                      <a:pt x="102" y="302"/>
                      <a:pt x="87" y="320"/>
                    </a:cubicBezTo>
                    <a:cubicBezTo>
                      <a:pt x="81" y="325"/>
                      <a:pt x="76" y="311"/>
                      <a:pt x="59" y="330"/>
                    </a:cubicBezTo>
                    <a:cubicBezTo>
                      <a:pt x="44" y="325"/>
                      <a:pt x="56" y="318"/>
                      <a:pt x="56" y="318"/>
                    </a:cubicBezTo>
                    <a:cubicBezTo>
                      <a:pt x="62" y="303"/>
                      <a:pt x="51" y="301"/>
                      <a:pt x="51" y="301"/>
                    </a:cubicBezTo>
                    <a:cubicBezTo>
                      <a:pt x="46" y="300"/>
                      <a:pt x="58" y="285"/>
                      <a:pt x="44" y="286"/>
                    </a:cubicBezTo>
                    <a:cubicBezTo>
                      <a:pt x="35" y="283"/>
                      <a:pt x="45" y="274"/>
                      <a:pt x="33" y="265"/>
                    </a:cubicBezTo>
                    <a:cubicBezTo>
                      <a:pt x="21" y="263"/>
                      <a:pt x="31" y="250"/>
                      <a:pt x="23" y="253"/>
                    </a:cubicBezTo>
                    <a:cubicBezTo>
                      <a:pt x="17" y="252"/>
                      <a:pt x="21" y="241"/>
                      <a:pt x="21" y="241"/>
                    </a:cubicBezTo>
                    <a:cubicBezTo>
                      <a:pt x="10" y="239"/>
                      <a:pt x="16" y="224"/>
                      <a:pt x="16" y="224"/>
                    </a:cubicBezTo>
                    <a:cubicBezTo>
                      <a:pt x="0" y="224"/>
                      <a:pt x="11" y="211"/>
                      <a:pt x="15" y="213"/>
                    </a:cubicBezTo>
                    <a:cubicBezTo>
                      <a:pt x="26" y="199"/>
                      <a:pt x="20" y="187"/>
                      <a:pt x="20" y="187"/>
                    </a:cubicBezTo>
                    <a:cubicBezTo>
                      <a:pt x="31" y="182"/>
                      <a:pt x="24" y="195"/>
                      <a:pt x="31" y="193"/>
                    </a:cubicBezTo>
                    <a:cubicBezTo>
                      <a:pt x="40" y="195"/>
                      <a:pt x="47" y="185"/>
                      <a:pt x="47" y="185"/>
                    </a:cubicBezTo>
                    <a:cubicBezTo>
                      <a:pt x="51" y="176"/>
                      <a:pt x="68" y="177"/>
                      <a:pt x="68" y="177"/>
                    </a:cubicBezTo>
                    <a:cubicBezTo>
                      <a:pt x="73" y="162"/>
                      <a:pt x="82" y="177"/>
                      <a:pt x="82" y="177"/>
                    </a:cubicBezTo>
                    <a:cubicBezTo>
                      <a:pt x="93" y="177"/>
                      <a:pt x="99" y="183"/>
                      <a:pt x="99" y="183"/>
                    </a:cubicBezTo>
                    <a:cubicBezTo>
                      <a:pt x="106" y="188"/>
                      <a:pt x="104" y="173"/>
                      <a:pt x="104" y="173"/>
                    </a:cubicBezTo>
                    <a:cubicBezTo>
                      <a:pt x="104" y="155"/>
                      <a:pt x="114" y="167"/>
                      <a:pt x="114" y="167"/>
                    </a:cubicBezTo>
                    <a:cubicBezTo>
                      <a:pt x="137" y="158"/>
                      <a:pt x="144" y="166"/>
                      <a:pt x="144" y="166"/>
                    </a:cubicBezTo>
                    <a:cubicBezTo>
                      <a:pt x="167" y="166"/>
                      <a:pt x="169" y="153"/>
                      <a:pt x="169" y="153"/>
                    </a:cubicBezTo>
                    <a:cubicBezTo>
                      <a:pt x="170" y="144"/>
                      <a:pt x="187" y="135"/>
                      <a:pt x="187" y="135"/>
                    </a:cubicBezTo>
                    <a:cubicBezTo>
                      <a:pt x="187" y="126"/>
                      <a:pt x="188" y="118"/>
                      <a:pt x="188" y="118"/>
                    </a:cubicBezTo>
                    <a:cubicBezTo>
                      <a:pt x="195" y="107"/>
                      <a:pt x="194" y="90"/>
                      <a:pt x="194" y="90"/>
                    </a:cubicBezTo>
                    <a:cubicBezTo>
                      <a:pt x="194" y="63"/>
                      <a:pt x="209" y="70"/>
                      <a:pt x="209" y="70"/>
                    </a:cubicBezTo>
                    <a:cubicBezTo>
                      <a:pt x="217" y="58"/>
                      <a:pt x="227" y="69"/>
                      <a:pt x="227" y="69"/>
                    </a:cubicBezTo>
                    <a:cubicBezTo>
                      <a:pt x="234" y="76"/>
                      <a:pt x="251" y="72"/>
                      <a:pt x="251" y="72"/>
                    </a:cubicBezTo>
                    <a:cubicBezTo>
                      <a:pt x="266" y="74"/>
                      <a:pt x="268" y="46"/>
                      <a:pt x="268" y="46"/>
                    </a:cubicBezTo>
                    <a:cubicBezTo>
                      <a:pt x="279" y="43"/>
                      <a:pt x="273" y="30"/>
                      <a:pt x="273" y="30"/>
                    </a:cubicBezTo>
                    <a:cubicBezTo>
                      <a:pt x="274" y="22"/>
                      <a:pt x="287" y="22"/>
                      <a:pt x="284" y="17"/>
                    </a:cubicBezTo>
                    <a:cubicBezTo>
                      <a:pt x="282" y="5"/>
                      <a:pt x="301" y="0"/>
                      <a:pt x="301" y="0"/>
                    </a:cubicBezTo>
                    <a:cubicBezTo>
                      <a:pt x="302" y="15"/>
                      <a:pt x="316" y="16"/>
                      <a:pt x="316" y="16"/>
                    </a:cubicBezTo>
                    <a:cubicBezTo>
                      <a:pt x="316" y="38"/>
                      <a:pt x="325" y="36"/>
                      <a:pt x="325" y="36"/>
                    </a:cubicBezTo>
                    <a:cubicBezTo>
                      <a:pt x="333" y="36"/>
                      <a:pt x="335" y="47"/>
                      <a:pt x="335" y="47"/>
                    </a:cubicBezTo>
                    <a:cubicBezTo>
                      <a:pt x="341" y="52"/>
                      <a:pt x="337" y="65"/>
                      <a:pt x="337" y="65"/>
                    </a:cubicBezTo>
                    <a:cubicBezTo>
                      <a:pt x="324" y="67"/>
                      <a:pt x="344" y="80"/>
                      <a:pt x="344" y="80"/>
                    </a:cubicBezTo>
                    <a:cubicBezTo>
                      <a:pt x="359" y="86"/>
                      <a:pt x="359" y="98"/>
                      <a:pt x="359" y="98"/>
                    </a:cubicBezTo>
                    <a:cubicBezTo>
                      <a:pt x="376" y="100"/>
                      <a:pt x="374" y="111"/>
                      <a:pt x="374" y="111"/>
                    </a:cubicBezTo>
                    <a:cubicBezTo>
                      <a:pt x="388" y="124"/>
                      <a:pt x="375" y="125"/>
                      <a:pt x="375" y="125"/>
                    </a:cubicBezTo>
                    <a:cubicBezTo>
                      <a:pt x="366" y="136"/>
                      <a:pt x="376" y="147"/>
                      <a:pt x="376" y="147"/>
                    </a:cubicBezTo>
                    <a:cubicBezTo>
                      <a:pt x="386" y="159"/>
                      <a:pt x="385" y="177"/>
                      <a:pt x="385" y="177"/>
                    </a:cubicBezTo>
                    <a:cubicBezTo>
                      <a:pt x="385" y="177"/>
                      <a:pt x="385" y="177"/>
                      <a:pt x="385" y="177"/>
                    </a:cubicBezTo>
                    <a:close/>
                  </a:path>
                </a:pathLst>
              </a:custGeom>
              <a:solidFill>
                <a:srgbClr val="EEBB0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46" name="Freeform 40"/>
              <p:cNvSpPr>
                <a:spLocks/>
              </p:cNvSpPr>
              <p:nvPr/>
            </p:nvSpPr>
            <p:spPr bwMode="auto">
              <a:xfrm>
                <a:off x="2896348" y="3598004"/>
                <a:ext cx="1421355" cy="710124"/>
              </a:xfrm>
              <a:custGeom>
                <a:avLst/>
                <a:gdLst/>
                <a:ahLst/>
                <a:cxnLst>
                  <a:cxn ang="0">
                    <a:pos x="375" y="231"/>
                  </a:cxn>
                  <a:cxn ang="0">
                    <a:pos x="328" y="267"/>
                  </a:cxn>
                  <a:cxn ang="0">
                    <a:pos x="289" y="271"/>
                  </a:cxn>
                  <a:cxn ang="0">
                    <a:pos x="263" y="256"/>
                  </a:cxn>
                  <a:cxn ang="0">
                    <a:pos x="246" y="225"/>
                  </a:cxn>
                  <a:cxn ang="0">
                    <a:pos x="218" y="219"/>
                  </a:cxn>
                  <a:cxn ang="0">
                    <a:pos x="181" y="201"/>
                  </a:cxn>
                  <a:cxn ang="0">
                    <a:pos x="119" y="200"/>
                  </a:cxn>
                  <a:cxn ang="0">
                    <a:pos x="74" y="204"/>
                  </a:cxn>
                  <a:cxn ang="0">
                    <a:pos x="26" y="190"/>
                  </a:cxn>
                  <a:cxn ang="0">
                    <a:pos x="10" y="166"/>
                  </a:cxn>
                  <a:cxn ang="0">
                    <a:pos x="41" y="154"/>
                  </a:cxn>
                  <a:cxn ang="0">
                    <a:pos x="97" y="129"/>
                  </a:cxn>
                  <a:cxn ang="0">
                    <a:pos x="109" y="109"/>
                  </a:cxn>
                  <a:cxn ang="0">
                    <a:pos x="160" y="96"/>
                  </a:cxn>
                  <a:cxn ang="0">
                    <a:pos x="191" y="97"/>
                  </a:cxn>
                  <a:cxn ang="0">
                    <a:pos x="220" y="75"/>
                  </a:cxn>
                  <a:cxn ang="0">
                    <a:pos x="257" y="66"/>
                  </a:cxn>
                  <a:cxn ang="0">
                    <a:pos x="283" y="65"/>
                  </a:cxn>
                  <a:cxn ang="0">
                    <a:pos x="301" y="44"/>
                  </a:cxn>
                  <a:cxn ang="0">
                    <a:pos x="324" y="40"/>
                  </a:cxn>
                  <a:cxn ang="0">
                    <a:pos x="354" y="53"/>
                  </a:cxn>
                  <a:cxn ang="0">
                    <a:pos x="371" y="29"/>
                  </a:cxn>
                  <a:cxn ang="0">
                    <a:pos x="379" y="9"/>
                  </a:cxn>
                  <a:cxn ang="0">
                    <a:pos x="419" y="33"/>
                  </a:cxn>
                  <a:cxn ang="0">
                    <a:pos x="451" y="58"/>
                  </a:cxn>
                  <a:cxn ang="0">
                    <a:pos x="502" y="67"/>
                  </a:cxn>
                  <a:cxn ang="0">
                    <a:pos x="492" y="84"/>
                  </a:cxn>
                  <a:cxn ang="0">
                    <a:pos x="472" y="81"/>
                  </a:cxn>
                  <a:cxn ang="0">
                    <a:pos x="491" y="102"/>
                  </a:cxn>
                  <a:cxn ang="0">
                    <a:pos x="478" y="117"/>
                  </a:cxn>
                  <a:cxn ang="0">
                    <a:pos x="461" y="123"/>
                  </a:cxn>
                  <a:cxn ang="0">
                    <a:pos x="458" y="164"/>
                  </a:cxn>
                  <a:cxn ang="0">
                    <a:pos x="427" y="209"/>
                  </a:cxn>
                  <a:cxn ang="0">
                    <a:pos x="403" y="227"/>
                  </a:cxn>
                </a:cxnLst>
                <a:rect l="0" t="0" r="r" b="b"/>
                <a:pathLst>
                  <a:path w="502" h="285">
                    <a:moveTo>
                      <a:pt x="403" y="227"/>
                    </a:moveTo>
                    <a:cubicBezTo>
                      <a:pt x="385" y="209"/>
                      <a:pt x="389" y="236"/>
                      <a:pt x="375" y="231"/>
                    </a:cubicBezTo>
                    <a:cubicBezTo>
                      <a:pt x="375" y="231"/>
                      <a:pt x="358" y="223"/>
                      <a:pt x="358" y="249"/>
                    </a:cubicBezTo>
                    <a:cubicBezTo>
                      <a:pt x="358" y="249"/>
                      <a:pt x="365" y="273"/>
                      <a:pt x="328" y="267"/>
                    </a:cubicBezTo>
                    <a:cubicBezTo>
                      <a:pt x="328" y="267"/>
                      <a:pt x="310" y="253"/>
                      <a:pt x="304" y="267"/>
                    </a:cubicBezTo>
                    <a:cubicBezTo>
                      <a:pt x="304" y="267"/>
                      <a:pt x="292" y="285"/>
                      <a:pt x="289" y="271"/>
                    </a:cubicBezTo>
                    <a:cubicBezTo>
                      <a:pt x="289" y="271"/>
                      <a:pt x="282" y="257"/>
                      <a:pt x="272" y="267"/>
                    </a:cubicBezTo>
                    <a:cubicBezTo>
                      <a:pt x="272" y="267"/>
                      <a:pt x="255" y="273"/>
                      <a:pt x="263" y="256"/>
                    </a:cubicBezTo>
                    <a:cubicBezTo>
                      <a:pt x="263" y="256"/>
                      <a:pt x="263" y="244"/>
                      <a:pt x="253" y="240"/>
                    </a:cubicBezTo>
                    <a:cubicBezTo>
                      <a:pt x="253" y="240"/>
                      <a:pt x="235" y="228"/>
                      <a:pt x="246" y="225"/>
                    </a:cubicBezTo>
                    <a:cubicBezTo>
                      <a:pt x="246" y="225"/>
                      <a:pt x="259" y="214"/>
                      <a:pt x="237" y="212"/>
                    </a:cubicBezTo>
                    <a:cubicBezTo>
                      <a:pt x="237" y="212"/>
                      <a:pt x="232" y="204"/>
                      <a:pt x="218" y="219"/>
                    </a:cubicBezTo>
                    <a:cubicBezTo>
                      <a:pt x="218" y="219"/>
                      <a:pt x="223" y="206"/>
                      <a:pt x="202" y="209"/>
                    </a:cubicBezTo>
                    <a:cubicBezTo>
                      <a:pt x="202" y="209"/>
                      <a:pt x="184" y="214"/>
                      <a:pt x="181" y="201"/>
                    </a:cubicBezTo>
                    <a:cubicBezTo>
                      <a:pt x="181" y="201"/>
                      <a:pt x="173" y="181"/>
                      <a:pt x="151" y="197"/>
                    </a:cubicBezTo>
                    <a:cubicBezTo>
                      <a:pt x="142" y="210"/>
                      <a:pt x="143" y="193"/>
                      <a:pt x="119" y="200"/>
                    </a:cubicBezTo>
                    <a:cubicBezTo>
                      <a:pt x="112" y="199"/>
                      <a:pt x="109" y="208"/>
                      <a:pt x="103" y="201"/>
                    </a:cubicBezTo>
                    <a:cubicBezTo>
                      <a:pt x="103" y="201"/>
                      <a:pt x="84" y="192"/>
                      <a:pt x="74" y="204"/>
                    </a:cubicBezTo>
                    <a:cubicBezTo>
                      <a:pt x="74" y="204"/>
                      <a:pt x="63" y="207"/>
                      <a:pt x="54" y="204"/>
                    </a:cubicBezTo>
                    <a:cubicBezTo>
                      <a:pt x="44" y="208"/>
                      <a:pt x="38" y="190"/>
                      <a:pt x="26" y="190"/>
                    </a:cubicBezTo>
                    <a:cubicBezTo>
                      <a:pt x="26" y="190"/>
                      <a:pt x="23" y="197"/>
                      <a:pt x="11" y="194"/>
                    </a:cubicBezTo>
                    <a:cubicBezTo>
                      <a:pt x="0" y="181"/>
                      <a:pt x="10" y="166"/>
                      <a:pt x="10" y="166"/>
                    </a:cubicBezTo>
                    <a:cubicBezTo>
                      <a:pt x="16" y="150"/>
                      <a:pt x="23" y="156"/>
                      <a:pt x="23" y="156"/>
                    </a:cubicBezTo>
                    <a:cubicBezTo>
                      <a:pt x="31" y="169"/>
                      <a:pt x="41" y="154"/>
                      <a:pt x="41" y="154"/>
                    </a:cubicBezTo>
                    <a:cubicBezTo>
                      <a:pt x="57" y="135"/>
                      <a:pt x="63" y="148"/>
                      <a:pt x="69" y="143"/>
                    </a:cubicBezTo>
                    <a:cubicBezTo>
                      <a:pt x="84" y="125"/>
                      <a:pt x="97" y="129"/>
                      <a:pt x="97" y="129"/>
                    </a:cubicBezTo>
                    <a:cubicBezTo>
                      <a:pt x="109" y="132"/>
                      <a:pt x="104" y="123"/>
                      <a:pt x="104" y="123"/>
                    </a:cubicBezTo>
                    <a:cubicBezTo>
                      <a:pt x="100" y="119"/>
                      <a:pt x="109" y="109"/>
                      <a:pt x="109" y="109"/>
                    </a:cubicBezTo>
                    <a:cubicBezTo>
                      <a:pt x="110" y="91"/>
                      <a:pt x="121" y="95"/>
                      <a:pt x="121" y="95"/>
                    </a:cubicBezTo>
                    <a:cubicBezTo>
                      <a:pt x="143" y="91"/>
                      <a:pt x="160" y="96"/>
                      <a:pt x="160" y="96"/>
                    </a:cubicBezTo>
                    <a:cubicBezTo>
                      <a:pt x="164" y="104"/>
                      <a:pt x="174" y="96"/>
                      <a:pt x="174" y="96"/>
                    </a:cubicBezTo>
                    <a:cubicBezTo>
                      <a:pt x="187" y="88"/>
                      <a:pt x="191" y="97"/>
                      <a:pt x="191" y="97"/>
                    </a:cubicBezTo>
                    <a:cubicBezTo>
                      <a:pt x="194" y="105"/>
                      <a:pt x="212" y="93"/>
                      <a:pt x="212" y="93"/>
                    </a:cubicBezTo>
                    <a:cubicBezTo>
                      <a:pt x="211" y="84"/>
                      <a:pt x="220" y="75"/>
                      <a:pt x="220" y="75"/>
                    </a:cubicBezTo>
                    <a:cubicBezTo>
                      <a:pt x="214" y="57"/>
                      <a:pt x="232" y="63"/>
                      <a:pt x="232" y="63"/>
                    </a:cubicBezTo>
                    <a:cubicBezTo>
                      <a:pt x="242" y="57"/>
                      <a:pt x="257" y="66"/>
                      <a:pt x="257" y="66"/>
                    </a:cubicBezTo>
                    <a:cubicBezTo>
                      <a:pt x="261" y="82"/>
                      <a:pt x="270" y="67"/>
                      <a:pt x="270" y="67"/>
                    </a:cubicBezTo>
                    <a:cubicBezTo>
                      <a:pt x="278" y="55"/>
                      <a:pt x="283" y="65"/>
                      <a:pt x="283" y="65"/>
                    </a:cubicBezTo>
                    <a:cubicBezTo>
                      <a:pt x="295" y="71"/>
                      <a:pt x="293" y="56"/>
                      <a:pt x="293" y="56"/>
                    </a:cubicBezTo>
                    <a:cubicBezTo>
                      <a:pt x="292" y="46"/>
                      <a:pt x="301" y="44"/>
                      <a:pt x="301" y="44"/>
                    </a:cubicBezTo>
                    <a:cubicBezTo>
                      <a:pt x="307" y="40"/>
                      <a:pt x="314" y="32"/>
                      <a:pt x="314" y="32"/>
                    </a:cubicBezTo>
                    <a:cubicBezTo>
                      <a:pt x="317" y="40"/>
                      <a:pt x="324" y="40"/>
                      <a:pt x="324" y="40"/>
                    </a:cubicBezTo>
                    <a:cubicBezTo>
                      <a:pt x="336" y="47"/>
                      <a:pt x="337" y="58"/>
                      <a:pt x="337" y="58"/>
                    </a:cubicBezTo>
                    <a:cubicBezTo>
                      <a:pt x="347" y="62"/>
                      <a:pt x="354" y="53"/>
                      <a:pt x="354" y="53"/>
                    </a:cubicBezTo>
                    <a:cubicBezTo>
                      <a:pt x="362" y="49"/>
                      <a:pt x="362" y="61"/>
                      <a:pt x="371" y="51"/>
                    </a:cubicBezTo>
                    <a:cubicBezTo>
                      <a:pt x="378" y="43"/>
                      <a:pt x="371" y="29"/>
                      <a:pt x="371" y="29"/>
                    </a:cubicBezTo>
                    <a:cubicBezTo>
                      <a:pt x="367" y="14"/>
                      <a:pt x="356" y="18"/>
                      <a:pt x="367" y="0"/>
                    </a:cubicBezTo>
                    <a:cubicBezTo>
                      <a:pt x="375" y="2"/>
                      <a:pt x="379" y="9"/>
                      <a:pt x="379" y="9"/>
                    </a:cubicBezTo>
                    <a:cubicBezTo>
                      <a:pt x="403" y="10"/>
                      <a:pt x="409" y="20"/>
                      <a:pt x="409" y="20"/>
                    </a:cubicBezTo>
                    <a:cubicBezTo>
                      <a:pt x="415" y="26"/>
                      <a:pt x="419" y="33"/>
                      <a:pt x="419" y="33"/>
                    </a:cubicBezTo>
                    <a:cubicBezTo>
                      <a:pt x="435" y="33"/>
                      <a:pt x="433" y="44"/>
                      <a:pt x="433" y="44"/>
                    </a:cubicBezTo>
                    <a:cubicBezTo>
                      <a:pt x="437" y="64"/>
                      <a:pt x="445" y="52"/>
                      <a:pt x="451" y="58"/>
                    </a:cubicBezTo>
                    <a:cubicBezTo>
                      <a:pt x="458" y="62"/>
                      <a:pt x="468" y="59"/>
                      <a:pt x="468" y="59"/>
                    </a:cubicBezTo>
                    <a:cubicBezTo>
                      <a:pt x="498" y="54"/>
                      <a:pt x="502" y="67"/>
                      <a:pt x="502" y="67"/>
                    </a:cubicBezTo>
                    <a:cubicBezTo>
                      <a:pt x="502" y="67"/>
                      <a:pt x="502" y="67"/>
                      <a:pt x="502" y="67"/>
                    </a:cubicBezTo>
                    <a:cubicBezTo>
                      <a:pt x="492" y="84"/>
                      <a:pt x="492" y="84"/>
                      <a:pt x="492" y="84"/>
                    </a:cubicBezTo>
                    <a:cubicBezTo>
                      <a:pt x="492" y="84"/>
                      <a:pt x="492" y="84"/>
                      <a:pt x="492" y="84"/>
                    </a:cubicBezTo>
                    <a:cubicBezTo>
                      <a:pt x="492" y="84"/>
                      <a:pt x="488" y="74"/>
                      <a:pt x="472" y="81"/>
                    </a:cubicBezTo>
                    <a:cubicBezTo>
                      <a:pt x="472" y="81"/>
                      <a:pt x="445" y="81"/>
                      <a:pt x="472" y="96"/>
                    </a:cubicBezTo>
                    <a:cubicBezTo>
                      <a:pt x="472" y="96"/>
                      <a:pt x="488" y="95"/>
                      <a:pt x="491" y="102"/>
                    </a:cubicBezTo>
                    <a:cubicBezTo>
                      <a:pt x="491" y="102"/>
                      <a:pt x="490" y="110"/>
                      <a:pt x="478" y="117"/>
                    </a:cubicBezTo>
                    <a:cubicBezTo>
                      <a:pt x="478" y="117"/>
                      <a:pt x="478" y="117"/>
                      <a:pt x="478" y="117"/>
                    </a:cubicBezTo>
                    <a:cubicBezTo>
                      <a:pt x="461" y="123"/>
                      <a:pt x="461" y="123"/>
                      <a:pt x="461" y="123"/>
                    </a:cubicBezTo>
                    <a:cubicBezTo>
                      <a:pt x="461" y="123"/>
                      <a:pt x="461" y="123"/>
                      <a:pt x="461" y="123"/>
                    </a:cubicBezTo>
                    <a:cubicBezTo>
                      <a:pt x="461" y="123"/>
                      <a:pt x="445" y="131"/>
                      <a:pt x="454" y="143"/>
                    </a:cubicBezTo>
                    <a:cubicBezTo>
                      <a:pt x="454" y="143"/>
                      <a:pt x="458" y="147"/>
                      <a:pt x="458" y="164"/>
                    </a:cubicBezTo>
                    <a:cubicBezTo>
                      <a:pt x="458" y="164"/>
                      <a:pt x="467" y="182"/>
                      <a:pt x="444" y="194"/>
                    </a:cubicBezTo>
                    <a:cubicBezTo>
                      <a:pt x="444" y="194"/>
                      <a:pt x="429" y="194"/>
                      <a:pt x="427" y="209"/>
                    </a:cubicBezTo>
                    <a:cubicBezTo>
                      <a:pt x="427" y="209"/>
                      <a:pt x="409" y="212"/>
                      <a:pt x="403" y="227"/>
                    </a:cubicBezTo>
                    <a:cubicBezTo>
                      <a:pt x="403" y="227"/>
                      <a:pt x="403" y="227"/>
                      <a:pt x="403" y="227"/>
                    </a:cubicBezTo>
                    <a:close/>
                  </a:path>
                </a:pathLst>
              </a:custGeom>
              <a:solidFill>
                <a:srgbClr val="EEBB0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47" name="Freeform 39"/>
              <p:cNvSpPr>
                <a:spLocks/>
              </p:cNvSpPr>
              <p:nvPr/>
            </p:nvSpPr>
            <p:spPr bwMode="auto">
              <a:xfrm>
                <a:off x="2340393" y="4014127"/>
                <a:ext cx="1132889" cy="1365968"/>
              </a:xfrm>
              <a:custGeom>
                <a:avLst/>
                <a:gdLst/>
                <a:ahLst/>
                <a:cxnLst>
                  <a:cxn ang="0">
                    <a:pos x="117" y="19"/>
                  </a:cxn>
                  <a:cxn ang="0">
                    <a:pos x="156" y="23"/>
                  </a:cxn>
                  <a:cxn ang="0">
                    <a:pos x="195" y="16"/>
                  </a:cxn>
                  <a:cxn ang="0">
                    <a:pos x="223" y="1"/>
                  </a:cxn>
                  <a:cxn ang="0">
                    <a:pos x="269" y="15"/>
                  </a:cxn>
                  <a:cxn ang="0">
                    <a:pos x="264" y="47"/>
                  </a:cxn>
                  <a:cxn ang="0">
                    <a:pos x="281" y="93"/>
                  </a:cxn>
                  <a:cxn ang="0">
                    <a:pos x="331" y="118"/>
                  </a:cxn>
                  <a:cxn ang="0">
                    <a:pos x="337" y="166"/>
                  </a:cxn>
                  <a:cxn ang="0">
                    <a:pos x="368" y="190"/>
                  </a:cxn>
                  <a:cxn ang="0">
                    <a:pos x="373" y="228"/>
                  </a:cxn>
                  <a:cxn ang="0">
                    <a:pos x="366" y="247"/>
                  </a:cxn>
                  <a:cxn ang="0">
                    <a:pos x="380" y="286"/>
                  </a:cxn>
                  <a:cxn ang="0">
                    <a:pos x="336" y="299"/>
                  </a:cxn>
                  <a:cxn ang="0">
                    <a:pos x="317" y="342"/>
                  </a:cxn>
                  <a:cxn ang="0">
                    <a:pos x="296" y="379"/>
                  </a:cxn>
                  <a:cxn ang="0">
                    <a:pos x="283" y="357"/>
                  </a:cxn>
                  <a:cxn ang="0">
                    <a:pos x="272" y="346"/>
                  </a:cxn>
                  <a:cxn ang="0">
                    <a:pos x="251" y="351"/>
                  </a:cxn>
                  <a:cxn ang="0">
                    <a:pos x="265" y="360"/>
                  </a:cxn>
                  <a:cxn ang="0">
                    <a:pos x="280" y="379"/>
                  </a:cxn>
                  <a:cxn ang="0">
                    <a:pos x="278" y="405"/>
                  </a:cxn>
                  <a:cxn ang="0">
                    <a:pos x="248" y="426"/>
                  </a:cxn>
                  <a:cxn ang="0">
                    <a:pos x="234" y="434"/>
                  </a:cxn>
                  <a:cxn ang="0">
                    <a:pos x="206" y="450"/>
                  </a:cxn>
                  <a:cxn ang="0">
                    <a:pos x="191" y="463"/>
                  </a:cxn>
                  <a:cxn ang="0">
                    <a:pos x="190" y="448"/>
                  </a:cxn>
                  <a:cxn ang="0">
                    <a:pos x="187" y="438"/>
                  </a:cxn>
                  <a:cxn ang="0">
                    <a:pos x="183" y="485"/>
                  </a:cxn>
                  <a:cxn ang="0">
                    <a:pos x="199" y="519"/>
                  </a:cxn>
                  <a:cxn ang="0">
                    <a:pos x="180" y="517"/>
                  </a:cxn>
                  <a:cxn ang="0">
                    <a:pos x="119" y="513"/>
                  </a:cxn>
                  <a:cxn ang="0">
                    <a:pos x="91" y="531"/>
                  </a:cxn>
                  <a:cxn ang="0">
                    <a:pos x="80" y="522"/>
                  </a:cxn>
                  <a:cxn ang="0">
                    <a:pos x="47" y="534"/>
                  </a:cxn>
                  <a:cxn ang="0">
                    <a:pos x="7" y="497"/>
                  </a:cxn>
                  <a:cxn ang="0">
                    <a:pos x="19" y="485"/>
                  </a:cxn>
                  <a:cxn ang="0">
                    <a:pos x="42" y="462"/>
                  </a:cxn>
                  <a:cxn ang="0">
                    <a:pos x="64" y="431"/>
                  </a:cxn>
                  <a:cxn ang="0">
                    <a:pos x="89" y="402"/>
                  </a:cxn>
                  <a:cxn ang="0">
                    <a:pos x="103" y="375"/>
                  </a:cxn>
                  <a:cxn ang="0">
                    <a:pos x="97" y="347"/>
                  </a:cxn>
                  <a:cxn ang="0">
                    <a:pos x="108" y="310"/>
                  </a:cxn>
                  <a:cxn ang="0">
                    <a:pos x="135" y="320"/>
                  </a:cxn>
                  <a:cxn ang="0">
                    <a:pos x="150" y="319"/>
                  </a:cxn>
                  <a:cxn ang="0">
                    <a:pos x="178" y="324"/>
                  </a:cxn>
                  <a:cxn ang="0">
                    <a:pos x="210" y="331"/>
                  </a:cxn>
                  <a:cxn ang="0">
                    <a:pos x="248" y="330"/>
                  </a:cxn>
                  <a:cxn ang="0">
                    <a:pos x="219" y="303"/>
                  </a:cxn>
                  <a:cxn ang="0">
                    <a:pos x="226" y="265"/>
                  </a:cxn>
                  <a:cxn ang="0">
                    <a:pos x="183" y="226"/>
                  </a:cxn>
                  <a:cxn ang="0">
                    <a:pos x="185" y="206"/>
                  </a:cxn>
                  <a:cxn ang="0">
                    <a:pos x="174" y="197"/>
                  </a:cxn>
                  <a:cxn ang="0">
                    <a:pos x="172" y="158"/>
                  </a:cxn>
                  <a:cxn ang="0">
                    <a:pos x="132" y="138"/>
                  </a:cxn>
                  <a:cxn ang="0">
                    <a:pos x="135" y="96"/>
                  </a:cxn>
                  <a:cxn ang="0">
                    <a:pos x="138" y="71"/>
                  </a:cxn>
                  <a:cxn ang="0">
                    <a:pos x="120" y="41"/>
                  </a:cxn>
                  <a:cxn ang="0">
                    <a:pos x="101" y="35"/>
                  </a:cxn>
                </a:cxnLst>
                <a:rect l="0" t="0" r="r" b="b"/>
                <a:pathLst>
                  <a:path w="401" h="546">
                    <a:moveTo>
                      <a:pt x="101" y="35"/>
                    </a:moveTo>
                    <a:cubicBezTo>
                      <a:pt x="113" y="32"/>
                      <a:pt x="117" y="19"/>
                      <a:pt x="117" y="19"/>
                    </a:cubicBezTo>
                    <a:cubicBezTo>
                      <a:pt x="120" y="0"/>
                      <a:pt x="128" y="17"/>
                      <a:pt x="128" y="17"/>
                    </a:cubicBezTo>
                    <a:cubicBezTo>
                      <a:pt x="138" y="27"/>
                      <a:pt x="156" y="23"/>
                      <a:pt x="156" y="23"/>
                    </a:cubicBezTo>
                    <a:cubicBezTo>
                      <a:pt x="167" y="13"/>
                      <a:pt x="174" y="24"/>
                      <a:pt x="174" y="24"/>
                    </a:cubicBezTo>
                    <a:cubicBezTo>
                      <a:pt x="195" y="27"/>
                      <a:pt x="195" y="16"/>
                      <a:pt x="195" y="16"/>
                    </a:cubicBezTo>
                    <a:cubicBezTo>
                      <a:pt x="193" y="5"/>
                      <a:pt x="208" y="5"/>
                      <a:pt x="208" y="5"/>
                    </a:cubicBezTo>
                    <a:cubicBezTo>
                      <a:pt x="220" y="8"/>
                      <a:pt x="223" y="1"/>
                      <a:pt x="223" y="1"/>
                    </a:cubicBezTo>
                    <a:cubicBezTo>
                      <a:pt x="235" y="1"/>
                      <a:pt x="241" y="19"/>
                      <a:pt x="251" y="15"/>
                    </a:cubicBezTo>
                    <a:cubicBezTo>
                      <a:pt x="260" y="18"/>
                      <a:pt x="269" y="15"/>
                      <a:pt x="269" y="15"/>
                    </a:cubicBezTo>
                    <a:cubicBezTo>
                      <a:pt x="274" y="24"/>
                      <a:pt x="265" y="23"/>
                      <a:pt x="265" y="23"/>
                    </a:cubicBezTo>
                    <a:cubicBezTo>
                      <a:pt x="252" y="32"/>
                      <a:pt x="264" y="47"/>
                      <a:pt x="264" y="47"/>
                    </a:cubicBezTo>
                    <a:cubicBezTo>
                      <a:pt x="274" y="53"/>
                      <a:pt x="272" y="77"/>
                      <a:pt x="272" y="77"/>
                    </a:cubicBezTo>
                    <a:cubicBezTo>
                      <a:pt x="282" y="76"/>
                      <a:pt x="281" y="93"/>
                      <a:pt x="281" y="93"/>
                    </a:cubicBezTo>
                    <a:cubicBezTo>
                      <a:pt x="278" y="118"/>
                      <a:pt x="304" y="110"/>
                      <a:pt x="304" y="110"/>
                    </a:cubicBezTo>
                    <a:cubicBezTo>
                      <a:pt x="321" y="112"/>
                      <a:pt x="331" y="104"/>
                      <a:pt x="331" y="118"/>
                    </a:cubicBezTo>
                    <a:cubicBezTo>
                      <a:pt x="344" y="133"/>
                      <a:pt x="333" y="142"/>
                      <a:pt x="333" y="142"/>
                    </a:cubicBezTo>
                    <a:cubicBezTo>
                      <a:pt x="332" y="152"/>
                      <a:pt x="337" y="166"/>
                      <a:pt x="337" y="166"/>
                    </a:cubicBezTo>
                    <a:cubicBezTo>
                      <a:pt x="339" y="178"/>
                      <a:pt x="359" y="176"/>
                      <a:pt x="359" y="176"/>
                    </a:cubicBezTo>
                    <a:cubicBezTo>
                      <a:pt x="384" y="172"/>
                      <a:pt x="366" y="187"/>
                      <a:pt x="368" y="190"/>
                    </a:cubicBezTo>
                    <a:cubicBezTo>
                      <a:pt x="369" y="196"/>
                      <a:pt x="387" y="196"/>
                      <a:pt x="388" y="203"/>
                    </a:cubicBezTo>
                    <a:cubicBezTo>
                      <a:pt x="401" y="225"/>
                      <a:pt x="373" y="228"/>
                      <a:pt x="373" y="228"/>
                    </a:cubicBezTo>
                    <a:cubicBezTo>
                      <a:pt x="353" y="228"/>
                      <a:pt x="359" y="236"/>
                      <a:pt x="359" y="236"/>
                    </a:cubicBezTo>
                    <a:cubicBezTo>
                      <a:pt x="356" y="243"/>
                      <a:pt x="366" y="247"/>
                      <a:pt x="366" y="247"/>
                    </a:cubicBezTo>
                    <a:cubicBezTo>
                      <a:pt x="376" y="255"/>
                      <a:pt x="373" y="269"/>
                      <a:pt x="373" y="269"/>
                    </a:cubicBezTo>
                    <a:cubicBezTo>
                      <a:pt x="370" y="286"/>
                      <a:pt x="380" y="286"/>
                      <a:pt x="380" y="286"/>
                    </a:cubicBezTo>
                    <a:cubicBezTo>
                      <a:pt x="373" y="293"/>
                      <a:pt x="360" y="294"/>
                      <a:pt x="360" y="294"/>
                    </a:cubicBezTo>
                    <a:cubicBezTo>
                      <a:pt x="355" y="298"/>
                      <a:pt x="336" y="299"/>
                      <a:pt x="336" y="299"/>
                    </a:cubicBezTo>
                    <a:cubicBezTo>
                      <a:pt x="326" y="297"/>
                      <a:pt x="333" y="319"/>
                      <a:pt x="333" y="319"/>
                    </a:cubicBezTo>
                    <a:cubicBezTo>
                      <a:pt x="331" y="336"/>
                      <a:pt x="317" y="342"/>
                      <a:pt x="317" y="342"/>
                    </a:cubicBezTo>
                    <a:cubicBezTo>
                      <a:pt x="319" y="353"/>
                      <a:pt x="309" y="361"/>
                      <a:pt x="309" y="361"/>
                    </a:cubicBezTo>
                    <a:cubicBezTo>
                      <a:pt x="303" y="378"/>
                      <a:pt x="296" y="379"/>
                      <a:pt x="296" y="379"/>
                    </a:cubicBezTo>
                    <a:cubicBezTo>
                      <a:pt x="284" y="371"/>
                      <a:pt x="283" y="357"/>
                      <a:pt x="283" y="357"/>
                    </a:cubicBezTo>
                    <a:cubicBezTo>
                      <a:pt x="283" y="357"/>
                      <a:pt x="283" y="357"/>
                      <a:pt x="283" y="357"/>
                    </a:cubicBezTo>
                    <a:cubicBezTo>
                      <a:pt x="272" y="346"/>
                      <a:pt x="272" y="346"/>
                      <a:pt x="272" y="346"/>
                    </a:cubicBezTo>
                    <a:cubicBezTo>
                      <a:pt x="272" y="346"/>
                      <a:pt x="272" y="346"/>
                      <a:pt x="272" y="346"/>
                    </a:cubicBezTo>
                    <a:cubicBezTo>
                      <a:pt x="271" y="337"/>
                      <a:pt x="260" y="329"/>
                      <a:pt x="250" y="337"/>
                    </a:cubicBezTo>
                    <a:cubicBezTo>
                      <a:pt x="238" y="346"/>
                      <a:pt x="251" y="351"/>
                      <a:pt x="251" y="351"/>
                    </a:cubicBezTo>
                    <a:cubicBezTo>
                      <a:pt x="251" y="351"/>
                      <a:pt x="251" y="351"/>
                      <a:pt x="251" y="351"/>
                    </a:cubicBezTo>
                    <a:cubicBezTo>
                      <a:pt x="265" y="360"/>
                      <a:pt x="265" y="360"/>
                      <a:pt x="265" y="360"/>
                    </a:cubicBezTo>
                    <a:cubicBezTo>
                      <a:pt x="265" y="360"/>
                      <a:pt x="265" y="360"/>
                      <a:pt x="265" y="360"/>
                    </a:cubicBezTo>
                    <a:cubicBezTo>
                      <a:pt x="278" y="366"/>
                      <a:pt x="280" y="379"/>
                      <a:pt x="280" y="379"/>
                    </a:cubicBezTo>
                    <a:cubicBezTo>
                      <a:pt x="293" y="397"/>
                      <a:pt x="278" y="405"/>
                      <a:pt x="278" y="405"/>
                    </a:cubicBezTo>
                    <a:cubicBezTo>
                      <a:pt x="278" y="405"/>
                      <a:pt x="278" y="405"/>
                      <a:pt x="278" y="405"/>
                    </a:cubicBezTo>
                    <a:cubicBezTo>
                      <a:pt x="248" y="437"/>
                      <a:pt x="248" y="437"/>
                      <a:pt x="248" y="437"/>
                    </a:cubicBezTo>
                    <a:cubicBezTo>
                      <a:pt x="248" y="426"/>
                      <a:pt x="248" y="426"/>
                      <a:pt x="248" y="426"/>
                    </a:cubicBezTo>
                    <a:cubicBezTo>
                      <a:pt x="234" y="434"/>
                      <a:pt x="234" y="434"/>
                      <a:pt x="234" y="434"/>
                    </a:cubicBezTo>
                    <a:cubicBezTo>
                      <a:pt x="234" y="434"/>
                      <a:pt x="234" y="434"/>
                      <a:pt x="234" y="434"/>
                    </a:cubicBezTo>
                    <a:cubicBezTo>
                      <a:pt x="219" y="434"/>
                      <a:pt x="220" y="448"/>
                      <a:pt x="220" y="448"/>
                    </a:cubicBezTo>
                    <a:cubicBezTo>
                      <a:pt x="216" y="453"/>
                      <a:pt x="206" y="450"/>
                      <a:pt x="206" y="450"/>
                    </a:cubicBezTo>
                    <a:cubicBezTo>
                      <a:pt x="203" y="456"/>
                      <a:pt x="214" y="457"/>
                      <a:pt x="210" y="466"/>
                    </a:cubicBezTo>
                    <a:cubicBezTo>
                      <a:pt x="199" y="475"/>
                      <a:pt x="191" y="463"/>
                      <a:pt x="191" y="463"/>
                    </a:cubicBezTo>
                    <a:cubicBezTo>
                      <a:pt x="191" y="463"/>
                      <a:pt x="191" y="463"/>
                      <a:pt x="191" y="463"/>
                    </a:cubicBezTo>
                    <a:cubicBezTo>
                      <a:pt x="190" y="448"/>
                      <a:pt x="190" y="448"/>
                      <a:pt x="190" y="448"/>
                    </a:cubicBezTo>
                    <a:cubicBezTo>
                      <a:pt x="187" y="438"/>
                      <a:pt x="187" y="438"/>
                      <a:pt x="187" y="438"/>
                    </a:cubicBezTo>
                    <a:cubicBezTo>
                      <a:pt x="187" y="438"/>
                      <a:pt x="187" y="438"/>
                      <a:pt x="187" y="438"/>
                    </a:cubicBezTo>
                    <a:cubicBezTo>
                      <a:pt x="179" y="443"/>
                      <a:pt x="183" y="458"/>
                      <a:pt x="183" y="458"/>
                    </a:cubicBezTo>
                    <a:cubicBezTo>
                      <a:pt x="175" y="474"/>
                      <a:pt x="183" y="485"/>
                      <a:pt x="183" y="485"/>
                    </a:cubicBezTo>
                    <a:cubicBezTo>
                      <a:pt x="179" y="505"/>
                      <a:pt x="189" y="500"/>
                      <a:pt x="189" y="500"/>
                    </a:cubicBezTo>
                    <a:cubicBezTo>
                      <a:pt x="201" y="498"/>
                      <a:pt x="199" y="519"/>
                      <a:pt x="199" y="519"/>
                    </a:cubicBezTo>
                    <a:cubicBezTo>
                      <a:pt x="197" y="544"/>
                      <a:pt x="185" y="544"/>
                      <a:pt x="185" y="544"/>
                    </a:cubicBezTo>
                    <a:cubicBezTo>
                      <a:pt x="185" y="544"/>
                      <a:pt x="190" y="525"/>
                      <a:pt x="180" y="517"/>
                    </a:cubicBezTo>
                    <a:cubicBezTo>
                      <a:pt x="180" y="517"/>
                      <a:pt x="179" y="506"/>
                      <a:pt x="158" y="503"/>
                    </a:cubicBezTo>
                    <a:cubicBezTo>
                      <a:pt x="158" y="503"/>
                      <a:pt x="131" y="498"/>
                      <a:pt x="119" y="513"/>
                    </a:cubicBezTo>
                    <a:cubicBezTo>
                      <a:pt x="119" y="513"/>
                      <a:pt x="98" y="514"/>
                      <a:pt x="91" y="531"/>
                    </a:cubicBezTo>
                    <a:cubicBezTo>
                      <a:pt x="91" y="531"/>
                      <a:pt x="91" y="531"/>
                      <a:pt x="91" y="531"/>
                    </a:cubicBezTo>
                    <a:cubicBezTo>
                      <a:pt x="80" y="522"/>
                      <a:pt x="80" y="522"/>
                      <a:pt x="80" y="522"/>
                    </a:cubicBezTo>
                    <a:cubicBezTo>
                      <a:pt x="80" y="522"/>
                      <a:pt x="80" y="522"/>
                      <a:pt x="80" y="522"/>
                    </a:cubicBezTo>
                    <a:cubicBezTo>
                      <a:pt x="80" y="522"/>
                      <a:pt x="69" y="525"/>
                      <a:pt x="73" y="532"/>
                    </a:cubicBezTo>
                    <a:cubicBezTo>
                      <a:pt x="73" y="532"/>
                      <a:pt x="73" y="546"/>
                      <a:pt x="47" y="534"/>
                    </a:cubicBezTo>
                    <a:cubicBezTo>
                      <a:pt x="36" y="522"/>
                      <a:pt x="25" y="529"/>
                      <a:pt x="18" y="519"/>
                    </a:cubicBezTo>
                    <a:cubicBezTo>
                      <a:pt x="18" y="519"/>
                      <a:pt x="7" y="514"/>
                      <a:pt x="7" y="497"/>
                    </a:cubicBezTo>
                    <a:cubicBezTo>
                      <a:pt x="7" y="497"/>
                      <a:pt x="1" y="498"/>
                      <a:pt x="0" y="492"/>
                    </a:cubicBezTo>
                    <a:cubicBezTo>
                      <a:pt x="0" y="492"/>
                      <a:pt x="8" y="477"/>
                      <a:pt x="19" y="485"/>
                    </a:cubicBezTo>
                    <a:cubicBezTo>
                      <a:pt x="19" y="485"/>
                      <a:pt x="25" y="481"/>
                      <a:pt x="33" y="485"/>
                    </a:cubicBezTo>
                    <a:cubicBezTo>
                      <a:pt x="33" y="485"/>
                      <a:pt x="47" y="489"/>
                      <a:pt x="42" y="462"/>
                    </a:cubicBezTo>
                    <a:cubicBezTo>
                      <a:pt x="42" y="462"/>
                      <a:pt x="27" y="459"/>
                      <a:pt x="51" y="444"/>
                    </a:cubicBezTo>
                    <a:cubicBezTo>
                      <a:pt x="51" y="444"/>
                      <a:pt x="63" y="440"/>
                      <a:pt x="64" y="431"/>
                    </a:cubicBezTo>
                    <a:cubicBezTo>
                      <a:pt x="64" y="431"/>
                      <a:pt x="76" y="434"/>
                      <a:pt x="73" y="417"/>
                    </a:cubicBezTo>
                    <a:cubicBezTo>
                      <a:pt x="73" y="417"/>
                      <a:pt x="65" y="404"/>
                      <a:pt x="89" y="402"/>
                    </a:cubicBezTo>
                    <a:cubicBezTo>
                      <a:pt x="89" y="402"/>
                      <a:pt x="102" y="401"/>
                      <a:pt x="100" y="390"/>
                    </a:cubicBezTo>
                    <a:cubicBezTo>
                      <a:pt x="100" y="390"/>
                      <a:pt x="93" y="382"/>
                      <a:pt x="103" y="375"/>
                    </a:cubicBezTo>
                    <a:cubicBezTo>
                      <a:pt x="103" y="375"/>
                      <a:pt x="117" y="366"/>
                      <a:pt x="103" y="358"/>
                    </a:cubicBezTo>
                    <a:cubicBezTo>
                      <a:pt x="103" y="358"/>
                      <a:pt x="97" y="357"/>
                      <a:pt x="97" y="347"/>
                    </a:cubicBezTo>
                    <a:cubicBezTo>
                      <a:pt x="97" y="347"/>
                      <a:pt x="105" y="342"/>
                      <a:pt x="97" y="330"/>
                    </a:cubicBezTo>
                    <a:cubicBezTo>
                      <a:pt x="97" y="330"/>
                      <a:pt x="93" y="319"/>
                      <a:pt x="108" y="310"/>
                    </a:cubicBezTo>
                    <a:cubicBezTo>
                      <a:pt x="108" y="310"/>
                      <a:pt x="118" y="310"/>
                      <a:pt x="124" y="303"/>
                    </a:cubicBezTo>
                    <a:cubicBezTo>
                      <a:pt x="124" y="303"/>
                      <a:pt x="135" y="294"/>
                      <a:pt x="135" y="320"/>
                    </a:cubicBezTo>
                    <a:cubicBezTo>
                      <a:pt x="128" y="337"/>
                      <a:pt x="145" y="331"/>
                      <a:pt x="143" y="324"/>
                    </a:cubicBezTo>
                    <a:cubicBezTo>
                      <a:pt x="143" y="324"/>
                      <a:pt x="145" y="310"/>
                      <a:pt x="150" y="319"/>
                    </a:cubicBezTo>
                    <a:cubicBezTo>
                      <a:pt x="150" y="319"/>
                      <a:pt x="152" y="324"/>
                      <a:pt x="161" y="316"/>
                    </a:cubicBezTo>
                    <a:cubicBezTo>
                      <a:pt x="168" y="306"/>
                      <a:pt x="166" y="324"/>
                      <a:pt x="178" y="324"/>
                    </a:cubicBezTo>
                    <a:cubicBezTo>
                      <a:pt x="178" y="337"/>
                      <a:pt x="191" y="337"/>
                      <a:pt x="191" y="326"/>
                    </a:cubicBezTo>
                    <a:cubicBezTo>
                      <a:pt x="191" y="326"/>
                      <a:pt x="202" y="310"/>
                      <a:pt x="210" y="331"/>
                    </a:cubicBezTo>
                    <a:cubicBezTo>
                      <a:pt x="210" y="331"/>
                      <a:pt x="210" y="348"/>
                      <a:pt x="220" y="332"/>
                    </a:cubicBezTo>
                    <a:cubicBezTo>
                      <a:pt x="220" y="332"/>
                      <a:pt x="244" y="335"/>
                      <a:pt x="248" y="330"/>
                    </a:cubicBezTo>
                    <a:cubicBezTo>
                      <a:pt x="248" y="330"/>
                      <a:pt x="241" y="318"/>
                      <a:pt x="234" y="320"/>
                    </a:cubicBezTo>
                    <a:cubicBezTo>
                      <a:pt x="232" y="312"/>
                      <a:pt x="216" y="309"/>
                      <a:pt x="219" y="303"/>
                    </a:cubicBezTo>
                    <a:cubicBezTo>
                      <a:pt x="219" y="303"/>
                      <a:pt x="229" y="304"/>
                      <a:pt x="226" y="286"/>
                    </a:cubicBezTo>
                    <a:cubicBezTo>
                      <a:pt x="226" y="286"/>
                      <a:pt x="230" y="271"/>
                      <a:pt x="226" y="265"/>
                    </a:cubicBezTo>
                    <a:cubicBezTo>
                      <a:pt x="226" y="265"/>
                      <a:pt x="230" y="248"/>
                      <a:pt x="201" y="243"/>
                    </a:cubicBezTo>
                    <a:cubicBezTo>
                      <a:pt x="193" y="231"/>
                      <a:pt x="186" y="236"/>
                      <a:pt x="183" y="226"/>
                    </a:cubicBezTo>
                    <a:cubicBezTo>
                      <a:pt x="183" y="226"/>
                      <a:pt x="183" y="226"/>
                      <a:pt x="183" y="226"/>
                    </a:cubicBezTo>
                    <a:cubicBezTo>
                      <a:pt x="185" y="206"/>
                      <a:pt x="185" y="206"/>
                      <a:pt x="185" y="206"/>
                    </a:cubicBezTo>
                    <a:cubicBezTo>
                      <a:pt x="185" y="206"/>
                      <a:pt x="185" y="206"/>
                      <a:pt x="185" y="206"/>
                    </a:cubicBezTo>
                    <a:cubicBezTo>
                      <a:pt x="185" y="206"/>
                      <a:pt x="165" y="201"/>
                      <a:pt x="174" y="197"/>
                    </a:cubicBezTo>
                    <a:cubicBezTo>
                      <a:pt x="183" y="198"/>
                      <a:pt x="175" y="179"/>
                      <a:pt x="181" y="175"/>
                    </a:cubicBezTo>
                    <a:cubicBezTo>
                      <a:pt x="181" y="175"/>
                      <a:pt x="189" y="153"/>
                      <a:pt x="172" y="158"/>
                    </a:cubicBezTo>
                    <a:cubicBezTo>
                      <a:pt x="172" y="166"/>
                      <a:pt x="156" y="174"/>
                      <a:pt x="155" y="156"/>
                    </a:cubicBezTo>
                    <a:cubicBezTo>
                      <a:pt x="155" y="156"/>
                      <a:pt x="151" y="137"/>
                      <a:pt x="132" y="138"/>
                    </a:cubicBezTo>
                    <a:cubicBezTo>
                      <a:pt x="132" y="138"/>
                      <a:pt x="125" y="132"/>
                      <a:pt x="128" y="115"/>
                    </a:cubicBezTo>
                    <a:cubicBezTo>
                      <a:pt x="128" y="115"/>
                      <a:pt x="139" y="108"/>
                      <a:pt x="135" y="96"/>
                    </a:cubicBezTo>
                    <a:cubicBezTo>
                      <a:pt x="135" y="96"/>
                      <a:pt x="134" y="86"/>
                      <a:pt x="139" y="84"/>
                    </a:cubicBezTo>
                    <a:cubicBezTo>
                      <a:pt x="139" y="84"/>
                      <a:pt x="148" y="80"/>
                      <a:pt x="138" y="71"/>
                    </a:cubicBezTo>
                    <a:cubicBezTo>
                      <a:pt x="135" y="64"/>
                      <a:pt x="150" y="70"/>
                      <a:pt x="135" y="49"/>
                    </a:cubicBezTo>
                    <a:cubicBezTo>
                      <a:pt x="135" y="49"/>
                      <a:pt x="133" y="33"/>
                      <a:pt x="120" y="41"/>
                    </a:cubicBezTo>
                    <a:cubicBezTo>
                      <a:pt x="120" y="41"/>
                      <a:pt x="118" y="60"/>
                      <a:pt x="101" y="35"/>
                    </a:cubicBezTo>
                    <a:cubicBezTo>
                      <a:pt x="101" y="35"/>
                      <a:pt x="101" y="35"/>
                      <a:pt x="101" y="35"/>
                    </a:cubicBezTo>
                    <a:close/>
                  </a:path>
                </a:pathLst>
              </a:custGeom>
              <a:solidFill>
                <a:srgbClr val="EEBB0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48" name="Freeform 38"/>
              <p:cNvSpPr>
                <a:spLocks/>
              </p:cNvSpPr>
              <p:nvPr/>
            </p:nvSpPr>
            <p:spPr bwMode="auto">
              <a:xfrm>
                <a:off x="3053694" y="4045790"/>
                <a:ext cx="1038482" cy="764398"/>
              </a:xfrm>
              <a:custGeom>
                <a:avLst/>
                <a:gdLst/>
                <a:ahLst/>
                <a:cxnLst>
                  <a:cxn ang="0">
                    <a:pos x="121" y="277"/>
                  </a:cxn>
                  <a:cxn ang="0">
                    <a:pos x="107" y="244"/>
                  </a:cxn>
                  <a:cxn ang="0">
                    <a:pos x="136" y="211"/>
                  </a:cxn>
                  <a:cxn ang="0">
                    <a:pos x="107" y="184"/>
                  </a:cxn>
                  <a:cxn ang="0">
                    <a:pos x="81" y="150"/>
                  </a:cxn>
                  <a:cxn ang="0">
                    <a:pos x="52" y="118"/>
                  </a:cxn>
                  <a:cxn ang="0">
                    <a:pos x="20" y="85"/>
                  </a:cxn>
                  <a:cxn ang="0">
                    <a:pos x="13" y="31"/>
                  </a:cxn>
                  <a:cxn ang="0">
                    <a:pos x="48" y="20"/>
                  </a:cxn>
                  <a:cxn ang="0">
                    <a:pos x="96" y="16"/>
                  </a:cxn>
                  <a:cxn ang="0">
                    <a:pos x="147" y="28"/>
                  </a:cxn>
                  <a:cxn ang="0">
                    <a:pos x="182" y="31"/>
                  </a:cxn>
                  <a:cxn ang="0">
                    <a:pos x="198" y="59"/>
                  </a:cxn>
                  <a:cxn ang="0">
                    <a:pos x="217" y="86"/>
                  </a:cxn>
                  <a:cxn ang="0">
                    <a:pos x="249" y="86"/>
                  </a:cxn>
                  <a:cxn ang="0">
                    <a:pos x="303" y="68"/>
                  </a:cxn>
                  <a:cxn ang="0">
                    <a:pos x="348" y="46"/>
                  </a:cxn>
                  <a:cxn ang="0">
                    <a:pos x="352" y="75"/>
                  </a:cxn>
                  <a:cxn ang="0">
                    <a:pos x="348" y="110"/>
                  </a:cxn>
                  <a:cxn ang="0">
                    <a:pos x="361" y="140"/>
                  </a:cxn>
                  <a:cxn ang="0">
                    <a:pos x="348" y="156"/>
                  </a:cxn>
                  <a:cxn ang="0">
                    <a:pos x="362" y="181"/>
                  </a:cxn>
                  <a:cxn ang="0">
                    <a:pos x="340" y="215"/>
                  </a:cxn>
                  <a:cxn ang="0">
                    <a:pos x="341" y="233"/>
                  </a:cxn>
                  <a:cxn ang="0">
                    <a:pos x="327" y="250"/>
                  </a:cxn>
                  <a:cxn ang="0">
                    <a:pos x="312" y="258"/>
                  </a:cxn>
                  <a:cxn ang="0">
                    <a:pos x="269" y="266"/>
                  </a:cxn>
                  <a:cxn ang="0">
                    <a:pos x="224" y="280"/>
                  </a:cxn>
                  <a:cxn ang="0">
                    <a:pos x="214" y="273"/>
                  </a:cxn>
                  <a:cxn ang="0">
                    <a:pos x="191" y="294"/>
                  </a:cxn>
                  <a:cxn ang="0">
                    <a:pos x="166" y="299"/>
                  </a:cxn>
                  <a:cxn ang="0">
                    <a:pos x="174" y="274"/>
                  </a:cxn>
                  <a:cxn ang="0">
                    <a:pos x="127" y="294"/>
                  </a:cxn>
                </a:cxnLst>
                <a:rect l="0" t="0" r="r" b="b"/>
                <a:pathLst>
                  <a:path w="367" h="304">
                    <a:moveTo>
                      <a:pt x="127" y="294"/>
                    </a:moveTo>
                    <a:cubicBezTo>
                      <a:pt x="127" y="294"/>
                      <a:pt x="118" y="294"/>
                      <a:pt x="121" y="277"/>
                    </a:cubicBezTo>
                    <a:cubicBezTo>
                      <a:pt x="121" y="277"/>
                      <a:pt x="124" y="263"/>
                      <a:pt x="114" y="255"/>
                    </a:cubicBezTo>
                    <a:cubicBezTo>
                      <a:pt x="114" y="255"/>
                      <a:pt x="104" y="251"/>
                      <a:pt x="107" y="244"/>
                    </a:cubicBezTo>
                    <a:cubicBezTo>
                      <a:pt x="107" y="244"/>
                      <a:pt x="101" y="236"/>
                      <a:pt x="121" y="236"/>
                    </a:cubicBezTo>
                    <a:cubicBezTo>
                      <a:pt x="121" y="236"/>
                      <a:pt x="149" y="233"/>
                      <a:pt x="136" y="211"/>
                    </a:cubicBezTo>
                    <a:cubicBezTo>
                      <a:pt x="135" y="204"/>
                      <a:pt x="117" y="204"/>
                      <a:pt x="116" y="198"/>
                    </a:cubicBezTo>
                    <a:cubicBezTo>
                      <a:pt x="114" y="195"/>
                      <a:pt x="132" y="180"/>
                      <a:pt x="107" y="184"/>
                    </a:cubicBezTo>
                    <a:cubicBezTo>
                      <a:pt x="107" y="184"/>
                      <a:pt x="87" y="186"/>
                      <a:pt x="85" y="174"/>
                    </a:cubicBezTo>
                    <a:cubicBezTo>
                      <a:pt x="85" y="174"/>
                      <a:pt x="80" y="160"/>
                      <a:pt x="81" y="150"/>
                    </a:cubicBezTo>
                    <a:cubicBezTo>
                      <a:pt x="81" y="150"/>
                      <a:pt x="92" y="141"/>
                      <a:pt x="79" y="126"/>
                    </a:cubicBezTo>
                    <a:cubicBezTo>
                      <a:pt x="79" y="112"/>
                      <a:pt x="69" y="120"/>
                      <a:pt x="52" y="118"/>
                    </a:cubicBezTo>
                    <a:cubicBezTo>
                      <a:pt x="52" y="118"/>
                      <a:pt x="26" y="126"/>
                      <a:pt x="29" y="101"/>
                    </a:cubicBezTo>
                    <a:cubicBezTo>
                      <a:pt x="29" y="101"/>
                      <a:pt x="30" y="84"/>
                      <a:pt x="20" y="85"/>
                    </a:cubicBezTo>
                    <a:cubicBezTo>
                      <a:pt x="20" y="85"/>
                      <a:pt x="22" y="61"/>
                      <a:pt x="12" y="55"/>
                    </a:cubicBezTo>
                    <a:cubicBezTo>
                      <a:pt x="12" y="55"/>
                      <a:pt x="0" y="40"/>
                      <a:pt x="13" y="31"/>
                    </a:cubicBezTo>
                    <a:cubicBezTo>
                      <a:pt x="13" y="31"/>
                      <a:pt x="22" y="33"/>
                      <a:pt x="18" y="24"/>
                    </a:cubicBezTo>
                    <a:cubicBezTo>
                      <a:pt x="28" y="12"/>
                      <a:pt x="48" y="20"/>
                      <a:pt x="48" y="20"/>
                    </a:cubicBezTo>
                    <a:cubicBezTo>
                      <a:pt x="54" y="27"/>
                      <a:pt x="57" y="18"/>
                      <a:pt x="64" y="19"/>
                    </a:cubicBezTo>
                    <a:cubicBezTo>
                      <a:pt x="88" y="12"/>
                      <a:pt x="87" y="29"/>
                      <a:pt x="96" y="16"/>
                    </a:cubicBezTo>
                    <a:cubicBezTo>
                      <a:pt x="118" y="0"/>
                      <a:pt x="126" y="20"/>
                      <a:pt x="126" y="20"/>
                    </a:cubicBezTo>
                    <a:cubicBezTo>
                      <a:pt x="129" y="33"/>
                      <a:pt x="147" y="28"/>
                      <a:pt x="147" y="28"/>
                    </a:cubicBezTo>
                    <a:cubicBezTo>
                      <a:pt x="168" y="25"/>
                      <a:pt x="163" y="38"/>
                      <a:pt x="163" y="38"/>
                    </a:cubicBezTo>
                    <a:cubicBezTo>
                      <a:pt x="177" y="23"/>
                      <a:pt x="182" y="31"/>
                      <a:pt x="182" y="31"/>
                    </a:cubicBezTo>
                    <a:cubicBezTo>
                      <a:pt x="204" y="33"/>
                      <a:pt x="191" y="44"/>
                      <a:pt x="191" y="44"/>
                    </a:cubicBezTo>
                    <a:cubicBezTo>
                      <a:pt x="180" y="47"/>
                      <a:pt x="198" y="59"/>
                      <a:pt x="198" y="59"/>
                    </a:cubicBezTo>
                    <a:cubicBezTo>
                      <a:pt x="208" y="63"/>
                      <a:pt x="208" y="75"/>
                      <a:pt x="208" y="75"/>
                    </a:cubicBezTo>
                    <a:cubicBezTo>
                      <a:pt x="200" y="92"/>
                      <a:pt x="217" y="86"/>
                      <a:pt x="217" y="86"/>
                    </a:cubicBezTo>
                    <a:cubicBezTo>
                      <a:pt x="227" y="76"/>
                      <a:pt x="234" y="90"/>
                      <a:pt x="234" y="90"/>
                    </a:cubicBezTo>
                    <a:cubicBezTo>
                      <a:pt x="237" y="104"/>
                      <a:pt x="249" y="86"/>
                      <a:pt x="249" y="86"/>
                    </a:cubicBezTo>
                    <a:cubicBezTo>
                      <a:pt x="255" y="72"/>
                      <a:pt x="273" y="86"/>
                      <a:pt x="273" y="86"/>
                    </a:cubicBezTo>
                    <a:cubicBezTo>
                      <a:pt x="310" y="92"/>
                      <a:pt x="303" y="68"/>
                      <a:pt x="303" y="68"/>
                    </a:cubicBezTo>
                    <a:cubicBezTo>
                      <a:pt x="303" y="42"/>
                      <a:pt x="320" y="50"/>
                      <a:pt x="320" y="50"/>
                    </a:cubicBezTo>
                    <a:cubicBezTo>
                      <a:pt x="334" y="55"/>
                      <a:pt x="330" y="28"/>
                      <a:pt x="348" y="46"/>
                    </a:cubicBezTo>
                    <a:cubicBezTo>
                      <a:pt x="348" y="46"/>
                      <a:pt x="345" y="53"/>
                      <a:pt x="349" y="60"/>
                    </a:cubicBezTo>
                    <a:cubicBezTo>
                      <a:pt x="349" y="60"/>
                      <a:pt x="356" y="64"/>
                      <a:pt x="352" y="75"/>
                    </a:cubicBezTo>
                    <a:cubicBezTo>
                      <a:pt x="352" y="75"/>
                      <a:pt x="358" y="91"/>
                      <a:pt x="351" y="96"/>
                    </a:cubicBezTo>
                    <a:cubicBezTo>
                      <a:pt x="351" y="96"/>
                      <a:pt x="337" y="94"/>
                      <a:pt x="348" y="110"/>
                    </a:cubicBezTo>
                    <a:cubicBezTo>
                      <a:pt x="348" y="110"/>
                      <a:pt x="343" y="119"/>
                      <a:pt x="357" y="123"/>
                    </a:cubicBezTo>
                    <a:cubicBezTo>
                      <a:pt x="356" y="132"/>
                      <a:pt x="365" y="133"/>
                      <a:pt x="361" y="140"/>
                    </a:cubicBezTo>
                    <a:cubicBezTo>
                      <a:pt x="361" y="140"/>
                      <a:pt x="367" y="154"/>
                      <a:pt x="353" y="149"/>
                    </a:cubicBezTo>
                    <a:cubicBezTo>
                      <a:pt x="353" y="149"/>
                      <a:pt x="348" y="150"/>
                      <a:pt x="348" y="156"/>
                    </a:cubicBezTo>
                    <a:cubicBezTo>
                      <a:pt x="348" y="156"/>
                      <a:pt x="360" y="157"/>
                      <a:pt x="361" y="161"/>
                    </a:cubicBezTo>
                    <a:cubicBezTo>
                      <a:pt x="361" y="161"/>
                      <a:pt x="363" y="171"/>
                      <a:pt x="362" y="181"/>
                    </a:cubicBezTo>
                    <a:cubicBezTo>
                      <a:pt x="362" y="181"/>
                      <a:pt x="367" y="194"/>
                      <a:pt x="348" y="196"/>
                    </a:cubicBezTo>
                    <a:cubicBezTo>
                      <a:pt x="348" y="196"/>
                      <a:pt x="334" y="202"/>
                      <a:pt x="340" y="215"/>
                    </a:cubicBezTo>
                    <a:cubicBezTo>
                      <a:pt x="338" y="218"/>
                      <a:pt x="356" y="218"/>
                      <a:pt x="356" y="225"/>
                    </a:cubicBezTo>
                    <a:cubicBezTo>
                      <a:pt x="357" y="237"/>
                      <a:pt x="338" y="225"/>
                      <a:pt x="341" y="233"/>
                    </a:cubicBezTo>
                    <a:cubicBezTo>
                      <a:pt x="341" y="233"/>
                      <a:pt x="351" y="236"/>
                      <a:pt x="346" y="240"/>
                    </a:cubicBezTo>
                    <a:cubicBezTo>
                      <a:pt x="346" y="240"/>
                      <a:pt x="340" y="247"/>
                      <a:pt x="327" y="250"/>
                    </a:cubicBezTo>
                    <a:cubicBezTo>
                      <a:pt x="327" y="250"/>
                      <a:pt x="348" y="252"/>
                      <a:pt x="331" y="257"/>
                    </a:cubicBezTo>
                    <a:cubicBezTo>
                      <a:pt x="331" y="257"/>
                      <a:pt x="317" y="263"/>
                      <a:pt x="312" y="258"/>
                    </a:cubicBezTo>
                    <a:cubicBezTo>
                      <a:pt x="312" y="258"/>
                      <a:pt x="295" y="249"/>
                      <a:pt x="290" y="262"/>
                    </a:cubicBezTo>
                    <a:cubicBezTo>
                      <a:pt x="280" y="266"/>
                      <a:pt x="273" y="253"/>
                      <a:pt x="269" y="266"/>
                    </a:cubicBezTo>
                    <a:cubicBezTo>
                      <a:pt x="269" y="266"/>
                      <a:pt x="257" y="258"/>
                      <a:pt x="246" y="277"/>
                    </a:cubicBezTo>
                    <a:cubicBezTo>
                      <a:pt x="246" y="277"/>
                      <a:pt x="227" y="275"/>
                      <a:pt x="224" y="280"/>
                    </a:cubicBezTo>
                    <a:cubicBezTo>
                      <a:pt x="218" y="257"/>
                      <a:pt x="229" y="240"/>
                      <a:pt x="229" y="240"/>
                    </a:cubicBezTo>
                    <a:cubicBezTo>
                      <a:pt x="209" y="264"/>
                      <a:pt x="214" y="273"/>
                      <a:pt x="214" y="273"/>
                    </a:cubicBezTo>
                    <a:cubicBezTo>
                      <a:pt x="222" y="304"/>
                      <a:pt x="210" y="300"/>
                      <a:pt x="210" y="300"/>
                    </a:cubicBezTo>
                    <a:cubicBezTo>
                      <a:pt x="204" y="302"/>
                      <a:pt x="191" y="294"/>
                      <a:pt x="191" y="294"/>
                    </a:cubicBezTo>
                    <a:cubicBezTo>
                      <a:pt x="180" y="298"/>
                      <a:pt x="166" y="299"/>
                      <a:pt x="166" y="299"/>
                    </a:cubicBezTo>
                    <a:cubicBezTo>
                      <a:pt x="166" y="299"/>
                      <a:pt x="166" y="299"/>
                      <a:pt x="166" y="299"/>
                    </a:cubicBezTo>
                    <a:cubicBezTo>
                      <a:pt x="174" y="274"/>
                      <a:pt x="174" y="274"/>
                      <a:pt x="174" y="274"/>
                    </a:cubicBezTo>
                    <a:cubicBezTo>
                      <a:pt x="174" y="274"/>
                      <a:pt x="174" y="274"/>
                      <a:pt x="174" y="274"/>
                    </a:cubicBezTo>
                    <a:cubicBezTo>
                      <a:pt x="165" y="292"/>
                      <a:pt x="152" y="301"/>
                      <a:pt x="152" y="301"/>
                    </a:cubicBezTo>
                    <a:cubicBezTo>
                      <a:pt x="142" y="304"/>
                      <a:pt x="127" y="294"/>
                      <a:pt x="127" y="294"/>
                    </a:cubicBezTo>
                    <a:cubicBezTo>
                      <a:pt x="127" y="294"/>
                      <a:pt x="127" y="294"/>
                      <a:pt x="127" y="294"/>
                    </a:cubicBezTo>
                    <a:close/>
                  </a:path>
                </a:pathLst>
              </a:custGeom>
              <a:solidFill>
                <a:srgbClr val="EEBB0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49" name="Freeform 37"/>
              <p:cNvSpPr>
                <a:spLocks/>
              </p:cNvSpPr>
              <p:nvPr/>
            </p:nvSpPr>
            <p:spPr bwMode="auto">
              <a:xfrm>
                <a:off x="4459315" y="4054836"/>
                <a:ext cx="1054215" cy="859384"/>
              </a:xfrm>
              <a:custGeom>
                <a:avLst/>
                <a:gdLst/>
                <a:ahLst/>
                <a:cxnLst>
                  <a:cxn ang="0">
                    <a:pos x="15" y="128"/>
                  </a:cxn>
                  <a:cxn ang="0">
                    <a:pos x="60" y="117"/>
                  </a:cxn>
                  <a:cxn ang="0">
                    <a:pos x="82" y="106"/>
                  </a:cxn>
                  <a:cxn ang="0">
                    <a:pos x="79" y="66"/>
                  </a:cxn>
                  <a:cxn ang="0">
                    <a:pos x="78" y="43"/>
                  </a:cxn>
                  <a:cxn ang="0">
                    <a:pos x="69" y="25"/>
                  </a:cxn>
                  <a:cxn ang="0">
                    <a:pos x="102" y="11"/>
                  </a:cxn>
                  <a:cxn ang="0">
                    <a:pos x="112" y="11"/>
                  </a:cxn>
                  <a:cxn ang="0">
                    <a:pos x="157" y="11"/>
                  </a:cxn>
                  <a:cxn ang="0">
                    <a:pos x="194" y="15"/>
                  </a:cxn>
                  <a:cxn ang="0">
                    <a:pos x="214" y="15"/>
                  </a:cxn>
                  <a:cxn ang="0">
                    <a:pos x="222" y="48"/>
                  </a:cxn>
                  <a:cxn ang="0">
                    <a:pos x="245" y="55"/>
                  </a:cxn>
                  <a:cxn ang="0">
                    <a:pos x="269" y="53"/>
                  </a:cxn>
                  <a:cxn ang="0">
                    <a:pos x="290" y="59"/>
                  </a:cxn>
                  <a:cxn ang="0">
                    <a:pos x="308" y="89"/>
                  </a:cxn>
                  <a:cxn ang="0">
                    <a:pos x="338" y="100"/>
                  </a:cxn>
                  <a:cxn ang="0">
                    <a:pos x="366" y="121"/>
                  </a:cxn>
                  <a:cxn ang="0">
                    <a:pos x="354" y="135"/>
                  </a:cxn>
                  <a:cxn ang="0">
                    <a:pos x="334" y="154"/>
                  </a:cxn>
                  <a:cxn ang="0">
                    <a:pos x="347" y="186"/>
                  </a:cxn>
                  <a:cxn ang="0">
                    <a:pos x="358" y="204"/>
                  </a:cxn>
                  <a:cxn ang="0">
                    <a:pos x="328" y="245"/>
                  </a:cxn>
                  <a:cxn ang="0">
                    <a:pos x="234" y="267"/>
                  </a:cxn>
                  <a:cxn ang="0">
                    <a:pos x="178" y="309"/>
                  </a:cxn>
                  <a:cxn ang="0">
                    <a:pos x="152" y="333"/>
                  </a:cxn>
                  <a:cxn ang="0">
                    <a:pos x="145" y="322"/>
                  </a:cxn>
                  <a:cxn ang="0">
                    <a:pos x="125" y="343"/>
                  </a:cxn>
                  <a:cxn ang="0">
                    <a:pos x="101" y="311"/>
                  </a:cxn>
                  <a:cxn ang="0">
                    <a:pos x="72" y="287"/>
                  </a:cxn>
                  <a:cxn ang="0">
                    <a:pos x="65" y="264"/>
                  </a:cxn>
                  <a:cxn ang="0">
                    <a:pos x="70" y="237"/>
                  </a:cxn>
                  <a:cxn ang="0">
                    <a:pos x="50" y="220"/>
                  </a:cxn>
                  <a:cxn ang="0">
                    <a:pos x="37" y="176"/>
                  </a:cxn>
                  <a:cxn ang="0">
                    <a:pos x="9" y="158"/>
                  </a:cxn>
                  <a:cxn ang="0">
                    <a:pos x="0" y="133"/>
                  </a:cxn>
                </a:cxnLst>
                <a:rect l="0" t="0" r="r" b="b"/>
                <a:pathLst>
                  <a:path w="372" h="344">
                    <a:moveTo>
                      <a:pt x="0" y="133"/>
                    </a:moveTo>
                    <a:cubicBezTo>
                      <a:pt x="0" y="133"/>
                      <a:pt x="5" y="128"/>
                      <a:pt x="15" y="128"/>
                    </a:cubicBezTo>
                    <a:cubicBezTo>
                      <a:pt x="15" y="128"/>
                      <a:pt x="27" y="125"/>
                      <a:pt x="32" y="119"/>
                    </a:cubicBezTo>
                    <a:cubicBezTo>
                      <a:pt x="32" y="119"/>
                      <a:pt x="43" y="110"/>
                      <a:pt x="60" y="117"/>
                    </a:cubicBezTo>
                    <a:cubicBezTo>
                      <a:pt x="60" y="117"/>
                      <a:pt x="61" y="122"/>
                      <a:pt x="77" y="121"/>
                    </a:cubicBezTo>
                    <a:cubicBezTo>
                      <a:pt x="77" y="121"/>
                      <a:pt x="86" y="124"/>
                      <a:pt x="82" y="106"/>
                    </a:cubicBezTo>
                    <a:cubicBezTo>
                      <a:pt x="82" y="106"/>
                      <a:pt x="82" y="96"/>
                      <a:pt x="84" y="92"/>
                    </a:cubicBezTo>
                    <a:cubicBezTo>
                      <a:pt x="93" y="80"/>
                      <a:pt x="75" y="86"/>
                      <a:pt x="79" y="66"/>
                    </a:cubicBezTo>
                    <a:cubicBezTo>
                      <a:pt x="79" y="66"/>
                      <a:pt x="67" y="59"/>
                      <a:pt x="67" y="55"/>
                    </a:cubicBezTo>
                    <a:cubicBezTo>
                      <a:pt x="67" y="45"/>
                      <a:pt x="85" y="46"/>
                      <a:pt x="78" y="43"/>
                    </a:cubicBezTo>
                    <a:cubicBezTo>
                      <a:pt x="78" y="43"/>
                      <a:pt x="72" y="34"/>
                      <a:pt x="65" y="34"/>
                    </a:cubicBezTo>
                    <a:cubicBezTo>
                      <a:pt x="65" y="34"/>
                      <a:pt x="71" y="29"/>
                      <a:pt x="69" y="25"/>
                    </a:cubicBezTo>
                    <a:cubicBezTo>
                      <a:pt x="69" y="25"/>
                      <a:pt x="68" y="16"/>
                      <a:pt x="86" y="18"/>
                    </a:cubicBezTo>
                    <a:cubicBezTo>
                      <a:pt x="86" y="18"/>
                      <a:pt x="89" y="7"/>
                      <a:pt x="102" y="11"/>
                    </a:cubicBezTo>
                    <a:cubicBezTo>
                      <a:pt x="104" y="10"/>
                      <a:pt x="105" y="9"/>
                      <a:pt x="107" y="10"/>
                    </a:cubicBezTo>
                    <a:cubicBezTo>
                      <a:pt x="109" y="11"/>
                      <a:pt x="110" y="12"/>
                      <a:pt x="112" y="11"/>
                    </a:cubicBezTo>
                    <a:cubicBezTo>
                      <a:pt x="112" y="11"/>
                      <a:pt x="119" y="7"/>
                      <a:pt x="137" y="11"/>
                    </a:cubicBezTo>
                    <a:cubicBezTo>
                      <a:pt x="137" y="11"/>
                      <a:pt x="146" y="18"/>
                      <a:pt x="157" y="11"/>
                    </a:cubicBezTo>
                    <a:cubicBezTo>
                      <a:pt x="157" y="11"/>
                      <a:pt x="167" y="0"/>
                      <a:pt x="177" y="9"/>
                    </a:cubicBezTo>
                    <a:cubicBezTo>
                      <a:pt x="177" y="9"/>
                      <a:pt x="183" y="15"/>
                      <a:pt x="194" y="15"/>
                    </a:cubicBezTo>
                    <a:cubicBezTo>
                      <a:pt x="194" y="15"/>
                      <a:pt x="205" y="5"/>
                      <a:pt x="206" y="18"/>
                    </a:cubicBezTo>
                    <a:cubicBezTo>
                      <a:pt x="206" y="18"/>
                      <a:pt x="209" y="24"/>
                      <a:pt x="214" y="15"/>
                    </a:cubicBezTo>
                    <a:cubicBezTo>
                      <a:pt x="214" y="15"/>
                      <a:pt x="210" y="22"/>
                      <a:pt x="219" y="34"/>
                    </a:cubicBezTo>
                    <a:cubicBezTo>
                      <a:pt x="219" y="34"/>
                      <a:pt x="236" y="38"/>
                      <a:pt x="222" y="48"/>
                    </a:cubicBezTo>
                    <a:cubicBezTo>
                      <a:pt x="222" y="48"/>
                      <a:pt x="222" y="57"/>
                      <a:pt x="233" y="52"/>
                    </a:cubicBezTo>
                    <a:cubicBezTo>
                      <a:pt x="233" y="52"/>
                      <a:pt x="235" y="45"/>
                      <a:pt x="245" y="55"/>
                    </a:cubicBezTo>
                    <a:cubicBezTo>
                      <a:pt x="245" y="55"/>
                      <a:pt x="245" y="62"/>
                      <a:pt x="257" y="52"/>
                    </a:cubicBezTo>
                    <a:cubicBezTo>
                      <a:pt x="257" y="52"/>
                      <a:pt x="265" y="58"/>
                      <a:pt x="269" y="53"/>
                    </a:cubicBezTo>
                    <a:cubicBezTo>
                      <a:pt x="269" y="53"/>
                      <a:pt x="273" y="47"/>
                      <a:pt x="283" y="51"/>
                    </a:cubicBezTo>
                    <a:cubicBezTo>
                      <a:pt x="284" y="61"/>
                      <a:pt x="290" y="59"/>
                      <a:pt x="290" y="59"/>
                    </a:cubicBezTo>
                    <a:cubicBezTo>
                      <a:pt x="297" y="59"/>
                      <a:pt x="298" y="70"/>
                      <a:pt x="298" y="70"/>
                    </a:cubicBezTo>
                    <a:cubicBezTo>
                      <a:pt x="302" y="78"/>
                      <a:pt x="308" y="89"/>
                      <a:pt x="308" y="89"/>
                    </a:cubicBezTo>
                    <a:cubicBezTo>
                      <a:pt x="318" y="86"/>
                      <a:pt x="323" y="95"/>
                      <a:pt x="323" y="95"/>
                    </a:cubicBezTo>
                    <a:cubicBezTo>
                      <a:pt x="327" y="102"/>
                      <a:pt x="331" y="89"/>
                      <a:pt x="338" y="100"/>
                    </a:cubicBezTo>
                    <a:cubicBezTo>
                      <a:pt x="346" y="101"/>
                      <a:pt x="354" y="111"/>
                      <a:pt x="354" y="111"/>
                    </a:cubicBezTo>
                    <a:cubicBezTo>
                      <a:pt x="372" y="110"/>
                      <a:pt x="366" y="121"/>
                      <a:pt x="366" y="121"/>
                    </a:cubicBezTo>
                    <a:cubicBezTo>
                      <a:pt x="348" y="125"/>
                      <a:pt x="360" y="128"/>
                      <a:pt x="360" y="128"/>
                    </a:cubicBezTo>
                    <a:cubicBezTo>
                      <a:pt x="360" y="128"/>
                      <a:pt x="368" y="132"/>
                      <a:pt x="354" y="135"/>
                    </a:cubicBezTo>
                    <a:cubicBezTo>
                      <a:pt x="347" y="134"/>
                      <a:pt x="356" y="146"/>
                      <a:pt x="344" y="142"/>
                    </a:cubicBezTo>
                    <a:cubicBezTo>
                      <a:pt x="323" y="144"/>
                      <a:pt x="334" y="154"/>
                      <a:pt x="334" y="154"/>
                    </a:cubicBezTo>
                    <a:cubicBezTo>
                      <a:pt x="339" y="161"/>
                      <a:pt x="328" y="166"/>
                      <a:pt x="328" y="166"/>
                    </a:cubicBezTo>
                    <a:cubicBezTo>
                      <a:pt x="347" y="170"/>
                      <a:pt x="347" y="186"/>
                      <a:pt x="347" y="186"/>
                    </a:cubicBezTo>
                    <a:cubicBezTo>
                      <a:pt x="368" y="186"/>
                      <a:pt x="363" y="196"/>
                      <a:pt x="363" y="196"/>
                    </a:cubicBezTo>
                    <a:cubicBezTo>
                      <a:pt x="365" y="203"/>
                      <a:pt x="358" y="204"/>
                      <a:pt x="358" y="204"/>
                    </a:cubicBezTo>
                    <a:cubicBezTo>
                      <a:pt x="341" y="207"/>
                      <a:pt x="356" y="220"/>
                      <a:pt x="356" y="220"/>
                    </a:cubicBezTo>
                    <a:cubicBezTo>
                      <a:pt x="340" y="230"/>
                      <a:pt x="328" y="245"/>
                      <a:pt x="328" y="245"/>
                    </a:cubicBezTo>
                    <a:cubicBezTo>
                      <a:pt x="295" y="231"/>
                      <a:pt x="267" y="272"/>
                      <a:pt x="267" y="272"/>
                    </a:cubicBezTo>
                    <a:cubicBezTo>
                      <a:pt x="250" y="258"/>
                      <a:pt x="234" y="267"/>
                      <a:pt x="234" y="267"/>
                    </a:cubicBezTo>
                    <a:cubicBezTo>
                      <a:pt x="204" y="272"/>
                      <a:pt x="194" y="293"/>
                      <a:pt x="194" y="293"/>
                    </a:cubicBezTo>
                    <a:cubicBezTo>
                      <a:pt x="192" y="303"/>
                      <a:pt x="178" y="309"/>
                      <a:pt x="178" y="309"/>
                    </a:cubicBezTo>
                    <a:cubicBezTo>
                      <a:pt x="178" y="309"/>
                      <a:pt x="178" y="309"/>
                      <a:pt x="178" y="309"/>
                    </a:cubicBezTo>
                    <a:cubicBezTo>
                      <a:pt x="152" y="333"/>
                      <a:pt x="152" y="333"/>
                      <a:pt x="152" y="333"/>
                    </a:cubicBezTo>
                    <a:cubicBezTo>
                      <a:pt x="152" y="333"/>
                      <a:pt x="152" y="333"/>
                      <a:pt x="152" y="333"/>
                    </a:cubicBezTo>
                    <a:cubicBezTo>
                      <a:pt x="139" y="337"/>
                      <a:pt x="145" y="322"/>
                      <a:pt x="145" y="322"/>
                    </a:cubicBezTo>
                    <a:cubicBezTo>
                      <a:pt x="141" y="310"/>
                      <a:pt x="136" y="322"/>
                      <a:pt x="136" y="322"/>
                    </a:cubicBezTo>
                    <a:cubicBezTo>
                      <a:pt x="134" y="332"/>
                      <a:pt x="130" y="338"/>
                      <a:pt x="125" y="343"/>
                    </a:cubicBezTo>
                    <a:cubicBezTo>
                      <a:pt x="110" y="344"/>
                      <a:pt x="113" y="334"/>
                      <a:pt x="113" y="334"/>
                    </a:cubicBezTo>
                    <a:cubicBezTo>
                      <a:pt x="115" y="308"/>
                      <a:pt x="101" y="311"/>
                      <a:pt x="101" y="311"/>
                    </a:cubicBezTo>
                    <a:cubicBezTo>
                      <a:pt x="87" y="309"/>
                      <a:pt x="87" y="300"/>
                      <a:pt x="87" y="300"/>
                    </a:cubicBezTo>
                    <a:cubicBezTo>
                      <a:pt x="68" y="297"/>
                      <a:pt x="72" y="287"/>
                      <a:pt x="72" y="287"/>
                    </a:cubicBezTo>
                    <a:cubicBezTo>
                      <a:pt x="75" y="280"/>
                      <a:pt x="65" y="276"/>
                      <a:pt x="65" y="276"/>
                    </a:cubicBezTo>
                    <a:cubicBezTo>
                      <a:pt x="49" y="275"/>
                      <a:pt x="65" y="264"/>
                      <a:pt x="65" y="264"/>
                    </a:cubicBezTo>
                    <a:cubicBezTo>
                      <a:pt x="74" y="261"/>
                      <a:pt x="70" y="252"/>
                      <a:pt x="70" y="252"/>
                    </a:cubicBezTo>
                    <a:cubicBezTo>
                      <a:pt x="86" y="243"/>
                      <a:pt x="70" y="237"/>
                      <a:pt x="70" y="237"/>
                    </a:cubicBezTo>
                    <a:cubicBezTo>
                      <a:pt x="70" y="227"/>
                      <a:pt x="58" y="229"/>
                      <a:pt x="58" y="229"/>
                    </a:cubicBezTo>
                    <a:cubicBezTo>
                      <a:pt x="52" y="229"/>
                      <a:pt x="50" y="220"/>
                      <a:pt x="50" y="220"/>
                    </a:cubicBezTo>
                    <a:cubicBezTo>
                      <a:pt x="39" y="216"/>
                      <a:pt x="42" y="202"/>
                      <a:pt x="42" y="202"/>
                    </a:cubicBezTo>
                    <a:cubicBezTo>
                      <a:pt x="31" y="195"/>
                      <a:pt x="37" y="176"/>
                      <a:pt x="37" y="176"/>
                    </a:cubicBezTo>
                    <a:cubicBezTo>
                      <a:pt x="29" y="151"/>
                      <a:pt x="23" y="169"/>
                      <a:pt x="23" y="169"/>
                    </a:cubicBezTo>
                    <a:cubicBezTo>
                      <a:pt x="9" y="176"/>
                      <a:pt x="9" y="158"/>
                      <a:pt x="9" y="158"/>
                    </a:cubicBezTo>
                    <a:cubicBezTo>
                      <a:pt x="0" y="148"/>
                      <a:pt x="0" y="133"/>
                      <a:pt x="0" y="133"/>
                    </a:cubicBezTo>
                    <a:cubicBezTo>
                      <a:pt x="0" y="133"/>
                      <a:pt x="0" y="133"/>
                      <a:pt x="0" y="133"/>
                    </a:cubicBezTo>
                    <a:close/>
                  </a:path>
                </a:pathLst>
              </a:custGeom>
              <a:solidFill>
                <a:srgbClr val="EEBB0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50" name="Freeform 36"/>
              <p:cNvSpPr>
                <a:spLocks/>
              </p:cNvSpPr>
              <p:nvPr/>
            </p:nvSpPr>
            <p:spPr bwMode="auto">
              <a:xfrm>
                <a:off x="3620138" y="4335267"/>
                <a:ext cx="1195827" cy="728213"/>
              </a:xfrm>
              <a:custGeom>
                <a:avLst/>
                <a:gdLst/>
                <a:ahLst/>
                <a:cxnLst>
                  <a:cxn ang="0">
                    <a:pos x="45" y="162"/>
                  </a:cxn>
                  <a:cxn ang="0">
                    <a:pos x="89" y="147"/>
                  </a:cxn>
                  <a:cxn ang="0">
                    <a:pos x="130" y="142"/>
                  </a:cxn>
                  <a:cxn ang="0">
                    <a:pos x="145" y="125"/>
                  </a:cxn>
                  <a:cxn ang="0">
                    <a:pos x="155" y="110"/>
                  </a:cxn>
                  <a:cxn ang="0">
                    <a:pos x="147" y="81"/>
                  </a:cxn>
                  <a:cxn ang="0">
                    <a:pos x="160" y="46"/>
                  </a:cxn>
                  <a:cxn ang="0">
                    <a:pos x="152" y="34"/>
                  </a:cxn>
                  <a:cxn ang="0">
                    <a:pos x="156" y="8"/>
                  </a:cxn>
                  <a:cxn ang="0">
                    <a:pos x="182" y="15"/>
                  </a:cxn>
                  <a:cxn ang="0">
                    <a:pos x="202" y="14"/>
                  </a:cxn>
                  <a:cxn ang="0">
                    <a:pos x="246" y="19"/>
                  </a:cxn>
                  <a:cxn ang="0">
                    <a:pos x="272" y="20"/>
                  </a:cxn>
                  <a:cxn ang="0">
                    <a:pos x="305" y="45"/>
                  </a:cxn>
                  <a:cxn ang="0">
                    <a:pos x="333" y="63"/>
                  </a:cxn>
                  <a:cxn ang="0">
                    <a:pos x="346" y="107"/>
                  </a:cxn>
                  <a:cxn ang="0">
                    <a:pos x="366" y="124"/>
                  </a:cxn>
                  <a:cxn ang="0">
                    <a:pos x="361" y="151"/>
                  </a:cxn>
                  <a:cxn ang="0">
                    <a:pos x="368" y="174"/>
                  </a:cxn>
                  <a:cxn ang="0">
                    <a:pos x="397" y="198"/>
                  </a:cxn>
                  <a:cxn ang="0">
                    <a:pos x="421" y="230"/>
                  </a:cxn>
                  <a:cxn ang="0">
                    <a:pos x="386" y="261"/>
                  </a:cxn>
                  <a:cxn ang="0">
                    <a:pos x="360" y="258"/>
                  </a:cxn>
                  <a:cxn ang="0">
                    <a:pos x="316" y="249"/>
                  </a:cxn>
                  <a:cxn ang="0">
                    <a:pos x="291" y="252"/>
                  </a:cxn>
                  <a:cxn ang="0">
                    <a:pos x="277" y="248"/>
                  </a:cxn>
                  <a:cxn ang="0">
                    <a:pos x="250" y="252"/>
                  </a:cxn>
                  <a:cxn ang="0">
                    <a:pos x="234" y="253"/>
                  </a:cxn>
                  <a:cxn ang="0">
                    <a:pos x="227" y="275"/>
                  </a:cxn>
                  <a:cxn ang="0">
                    <a:pos x="184" y="253"/>
                  </a:cxn>
                  <a:cxn ang="0">
                    <a:pos x="126" y="272"/>
                  </a:cxn>
                  <a:cxn ang="0">
                    <a:pos x="63" y="261"/>
                  </a:cxn>
                  <a:cxn ang="0">
                    <a:pos x="16" y="244"/>
                  </a:cxn>
                  <a:cxn ang="0">
                    <a:pos x="0" y="237"/>
                  </a:cxn>
                  <a:cxn ang="0">
                    <a:pos x="20" y="233"/>
                  </a:cxn>
                  <a:cxn ang="0">
                    <a:pos x="16" y="211"/>
                  </a:cxn>
                  <a:cxn ang="0">
                    <a:pos x="9" y="198"/>
                  </a:cxn>
                  <a:cxn ang="0">
                    <a:pos x="46" y="203"/>
                  </a:cxn>
                  <a:cxn ang="0">
                    <a:pos x="71" y="199"/>
                  </a:cxn>
                  <a:cxn ang="0">
                    <a:pos x="82" y="196"/>
                  </a:cxn>
                  <a:cxn ang="0">
                    <a:pos x="62" y="187"/>
                  </a:cxn>
                  <a:cxn ang="0">
                    <a:pos x="41" y="187"/>
                  </a:cxn>
                  <a:cxn ang="0">
                    <a:pos x="23" y="165"/>
                  </a:cxn>
                </a:cxnLst>
                <a:rect l="0" t="0" r="r" b="b"/>
                <a:pathLst>
                  <a:path w="421" h="292">
                    <a:moveTo>
                      <a:pt x="23" y="165"/>
                    </a:moveTo>
                    <a:cubicBezTo>
                      <a:pt x="26" y="160"/>
                      <a:pt x="45" y="162"/>
                      <a:pt x="45" y="162"/>
                    </a:cubicBezTo>
                    <a:cubicBezTo>
                      <a:pt x="56" y="143"/>
                      <a:pt x="68" y="151"/>
                      <a:pt x="68" y="151"/>
                    </a:cubicBezTo>
                    <a:cubicBezTo>
                      <a:pt x="72" y="138"/>
                      <a:pt x="79" y="151"/>
                      <a:pt x="89" y="147"/>
                    </a:cubicBezTo>
                    <a:cubicBezTo>
                      <a:pt x="94" y="134"/>
                      <a:pt x="111" y="143"/>
                      <a:pt x="111" y="143"/>
                    </a:cubicBezTo>
                    <a:cubicBezTo>
                      <a:pt x="116" y="148"/>
                      <a:pt x="130" y="142"/>
                      <a:pt x="130" y="142"/>
                    </a:cubicBezTo>
                    <a:cubicBezTo>
                      <a:pt x="147" y="137"/>
                      <a:pt x="126" y="135"/>
                      <a:pt x="126" y="135"/>
                    </a:cubicBezTo>
                    <a:cubicBezTo>
                      <a:pt x="139" y="132"/>
                      <a:pt x="145" y="125"/>
                      <a:pt x="145" y="125"/>
                    </a:cubicBezTo>
                    <a:cubicBezTo>
                      <a:pt x="150" y="121"/>
                      <a:pt x="140" y="118"/>
                      <a:pt x="140" y="118"/>
                    </a:cubicBezTo>
                    <a:cubicBezTo>
                      <a:pt x="137" y="110"/>
                      <a:pt x="156" y="122"/>
                      <a:pt x="155" y="110"/>
                    </a:cubicBezTo>
                    <a:cubicBezTo>
                      <a:pt x="155" y="103"/>
                      <a:pt x="137" y="103"/>
                      <a:pt x="139" y="100"/>
                    </a:cubicBezTo>
                    <a:cubicBezTo>
                      <a:pt x="133" y="87"/>
                      <a:pt x="147" y="81"/>
                      <a:pt x="147" y="81"/>
                    </a:cubicBezTo>
                    <a:cubicBezTo>
                      <a:pt x="166" y="79"/>
                      <a:pt x="161" y="66"/>
                      <a:pt x="161" y="66"/>
                    </a:cubicBezTo>
                    <a:cubicBezTo>
                      <a:pt x="162" y="56"/>
                      <a:pt x="160" y="46"/>
                      <a:pt x="160" y="46"/>
                    </a:cubicBezTo>
                    <a:cubicBezTo>
                      <a:pt x="159" y="42"/>
                      <a:pt x="147" y="41"/>
                      <a:pt x="147" y="41"/>
                    </a:cubicBezTo>
                    <a:cubicBezTo>
                      <a:pt x="147" y="35"/>
                      <a:pt x="152" y="34"/>
                      <a:pt x="152" y="34"/>
                    </a:cubicBezTo>
                    <a:cubicBezTo>
                      <a:pt x="166" y="39"/>
                      <a:pt x="160" y="25"/>
                      <a:pt x="160" y="25"/>
                    </a:cubicBezTo>
                    <a:cubicBezTo>
                      <a:pt x="164" y="18"/>
                      <a:pt x="155" y="17"/>
                      <a:pt x="156" y="8"/>
                    </a:cubicBezTo>
                    <a:cubicBezTo>
                      <a:pt x="156" y="8"/>
                      <a:pt x="165" y="5"/>
                      <a:pt x="170" y="12"/>
                    </a:cubicBezTo>
                    <a:cubicBezTo>
                      <a:pt x="170" y="12"/>
                      <a:pt x="180" y="11"/>
                      <a:pt x="182" y="15"/>
                    </a:cubicBezTo>
                    <a:cubicBezTo>
                      <a:pt x="182" y="15"/>
                      <a:pt x="188" y="26"/>
                      <a:pt x="191" y="19"/>
                    </a:cubicBezTo>
                    <a:cubicBezTo>
                      <a:pt x="191" y="12"/>
                      <a:pt x="200" y="18"/>
                      <a:pt x="202" y="14"/>
                    </a:cubicBezTo>
                    <a:cubicBezTo>
                      <a:pt x="202" y="14"/>
                      <a:pt x="211" y="0"/>
                      <a:pt x="221" y="15"/>
                    </a:cubicBezTo>
                    <a:cubicBezTo>
                      <a:pt x="221" y="15"/>
                      <a:pt x="218" y="25"/>
                      <a:pt x="246" y="19"/>
                    </a:cubicBezTo>
                    <a:cubicBezTo>
                      <a:pt x="246" y="19"/>
                      <a:pt x="251" y="12"/>
                      <a:pt x="262" y="18"/>
                    </a:cubicBezTo>
                    <a:cubicBezTo>
                      <a:pt x="262" y="18"/>
                      <a:pt x="263" y="23"/>
                      <a:pt x="272" y="20"/>
                    </a:cubicBezTo>
                    <a:cubicBezTo>
                      <a:pt x="272" y="20"/>
                      <a:pt x="287" y="21"/>
                      <a:pt x="297" y="20"/>
                    </a:cubicBezTo>
                    <a:cubicBezTo>
                      <a:pt x="297" y="20"/>
                      <a:pt x="296" y="35"/>
                      <a:pt x="305" y="45"/>
                    </a:cubicBezTo>
                    <a:cubicBezTo>
                      <a:pt x="305" y="45"/>
                      <a:pt x="305" y="63"/>
                      <a:pt x="319" y="56"/>
                    </a:cubicBezTo>
                    <a:cubicBezTo>
                      <a:pt x="319" y="56"/>
                      <a:pt x="325" y="38"/>
                      <a:pt x="333" y="63"/>
                    </a:cubicBezTo>
                    <a:cubicBezTo>
                      <a:pt x="333" y="63"/>
                      <a:pt x="327" y="82"/>
                      <a:pt x="338" y="89"/>
                    </a:cubicBezTo>
                    <a:cubicBezTo>
                      <a:pt x="338" y="89"/>
                      <a:pt x="335" y="103"/>
                      <a:pt x="346" y="107"/>
                    </a:cubicBezTo>
                    <a:cubicBezTo>
                      <a:pt x="346" y="107"/>
                      <a:pt x="348" y="116"/>
                      <a:pt x="354" y="116"/>
                    </a:cubicBezTo>
                    <a:cubicBezTo>
                      <a:pt x="354" y="116"/>
                      <a:pt x="366" y="114"/>
                      <a:pt x="366" y="124"/>
                    </a:cubicBezTo>
                    <a:cubicBezTo>
                      <a:pt x="366" y="124"/>
                      <a:pt x="382" y="130"/>
                      <a:pt x="366" y="139"/>
                    </a:cubicBezTo>
                    <a:cubicBezTo>
                      <a:pt x="366" y="139"/>
                      <a:pt x="370" y="148"/>
                      <a:pt x="361" y="151"/>
                    </a:cubicBezTo>
                    <a:cubicBezTo>
                      <a:pt x="361" y="151"/>
                      <a:pt x="345" y="162"/>
                      <a:pt x="361" y="163"/>
                    </a:cubicBezTo>
                    <a:cubicBezTo>
                      <a:pt x="361" y="163"/>
                      <a:pt x="371" y="167"/>
                      <a:pt x="368" y="174"/>
                    </a:cubicBezTo>
                    <a:cubicBezTo>
                      <a:pt x="368" y="174"/>
                      <a:pt x="364" y="184"/>
                      <a:pt x="383" y="187"/>
                    </a:cubicBezTo>
                    <a:cubicBezTo>
                      <a:pt x="383" y="187"/>
                      <a:pt x="383" y="196"/>
                      <a:pt x="397" y="198"/>
                    </a:cubicBezTo>
                    <a:cubicBezTo>
                      <a:pt x="397" y="198"/>
                      <a:pt x="411" y="195"/>
                      <a:pt x="409" y="221"/>
                    </a:cubicBezTo>
                    <a:cubicBezTo>
                      <a:pt x="409" y="221"/>
                      <a:pt x="406" y="231"/>
                      <a:pt x="421" y="230"/>
                    </a:cubicBezTo>
                    <a:cubicBezTo>
                      <a:pt x="410" y="240"/>
                      <a:pt x="396" y="241"/>
                      <a:pt x="396" y="241"/>
                    </a:cubicBezTo>
                    <a:cubicBezTo>
                      <a:pt x="384" y="250"/>
                      <a:pt x="386" y="261"/>
                      <a:pt x="386" y="261"/>
                    </a:cubicBezTo>
                    <a:cubicBezTo>
                      <a:pt x="377" y="252"/>
                      <a:pt x="370" y="253"/>
                      <a:pt x="370" y="253"/>
                    </a:cubicBezTo>
                    <a:cubicBezTo>
                      <a:pt x="364" y="253"/>
                      <a:pt x="360" y="258"/>
                      <a:pt x="360" y="258"/>
                    </a:cubicBezTo>
                    <a:cubicBezTo>
                      <a:pt x="353" y="263"/>
                      <a:pt x="340" y="258"/>
                      <a:pt x="340" y="258"/>
                    </a:cubicBezTo>
                    <a:cubicBezTo>
                      <a:pt x="332" y="258"/>
                      <a:pt x="329" y="247"/>
                      <a:pt x="316" y="249"/>
                    </a:cubicBezTo>
                    <a:cubicBezTo>
                      <a:pt x="309" y="249"/>
                      <a:pt x="308" y="236"/>
                      <a:pt x="301" y="237"/>
                    </a:cubicBezTo>
                    <a:cubicBezTo>
                      <a:pt x="303" y="250"/>
                      <a:pt x="291" y="252"/>
                      <a:pt x="291" y="252"/>
                    </a:cubicBezTo>
                    <a:cubicBezTo>
                      <a:pt x="291" y="252"/>
                      <a:pt x="291" y="252"/>
                      <a:pt x="291" y="252"/>
                    </a:cubicBezTo>
                    <a:cubicBezTo>
                      <a:pt x="277" y="248"/>
                      <a:pt x="277" y="248"/>
                      <a:pt x="277" y="248"/>
                    </a:cubicBezTo>
                    <a:cubicBezTo>
                      <a:pt x="250" y="252"/>
                      <a:pt x="250" y="252"/>
                      <a:pt x="250" y="252"/>
                    </a:cubicBezTo>
                    <a:cubicBezTo>
                      <a:pt x="250" y="252"/>
                      <a:pt x="250" y="252"/>
                      <a:pt x="250" y="252"/>
                    </a:cubicBezTo>
                    <a:cubicBezTo>
                      <a:pt x="249" y="253"/>
                      <a:pt x="248" y="255"/>
                      <a:pt x="248" y="257"/>
                    </a:cubicBezTo>
                    <a:cubicBezTo>
                      <a:pt x="248" y="257"/>
                      <a:pt x="242" y="251"/>
                      <a:pt x="234" y="253"/>
                    </a:cubicBezTo>
                    <a:cubicBezTo>
                      <a:pt x="234" y="253"/>
                      <a:pt x="235" y="261"/>
                      <a:pt x="232" y="265"/>
                    </a:cubicBezTo>
                    <a:cubicBezTo>
                      <a:pt x="228" y="264"/>
                      <a:pt x="227" y="275"/>
                      <a:pt x="227" y="275"/>
                    </a:cubicBezTo>
                    <a:cubicBezTo>
                      <a:pt x="212" y="292"/>
                      <a:pt x="202" y="270"/>
                      <a:pt x="202" y="270"/>
                    </a:cubicBezTo>
                    <a:cubicBezTo>
                      <a:pt x="188" y="272"/>
                      <a:pt x="184" y="253"/>
                      <a:pt x="184" y="253"/>
                    </a:cubicBezTo>
                    <a:cubicBezTo>
                      <a:pt x="180" y="275"/>
                      <a:pt x="163" y="264"/>
                      <a:pt x="163" y="264"/>
                    </a:cubicBezTo>
                    <a:cubicBezTo>
                      <a:pt x="159" y="275"/>
                      <a:pt x="126" y="272"/>
                      <a:pt x="126" y="272"/>
                    </a:cubicBezTo>
                    <a:cubicBezTo>
                      <a:pt x="88" y="285"/>
                      <a:pt x="78" y="276"/>
                      <a:pt x="78" y="276"/>
                    </a:cubicBezTo>
                    <a:cubicBezTo>
                      <a:pt x="66" y="272"/>
                      <a:pt x="63" y="261"/>
                      <a:pt x="63" y="261"/>
                    </a:cubicBezTo>
                    <a:cubicBezTo>
                      <a:pt x="47" y="260"/>
                      <a:pt x="42" y="253"/>
                      <a:pt x="42" y="253"/>
                    </a:cubicBezTo>
                    <a:cubicBezTo>
                      <a:pt x="37" y="246"/>
                      <a:pt x="16" y="244"/>
                      <a:pt x="16" y="244"/>
                    </a:cubicBezTo>
                    <a:cubicBezTo>
                      <a:pt x="2" y="247"/>
                      <a:pt x="0" y="237"/>
                      <a:pt x="0" y="237"/>
                    </a:cubicBezTo>
                    <a:cubicBezTo>
                      <a:pt x="0" y="237"/>
                      <a:pt x="0" y="237"/>
                      <a:pt x="0" y="237"/>
                    </a:cubicBezTo>
                    <a:cubicBezTo>
                      <a:pt x="20" y="233"/>
                      <a:pt x="20" y="233"/>
                      <a:pt x="20" y="233"/>
                    </a:cubicBezTo>
                    <a:cubicBezTo>
                      <a:pt x="20" y="233"/>
                      <a:pt x="20" y="233"/>
                      <a:pt x="20" y="233"/>
                    </a:cubicBezTo>
                    <a:cubicBezTo>
                      <a:pt x="29" y="237"/>
                      <a:pt x="35" y="224"/>
                      <a:pt x="35" y="224"/>
                    </a:cubicBezTo>
                    <a:cubicBezTo>
                      <a:pt x="30" y="212"/>
                      <a:pt x="16" y="211"/>
                      <a:pt x="16" y="211"/>
                    </a:cubicBezTo>
                    <a:cubicBezTo>
                      <a:pt x="12" y="210"/>
                      <a:pt x="8" y="210"/>
                      <a:pt x="5" y="210"/>
                    </a:cubicBezTo>
                    <a:cubicBezTo>
                      <a:pt x="1" y="206"/>
                      <a:pt x="10" y="203"/>
                      <a:pt x="9" y="198"/>
                    </a:cubicBezTo>
                    <a:cubicBezTo>
                      <a:pt x="19" y="198"/>
                      <a:pt x="24" y="195"/>
                      <a:pt x="24" y="195"/>
                    </a:cubicBezTo>
                    <a:cubicBezTo>
                      <a:pt x="38" y="196"/>
                      <a:pt x="46" y="203"/>
                      <a:pt x="46" y="203"/>
                    </a:cubicBezTo>
                    <a:cubicBezTo>
                      <a:pt x="57" y="211"/>
                      <a:pt x="71" y="199"/>
                      <a:pt x="71" y="199"/>
                    </a:cubicBezTo>
                    <a:cubicBezTo>
                      <a:pt x="71" y="199"/>
                      <a:pt x="71" y="199"/>
                      <a:pt x="71" y="199"/>
                    </a:cubicBezTo>
                    <a:cubicBezTo>
                      <a:pt x="82" y="196"/>
                      <a:pt x="82" y="196"/>
                      <a:pt x="82" y="196"/>
                    </a:cubicBezTo>
                    <a:cubicBezTo>
                      <a:pt x="82" y="196"/>
                      <a:pt x="82" y="196"/>
                      <a:pt x="82" y="196"/>
                    </a:cubicBezTo>
                    <a:cubicBezTo>
                      <a:pt x="79" y="191"/>
                      <a:pt x="62" y="187"/>
                      <a:pt x="62" y="187"/>
                    </a:cubicBezTo>
                    <a:cubicBezTo>
                      <a:pt x="62" y="187"/>
                      <a:pt x="62" y="187"/>
                      <a:pt x="62" y="187"/>
                    </a:cubicBezTo>
                    <a:cubicBezTo>
                      <a:pt x="41" y="187"/>
                      <a:pt x="41" y="187"/>
                      <a:pt x="41" y="187"/>
                    </a:cubicBezTo>
                    <a:cubicBezTo>
                      <a:pt x="41" y="187"/>
                      <a:pt x="41" y="187"/>
                      <a:pt x="41" y="187"/>
                    </a:cubicBezTo>
                    <a:cubicBezTo>
                      <a:pt x="27" y="182"/>
                      <a:pt x="23" y="165"/>
                      <a:pt x="23" y="165"/>
                    </a:cubicBezTo>
                    <a:cubicBezTo>
                      <a:pt x="23" y="165"/>
                      <a:pt x="23" y="165"/>
                      <a:pt x="23" y="165"/>
                    </a:cubicBezTo>
                    <a:close/>
                  </a:path>
                </a:pathLst>
              </a:custGeom>
              <a:solidFill>
                <a:srgbClr val="EEBB0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51" name="Freeform 35"/>
              <p:cNvSpPr>
                <a:spLocks/>
              </p:cNvSpPr>
              <p:nvPr/>
            </p:nvSpPr>
            <p:spPr bwMode="auto">
              <a:xfrm>
                <a:off x="336858" y="3516589"/>
                <a:ext cx="839177" cy="597046"/>
              </a:xfrm>
              <a:custGeom>
                <a:avLst/>
                <a:gdLst/>
                <a:ahLst/>
                <a:cxnLst>
                  <a:cxn ang="0">
                    <a:pos x="171" y="84"/>
                  </a:cxn>
                  <a:cxn ang="0">
                    <a:pos x="155" y="83"/>
                  </a:cxn>
                  <a:cxn ang="0">
                    <a:pos x="155" y="83"/>
                  </a:cxn>
                  <a:cxn ang="0">
                    <a:pos x="141" y="74"/>
                  </a:cxn>
                  <a:cxn ang="0">
                    <a:pos x="127" y="63"/>
                  </a:cxn>
                  <a:cxn ang="0">
                    <a:pos x="115" y="54"/>
                  </a:cxn>
                  <a:cxn ang="0">
                    <a:pos x="103" y="45"/>
                  </a:cxn>
                  <a:cxn ang="0">
                    <a:pos x="100" y="17"/>
                  </a:cxn>
                  <a:cxn ang="0">
                    <a:pos x="100" y="17"/>
                  </a:cxn>
                  <a:cxn ang="0">
                    <a:pos x="79" y="12"/>
                  </a:cxn>
                  <a:cxn ang="0">
                    <a:pos x="79" y="12"/>
                  </a:cxn>
                  <a:cxn ang="0">
                    <a:pos x="63" y="4"/>
                  </a:cxn>
                  <a:cxn ang="0">
                    <a:pos x="61" y="11"/>
                  </a:cxn>
                  <a:cxn ang="0">
                    <a:pos x="44" y="32"/>
                  </a:cxn>
                  <a:cxn ang="0">
                    <a:pos x="35" y="55"/>
                  </a:cxn>
                  <a:cxn ang="0">
                    <a:pos x="6" y="86"/>
                  </a:cxn>
                  <a:cxn ang="0">
                    <a:pos x="1" y="118"/>
                  </a:cxn>
                  <a:cxn ang="0">
                    <a:pos x="14" y="130"/>
                  </a:cxn>
                  <a:cxn ang="0">
                    <a:pos x="21" y="142"/>
                  </a:cxn>
                  <a:cxn ang="0">
                    <a:pos x="30" y="152"/>
                  </a:cxn>
                  <a:cxn ang="0">
                    <a:pos x="46" y="167"/>
                  </a:cxn>
                  <a:cxn ang="0">
                    <a:pos x="61" y="182"/>
                  </a:cxn>
                  <a:cxn ang="0">
                    <a:pos x="75" y="197"/>
                  </a:cxn>
                  <a:cxn ang="0">
                    <a:pos x="76" y="212"/>
                  </a:cxn>
                  <a:cxn ang="0">
                    <a:pos x="104" y="202"/>
                  </a:cxn>
                  <a:cxn ang="0">
                    <a:pos x="129" y="196"/>
                  </a:cxn>
                  <a:cxn ang="0">
                    <a:pos x="155" y="211"/>
                  </a:cxn>
                  <a:cxn ang="0">
                    <a:pos x="179" y="216"/>
                  </a:cxn>
                  <a:cxn ang="0">
                    <a:pos x="210" y="226"/>
                  </a:cxn>
                  <a:cxn ang="0">
                    <a:pos x="250" y="233"/>
                  </a:cxn>
                  <a:cxn ang="0">
                    <a:pos x="283" y="233"/>
                  </a:cxn>
                  <a:cxn ang="0">
                    <a:pos x="282" y="204"/>
                  </a:cxn>
                  <a:cxn ang="0">
                    <a:pos x="277" y="186"/>
                  </a:cxn>
                  <a:cxn ang="0">
                    <a:pos x="262" y="165"/>
                  </a:cxn>
                  <a:cxn ang="0">
                    <a:pos x="249" y="161"/>
                  </a:cxn>
                  <a:cxn ang="0">
                    <a:pos x="233" y="149"/>
                  </a:cxn>
                  <a:cxn ang="0">
                    <a:pos x="231" y="128"/>
                  </a:cxn>
                  <a:cxn ang="0">
                    <a:pos x="216" y="134"/>
                  </a:cxn>
                  <a:cxn ang="0">
                    <a:pos x="211" y="125"/>
                  </a:cxn>
                  <a:cxn ang="0">
                    <a:pos x="203" y="117"/>
                  </a:cxn>
                  <a:cxn ang="0">
                    <a:pos x="183" y="101"/>
                  </a:cxn>
                  <a:cxn ang="0">
                    <a:pos x="171" y="84"/>
                  </a:cxn>
                  <a:cxn ang="0">
                    <a:pos x="171" y="84"/>
                  </a:cxn>
                </a:cxnLst>
                <a:rect l="0" t="0" r="r" b="b"/>
                <a:pathLst>
                  <a:path w="295" h="238">
                    <a:moveTo>
                      <a:pt x="171" y="84"/>
                    </a:moveTo>
                    <a:cubicBezTo>
                      <a:pt x="155" y="83"/>
                      <a:pt x="155" y="83"/>
                      <a:pt x="155" y="83"/>
                    </a:cubicBezTo>
                    <a:cubicBezTo>
                      <a:pt x="155" y="83"/>
                      <a:pt x="155" y="83"/>
                      <a:pt x="155" y="83"/>
                    </a:cubicBezTo>
                    <a:cubicBezTo>
                      <a:pt x="155" y="83"/>
                      <a:pt x="152" y="74"/>
                      <a:pt x="141" y="74"/>
                    </a:cubicBezTo>
                    <a:cubicBezTo>
                      <a:pt x="141" y="74"/>
                      <a:pt x="129" y="76"/>
                      <a:pt x="127" y="63"/>
                    </a:cubicBezTo>
                    <a:cubicBezTo>
                      <a:pt x="127" y="63"/>
                      <a:pt x="127" y="47"/>
                      <a:pt x="115" y="54"/>
                    </a:cubicBezTo>
                    <a:cubicBezTo>
                      <a:pt x="115" y="54"/>
                      <a:pt x="105" y="53"/>
                      <a:pt x="103" y="45"/>
                    </a:cubicBezTo>
                    <a:cubicBezTo>
                      <a:pt x="103" y="45"/>
                      <a:pt x="97" y="42"/>
                      <a:pt x="100" y="17"/>
                    </a:cubicBezTo>
                    <a:cubicBezTo>
                      <a:pt x="100" y="17"/>
                      <a:pt x="100" y="17"/>
                      <a:pt x="100" y="17"/>
                    </a:cubicBezTo>
                    <a:cubicBezTo>
                      <a:pt x="79" y="12"/>
                      <a:pt x="79" y="12"/>
                      <a:pt x="79" y="12"/>
                    </a:cubicBezTo>
                    <a:cubicBezTo>
                      <a:pt x="79" y="12"/>
                      <a:pt x="79" y="12"/>
                      <a:pt x="79" y="12"/>
                    </a:cubicBezTo>
                    <a:cubicBezTo>
                      <a:pt x="71" y="0"/>
                      <a:pt x="66" y="1"/>
                      <a:pt x="63" y="4"/>
                    </a:cubicBezTo>
                    <a:cubicBezTo>
                      <a:pt x="61" y="6"/>
                      <a:pt x="61" y="11"/>
                      <a:pt x="61" y="11"/>
                    </a:cubicBezTo>
                    <a:cubicBezTo>
                      <a:pt x="46" y="19"/>
                      <a:pt x="44" y="32"/>
                      <a:pt x="44" y="32"/>
                    </a:cubicBezTo>
                    <a:cubicBezTo>
                      <a:pt x="35" y="39"/>
                      <a:pt x="35" y="55"/>
                      <a:pt x="35" y="55"/>
                    </a:cubicBezTo>
                    <a:cubicBezTo>
                      <a:pt x="35" y="55"/>
                      <a:pt x="28" y="75"/>
                      <a:pt x="6" y="86"/>
                    </a:cubicBezTo>
                    <a:cubicBezTo>
                      <a:pt x="0" y="98"/>
                      <a:pt x="1" y="118"/>
                      <a:pt x="1" y="118"/>
                    </a:cubicBezTo>
                    <a:cubicBezTo>
                      <a:pt x="16" y="113"/>
                      <a:pt x="14" y="130"/>
                      <a:pt x="14" y="130"/>
                    </a:cubicBezTo>
                    <a:cubicBezTo>
                      <a:pt x="24" y="131"/>
                      <a:pt x="21" y="142"/>
                      <a:pt x="21" y="142"/>
                    </a:cubicBezTo>
                    <a:cubicBezTo>
                      <a:pt x="20" y="154"/>
                      <a:pt x="30" y="152"/>
                      <a:pt x="30" y="152"/>
                    </a:cubicBezTo>
                    <a:cubicBezTo>
                      <a:pt x="45" y="149"/>
                      <a:pt x="35" y="164"/>
                      <a:pt x="46" y="167"/>
                    </a:cubicBezTo>
                    <a:cubicBezTo>
                      <a:pt x="46" y="189"/>
                      <a:pt x="61" y="182"/>
                      <a:pt x="61" y="182"/>
                    </a:cubicBezTo>
                    <a:cubicBezTo>
                      <a:pt x="76" y="175"/>
                      <a:pt x="83" y="195"/>
                      <a:pt x="75" y="197"/>
                    </a:cubicBezTo>
                    <a:cubicBezTo>
                      <a:pt x="72" y="209"/>
                      <a:pt x="76" y="212"/>
                      <a:pt x="76" y="212"/>
                    </a:cubicBezTo>
                    <a:cubicBezTo>
                      <a:pt x="87" y="212"/>
                      <a:pt x="84" y="196"/>
                      <a:pt x="104" y="202"/>
                    </a:cubicBezTo>
                    <a:cubicBezTo>
                      <a:pt x="113" y="175"/>
                      <a:pt x="129" y="196"/>
                      <a:pt x="129" y="196"/>
                    </a:cubicBezTo>
                    <a:cubicBezTo>
                      <a:pt x="139" y="214"/>
                      <a:pt x="155" y="211"/>
                      <a:pt x="155" y="211"/>
                    </a:cubicBezTo>
                    <a:cubicBezTo>
                      <a:pt x="164" y="205"/>
                      <a:pt x="179" y="216"/>
                      <a:pt x="179" y="216"/>
                    </a:cubicBezTo>
                    <a:cubicBezTo>
                      <a:pt x="189" y="215"/>
                      <a:pt x="195" y="230"/>
                      <a:pt x="210" y="226"/>
                    </a:cubicBezTo>
                    <a:cubicBezTo>
                      <a:pt x="220" y="224"/>
                      <a:pt x="230" y="238"/>
                      <a:pt x="250" y="233"/>
                    </a:cubicBezTo>
                    <a:cubicBezTo>
                      <a:pt x="266" y="229"/>
                      <a:pt x="277" y="230"/>
                      <a:pt x="283" y="233"/>
                    </a:cubicBezTo>
                    <a:cubicBezTo>
                      <a:pt x="295" y="212"/>
                      <a:pt x="282" y="204"/>
                      <a:pt x="282" y="204"/>
                    </a:cubicBezTo>
                    <a:cubicBezTo>
                      <a:pt x="273" y="200"/>
                      <a:pt x="284" y="190"/>
                      <a:pt x="277" y="186"/>
                    </a:cubicBezTo>
                    <a:cubicBezTo>
                      <a:pt x="271" y="167"/>
                      <a:pt x="262" y="165"/>
                      <a:pt x="262" y="165"/>
                    </a:cubicBezTo>
                    <a:cubicBezTo>
                      <a:pt x="255" y="149"/>
                      <a:pt x="249" y="161"/>
                      <a:pt x="249" y="161"/>
                    </a:cubicBezTo>
                    <a:cubicBezTo>
                      <a:pt x="224" y="164"/>
                      <a:pt x="233" y="149"/>
                      <a:pt x="233" y="149"/>
                    </a:cubicBezTo>
                    <a:cubicBezTo>
                      <a:pt x="238" y="120"/>
                      <a:pt x="231" y="128"/>
                      <a:pt x="231" y="128"/>
                    </a:cubicBezTo>
                    <a:cubicBezTo>
                      <a:pt x="220" y="127"/>
                      <a:pt x="216" y="134"/>
                      <a:pt x="216" y="134"/>
                    </a:cubicBezTo>
                    <a:cubicBezTo>
                      <a:pt x="203" y="136"/>
                      <a:pt x="211" y="125"/>
                      <a:pt x="211" y="125"/>
                    </a:cubicBezTo>
                    <a:cubicBezTo>
                      <a:pt x="210" y="118"/>
                      <a:pt x="203" y="117"/>
                      <a:pt x="203" y="117"/>
                    </a:cubicBezTo>
                    <a:cubicBezTo>
                      <a:pt x="194" y="115"/>
                      <a:pt x="200" y="100"/>
                      <a:pt x="183" y="101"/>
                    </a:cubicBezTo>
                    <a:cubicBezTo>
                      <a:pt x="184" y="92"/>
                      <a:pt x="171" y="84"/>
                      <a:pt x="171" y="84"/>
                    </a:cubicBezTo>
                    <a:cubicBezTo>
                      <a:pt x="171" y="84"/>
                      <a:pt x="171" y="84"/>
                      <a:pt x="171" y="84"/>
                    </a:cubicBezTo>
                    <a:close/>
                  </a:path>
                </a:pathLst>
              </a:custGeom>
              <a:solidFill>
                <a:srgbClr val="EEBB0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52" name="Freeform 128"/>
              <p:cNvSpPr>
                <a:spLocks/>
              </p:cNvSpPr>
              <p:nvPr/>
            </p:nvSpPr>
            <p:spPr bwMode="auto">
              <a:xfrm>
                <a:off x="3850912" y="4963972"/>
                <a:ext cx="1536741" cy="841292"/>
              </a:xfrm>
              <a:custGeom>
                <a:avLst/>
                <a:gdLst/>
                <a:ahLst/>
                <a:cxnLst>
                  <a:cxn ang="0">
                    <a:pos x="172" y="17"/>
                  </a:cxn>
                  <a:cxn ang="0">
                    <a:pos x="192" y="29"/>
                  </a:cxn>
                  <a:cxn ang="0">
                    <a:pos x="219" y="32"/>
                  </a:cxn>
                  <a:cxn ang="0">
                    <a:pos x="221" y="46"/>
                  </a:cxn>
                  <a:cxn ang="0">
                    <a:pos x="228" y="39"/>
                  </a:cxn>
                  <a:cxn ang="0">
                    <a:pos x="250" y="47"/>
                  </a:cxn>
                  <a:cxn ang="0">
                    <a:pos x="272" y="51"/>
                  </a:cxn>
                  <a:cxn ang="0">
                    <a:pos x="260" y="41"/>
                  </a:cxn>
                  <a:cxn ang="0">
                    <a:pos x="275" y="57"/>
                  </a:cxn>
                  <a:cxn ang="0">
                    <a:pos x="280" y="65"/>
                  </a:cxn>
                  <a:cxn ang="0">
                    <a:pos x="289" y="72"/>
                  </a:cxn>
                  <a:cxn ang="0">
                    <a:pos x="298" y="65"/>
                  </a:cxn>
                  <a:cxn ang="0">
                    <a:pos x="300" y="83"/>
                  </a:cxn>
                  <a:cxn ang="0">
                    <a:pos x="334" y="105"/>
                  </a:cxn>
                  <a:cxn ang="0">
                    <a:pos x="343" y="117"/>
                  </a:cxn>
                  <a:cxn ang="0">
                    <a:pos x="343" y="131"/>
                  </a:cxn>
                  <a:cxn ang="0">
                    <a:pos x="363" y="154"/>
                  </a:cxn>
                  <a:cxn ang="0">
                    <a:pos x="399" y="159"/>
                  </a:cxn>
                  <a:cxn ang="0">
                    <a:pos x="342" y="104"/>
                  </a:cxn>
                  <a:cxn ang="0">
                    <a:pos x="310" y="49"/>
                  </a:cxn>
                  <a:cxn ang="0">
                    <a:pos x="289" y="19"/>
                  </a:cxn>
                  <a:cxn ang="0">
                    <a:pos x="301" y="15"/>
                  </a:cxn>
                  <a:cxn ang="0">
                    <a:pos x="305" y="12"/>
                  </a:cxn>
                  <a:cxn ang="0">
                    <a:pos x="330" y="81"/>
                  </a:cxn>
                  <a:cxn ang="0">
                    <a:pos x="385" y="149"/>
                  </a:cxn>
                  <a:cxn ang="0">
                    <a:pos x="441" y="121"/>
                  </a:cxn>
                  <a:cxn ang="0">
                    <a:pos x="494" y="119"/>
                  </a:cxn>
                  <a:cxn ang="0">
                    <a:pos x="543" y="132"/>
                  </a:cxn>
                  <a:cxn ang="0">
                    <a:pos x="520" y="177"/>
                  </a:cxn>
                  <a:cxn ang="0">
                    <a:pos x="499" y="201"/>
                  </a:cxn>
                  <a:cxn ang="0">
                    <a:pos x="460" y="205"/>
                  </a:cxn>
                  <a:cxn ang="0">
                    <a:pos x="429" y="192"/>
                  </a:cxn>
                  <a:cxn ang="0">
                    <a:pos x="391" y="205"/>
                  </a:cxn>
                  <a:cxn ang="0">
                    <a:pos x="357" y="247"/>
                  </a:cxn>
                  <a:cxn ang="0">
                    <a:pos x="316" y="247"/>
                  </a:cxn>
                  <a:cxn ang="0">
                    <a:pos x="268" y="279"/>
                  </a:cxn>
                  <a:cxn ang="0">
                    <a:pos x="217" y="331"/>
                  </a:cxn>
                  <a:cxn ang="0">
                    <a:pos x="165" y="319"/>
                  </a:cxn>
                  <a:cxn ang="0">
                    <a:pos x="133" y="297"/>
                  </a:cxn>
                  <a:cxn ang="0">
                    <a:pos x="161" y="246"/>
                  </a:cxn>
                  <a:cxn ang="0">
                    <a:pos x="128" y="185"/>
                  </a:cxn>
                  <a:cxn ang="0">
                    <a:pos x="85" y="171"/>
                  </a:cxn>
                  <a:cxn ang="0">
                    <a:pos x="25" y="167"/>
                  </a:cxn>
                  <a:cxn ang="0">
                    <a:pos x="49" y="123"/>
                  </a:cxn>
                  <a:cxn ang="0">
                    <a:pos x="98" y="82"/>
                  </a:cxn>
                  <a:cxn ang="0">
                    <a:pos x="129" y="71"/>
                  </a:cxn>
                  <a:cxn ang="0">
                    <a:pos x="148" y="62"/>
                  </a:cxn>
                  <a:cxn ang="0">
                    <a:pos x="165" y="58"/>
                  </a:cxn>
                  <a:cxn ang="0">
                    <a:pos x="170" y="47"/>
                  </a:cxn>
                  <a:cxn ang="0">
                    <a:pos x="158" y="31"/>
                  </a:cxn>
                  <a:cxn ang="0">
                    <a:pos x="154" y="21"/>
                  </a:cxn>
                  <a:cxn ang="0">
                    <a:pos x="153" y="2"/>
                  </a:cxn>
                  <a:cxn ang="0">
                    <a:pos x="168" y="6"/>
                  </a:cxn>
                </a:cxnLst>
                <a:rect l="0" t="0" r="r" b="b"/>
                <a:pathLst>
                  <a:path w="543" h="337">
                    <a:moveTo>
                      <a:pt x="168" y="6"/>
                    </a:moveTo>
                    <a:cubicBezTo>
                      <a:pt x="168" y="13"/>
                      <a:pt x="172" y="17"/>
                      <a:pt x="172" y="17"/>
                    </a:cubicBezTo>
                    <a:cubicBezTo>
                      <a:pt x="177" y="10"/>
                      <a:pt x="185" y="22"/>
                      <a:pt x="185" y="22"/>
                    </a:cubicBezTo>
                    <a:cubicBezTo>
                      <a:pt x="185" y="35"/>
                      <a:pt x="192" y="29"/>
                      <a:pt x="192" y="29"/>
                    </a:cubicBezTo>
                    <a:cubicBezTo>
                      <a:pt x="192" y="18"/>
                      <a:pt x="200" y="21"/>
                      <a:pt x="200" y="21"/>
                    </a:cubicBezTo>
                    <a:cubicBezTo>
                      <a:pt x="213" y="17"/>
                      <a:pt x="219" y="32"/>
                      <a:pt x="219" y="32"/>
                    </a:cubicBezTo>
                    <a:cubicBezTo>
                      <a:pt x="219" y="32"/>
                      <a:pt x="219" y="32"/>
                      <a:pt x="219" y="32"/>
                    </a:cubicBezTo>
                    <a:cubicBezTo>
                      <a:pt x="221" y="46"/>
                      <a:pt x="221" y="46"/>
                      <a:pt x="221" y="46"/>
                    </a:cubicBezTo>
                    <a:cubicBezTo>
                      <a:pt x="221" y="46"/>
                      <a:pt x="221" y="46"/>
                      <a:pt x="221" y="46"/>
                    </a:cubicBezTo>
                    <a:cubicBezTo>
                      <a:pt x="224" y="36"/>
                      <a:pt x="228" y="39"/>
                      <a:pt x="228" y="39"/>
                    </a:cubicBezTo>
                    <a:cubicBezTo>
                      <a:pt x="228" y="33"/>
                      <a:pt x="237" y="35"/>
                      <a:pt x="237" y="35"/>
                    </a:cubicBezTo>
                    <a:cubicBezTo>
                      <a:pt x="246" y="33"/>
                      <a:pt x="250" y="47"/>
                      <a:pt x="250" y="47"/>
                    </a:cubicBezTo>
                    <a:cubicBezTo>
                      <a:pt x="249" y="60"/>
                      <a:pt x="261" y="61"/>
                      <a:pt x="261" y="61"/>
                    </a:cubicBezTo>
                    <a:cubicBezTo>
                      <a:pt x="267" y="61"/>
                      <a:pt x="272" y="51"/>
                      <a:pt x="272" y="51"/>
                    </a:cubicBezTo>
                    <a:cubicBezTo>
                      <a:pt x="272" y="45"/>
                      <a:pt x="264" y="44"/>
                      <a:pt x="264" y="44"/>
                    </a:cubicBezTo>
                    <a:cubicBezTo>
                      <a:pt x="262" y="43"/>
                      <a:pt x="261" y="43"/>
                      <a:pt x="260" y="41"/>
                    </a:cubicBezTo>
                    <a:cubicBezTo>
                      <a:pt x="266" y="31"/>
                      <a:pt x="279" y="41"/>
                      <a:pt x="279" y="41"/>
                    </a:cubicBezTo>
                    <a:cubicBezTo>
                      <a:pt x="280" y="54"/>
                      <a:pt x="275" y="57"/>
                      <a:pt x="275" y="57"/>
                    </a:cubicBezTo>
                    <a:cubicBezTo>
                      <a:pt x="266" y="68"/>
                      <a:pt x="268" y="76"/>
                      <a:pt x="268" y="76"/>
                    </a:cubicBezTo>
                    <a:cubicBezTo>
                      <a:pt x="275" y="78"/>
                      <a:pt x="280" y="65"/>
                      <a:pt x="280" y="65"/>
                    </a:cubicBezTo>
                    <a:cubicBezTo>
                      <a:pt x="286" y="53"/>
                      <a:pt x="294" y="51"/>
                      <a:pt x="294" y="51"/>
                    </a:cubicBezTo>
                    <a:cubicBezTo>
                      <a:pt x="290" y="63"/>
                      <a:pt x="289" y="72"/>
                      <a:pt x="289" y="72"/>
                    </a:cubicBezTo>
                    <a:cubicBezTo>
                      <a:pt x="289" y="72"/>
                      <a:pt x="289" y="72"/>
                      <a:pt x="289" y="72"/>
                    </a:cubicBezTo>
                    <a:cubicBezTo>
                      <a:pt x="298" y="65"/>
                      <a:pt x="298" y="65"/>
                      <a:pt x="298" y="65"/>
                    </a:cubicBezTo>
                    <a:cubicBezTo>
                      <a:pt x="298" y="65"/>
                      <a:pt x="298" y="65"/>
                      <a:pt x="298" y="65"/>
                    </a:cubicBezTo>
                    <a:cubicBezTo>
                      <a:pt x="302" y="70"/>
                      <a:pt x="300" y="83"/>
                      <a:pt x="300" y="83"/>
                    </a:cubicBezTo>
                    <a:cubicBezTo>
                      <a:pt x="315" y="83"/>
                      <a:pt x="319" y="92"/>
                      <a:pt x="319" y="92"/>
                    </a:cubicBezTo>
                    <a:cubicBezTo>
                      <a:pt x="330" y="93"/>
                      <a:pt x="334" y="105"/>
                      <a:pt x="334" y="105"/>
                    </a:cubicBezTo>
                    <a:cubicBezTo>
                      <a:pt x="343" y="110"/>
                      <a:pt x="343" y="117"/>
                      <a:pt x="343" y="117"/>
                    </a:cubicBezTo>
                    <a:cubicBezTo>
                      <a:pt x="343" y="117"/>
                      <a:pt x="343" y="117"/>
                      <a:pt x="343" y="117"/>
                    </a:cubicBezTo>
                    <a:cubicBezTo>
                      <a:pt x="343" y="131"/>
                      <a:pt x="343" y="131"/>
                      <a:pt x="343" y="131"/>
                    </a:cubicBezTo>
                    <a:cubicBezTo>
                      <a:pt x="343" y="131"/>
                      <a:pt x="343" y="131"/>
                      <a:pt x="343" y="131"/>
                    </a:cubicBezTo>
                    <a:cubicBezTo>
                      <a:pt x="338" y="141"/>
                      <a:pt x="346" y="147"/>
                      <a:pt x="346" y="147"/>
                    </a:cubicBezTo>
                    <a:cubicBezTo>
                      <a:pt x="356" y="148"/>
                      <a:pt x="363" y="154"/>
                      <a:pt x="363" y="154"/>
                    </a:cubicBezTo>
                    <a:cubicBezTo>
                      <a:pt x="378" y="157"/>
                      <a:pt x="390" y="166"/>
                      <a:pt x="390" y="166"/>
                    </a:cubicBezTo>
                    <a:cubicBezTo>
                      <a:pt x="392" y="161"/>
                      <a:pt x="399" y="159"/>
                      <a:pt x="399" y="159"/>
                    </a:cubicBezTo>
                    <a:cubicBezTo>
                      <a:pt x="385" y="160"/>
                      <a:pt x="374" y="144"/>
                      <a:pt x="374" y="144"/>
                    </a:cubicBezTo>
                    <a:cubicBezTo>
                      <a:pt x="360" y="127"/>
                      <a:pt x="342" y="104"/>
                      <a:pt x="342" y="104"/>
                    </a:cubicBezTo>
                    <a:cubicBezTo>
                      <a:pt x="327" y="84"/>
                      <a:pt x="319" y="65"/>
                      <a:pt x="319" y="65"/>
                    </a:cubicBezTo>
                    <a:cubicBezTo>
                      <a:pt x="305" y="75"/>
                      <a:pt x="310" y="49"/>
                      <a:pt x="310" y="49"/>
                    </a:cubicBezTo>
                    <a:cubicBezTo>
                      <a:pt x="302" y="46"/>
                      <a:pt x="307" y="32"/>
                      <a:pt x="307" y="32"/>
                    </a:cubicBezTo>
                    <a:cubicBezTo>
                      <a:pt x="295" y="32"/>
                      <a:pt x="289" y="19"/>
                      <a:pt x="289" y="19"/>
                    </a:cubicBezTo>
                    <a:cubicBezTo>
                      <a:pt x="287" y="13"/>
                      <a:pt x="301" y="15"/>
                      <a:pt x="301" y="15"/>
                    </a:cubicBezTo>
                    <a:cubicBezTo>
                      <a:pt x="301" y="15"/>
                      <a:pt x="301" y="15"/>
                      <a:pt x="301" y="15"/>
                    </a:cubicBezTo>
                    <a:cubicBezTo>
                      <a:pt x="305" y="12"/>
                      <a:pt x="305" y="12"/>
                      <a:pt x="305" y="12"/>
                    </a:cubicBezTo>
                    <a:cubicBezTo>
                      <a:pt x="305" y="12"/>
                      <a:pt x="305" y="12"/>
                      <a:pt x="305" y="12"/>
                    </a:cubicBezTo>
                    <a:cubicBezTo>
                      <a:pt x="305" y="26"/>
                      <a:pt x="312" y="35"/>
                      <a:pt x="312" y="35"/>
                    </a:cubicBezTo>
                    <a:cubicBezTo>
                      <a:pt x="313" y="50"/>
                      <a:pt x="330" y="81"/>
                      <a:pt x="330" y="81"/>
                    </a:cubicBezTo>
                    <a:cubicBezTo>
                      <a:pt x="335" y="87"/>
                      <a:pt x="355" y="115"/>
                      <a:pt x="355" y="115"/>
                    </a:cubicBezTo>
                    <a:cubicBezTo>
                      <a:pt x="369" y="134"/>
                      <a:pt x="385" y="149"/>
                      <a:pt x="385" y="149"/>
                    </a:cubicBezTo>
                    <a:cubicBezTo>
                      <a:pt x="393" y="161"/>
                      <a:pt x="423" y="147"/>
                      <a:pt x="423" y="147"/>
                    </a:cubicBezTo>
                    <a:cubicBezTo>
                      <a:pt x="430" y="144"/>
                      <a:pt x="441" y="121"/>
                      <a:pt x="441" y="121"/>
                    </a:cubicBezTo>
                    <a:cubicBezTo>
                      <a:pt x="455" y="146"/>
                      <a:pt x="470" y="132"/>
                      <a:pt x="470" y="132"/>
                    </a:cubicBezTo>
                    <a:cubicBezTo>
                      <a:pt x="474" y="116"/>
                      <a:pt x="494" y="119"/>
                      <a:pt x="494" y="119"/>
                    </a:cubicBezTo>
                    <a:cubicBezTo>
                      <a:pt x="512" y="115"/>
                      <a:pt x="527" y="120"/>
                      <a:pt x="527" y="120"/>
                    </a:cubicBezTo>
                    <a:cubicBezTo>
                      <a:pt x="541" y="122"/>
                      <a:pt x="543" y="132"/>
                      <a:pt x="543" y="132"/>
                    </a:cubicBezTo>
                    <a:cubicBezTo>
                      <a:pt x="540" y="144"/>
                      <a:pt x="521" y="153"/>
                      <a:pt x="521" y="153"/>
                    </a:cubicBezTo>
                    <a:cubicBezTo>
                      <a:pt x="517" y="159"/>
                      <a:pt x="520" y="177"/>
                      <a:pt x="520" y="177"/>
                    </a:cubicBezTo>
                    <a:cubicBezTo>
                      <a:pt x="536" y="190"/>
                      <a:pt x="513" y="193"/>
                      <a:pt x="513" y="193"/>
                    </a:cubicBezTo>
                    <a:cubicBezTo>
                      <a:pt x="501" y="191"/>
                      <a:pt x="499" y="201"/>
                      <a:pt x="499" y="201"/>
                    </a:cubicBezTo>
                    <a:cubicBezTo>
                      <a:pt x="492" y="204"/>
                      <a:pt x="472" y="197"/>
                      <a:pt x="472" y="197"/>
                    </a:cubicBezTo>
                    <a:cubicBezTo>
                      <a:pt x="469" y="207"/>
                      <a:pt x="460" y="205"/>
                      <a:pt x="460" y="205"/>
                    </a:cubicBezTo>
                    <a:cubicBezTo>
                      <a:pt x="451" y="215"/>
                      <a:pt x="441" y="200"/>
                      <a:pt x="441" y="200"/>
                    </a:cubicBezTo>
                    <a:cubicBezTo>
                      <a:pt x="438" y="193"/>
                      <a:pt x="429" y="192"/>
                      <a:pt x="429" y="192"/>
                    </a:cubicBezTo>
                    <a:cubicBezTo>
                      <a:pt x="420" y="179"/>
                      <a:pt x="399" y="189"/>
                      <a:pt x="399" y="189"/>
                    </a:cubicBezTo>
                    <a:cubicBezTo>
                      <a:pt x="391" y="199"/>
                      <a:pt x="391" y="205"/>
                      <a:pt x="391" y="205"/>
                    </a:cubicBezTo>
                    <a:cubicBezTo>
                      <a:pt x="385" y="216"/>
                      <a:pt x="373" y="222"/>
                      <a:pt x="373" y="222"/>
                    </a:cubicBezTo>
                    <a:cubicBezTo>
                      <a:pt x="356" y="226"/>
                      <a:pt x="357" y="247"/>
                      <a:pt x="357" y="247"/>
                    </a:cubicBezTo>
                    <a:cubicBezTo>
                      <a:pt x="351" y="257"/>
                      <a:pt x="338" y="240"/>
                      <a:pt x="338" y="240"/>
                    </a:cubicBezTo>
                    <a:cubicBezTo>
                      <a:pt x="327" y="250"/>
                      <a:pt x="316" y="247"/>
                      <a:pt x="316" y="247"/>
                    </a:cubicBezTo>
                    <a:cubicBezTo>
                      <a:pt x="302" y="247"/>
                      <a:pt x="296" y="259"/>
                      <a:pt x="296" y="259"/>
                    </a:cubicBezTo>
                    <a:cubicBezTo>
                      <a:pt x="286" y="255"/>
                      <a:pt x="268" y="279"/>
                      <a:pt x="268" y="279"/>
                    </a:cubicBezTo>
                    <a:cubicBezTo>
                      <a:pt x="258" y="285"/>
                      <a:pt x="267" y="303"/>
                      <a:pt x="249" y="302"/>
                    </a:cubicBezTo>
                    <a:cubicBezTo>
                      <a:pt x="240" y="315"/>
                      <a:pt x="229" y="327"/>
                      <a:pt x="217" y="331"/>
                    </a:cubicBezTo>
                    <a:cubicBezTo>
                      <a:pt x="195" y="337"/>
                      <a:pt x="176" y="331"/>
                      <a:pt x="176" y="331"/>
                    </a:cubicBezTo>
                    <a:cubicBezTo>
                      <a:pt x="171" y="324"/>
                      <a:pt x="165" y="319"/>
                      <a:pt x="165" y="319"/>
                    </a:cubicBezTo>
                    <a:cubicBezTo>
                      <a:pt x="163" y="310"/>
                      <a:pt x="148" y="314"/>
                      <a:pt x="148" y="314"/>
                    </a:cubicBezTo>
                    <a:cubicBezTo>
                      <a:pt x="138" y="311"/>
                      <a:pt x="133" y="297"/>
                      <a:pt x="133" y="297"/>
                    </a:cubicBezTo>
                    <a:cubicBezTo>
                      <a:pt x="134" y="291"/>
                      <a:pt x="143" y="296"/>
                      <a:pt x="154" y="285"/>
                    </a:cubicBezTo>
                    <a:cubicBezTo>
                      <a:pt x="154" y="274"/>
                      <a:pt x="140" y="267"/>
                      <a:pt x="161" y="246"/>
                    </a:cubicBezTo>
                    <a:cubicBezTo>
                      <a:pt x="165" y="226"/>
                      <a:pt x="153" y="205"/>
                      <a:pt x="153" y="205"/>
                    </a:cubicBezTo>
                    <a:cubicBezTo>
                      <a:pt x="144" y="190"/>
                      <a:pt x="128" y="185"/>
                      <a:pt x="128" y="185"/>
                    </a:cubicBezTo>
                    <a:cubicBezTo>
                      <a:pt x="110" y="202"/>
                      <a:pt x="103" y="189"/>
                      <a:pt x="103" y="189"/>
                    </a:cubicBezTo>
                    <a:cubicBezTo>
                      <a:pt x="101" y="183"/>
                      <a:pt x="85" y="171"/>
                      <a:pt x="85" y="171"/>
                    </a:cubicBezTo>
                    <a:cubicBezTo>
                      <a:pt x="63" y="154"/>
                      <a:pt x="52" y="160"/>
                      <a:pt x="52" y="160"/>
                    </a:cubicBezTo>
                    <a:cubicBezTo>
                      <a:pt x="44" y="158"/>
                      <a:pt x="36" y="173"/>
                      <a:pt x="25" y="167"/>
                    </a:cubicBezTo>
                    <a:cubicBezTo>
                      <a:pt x="0" y="153"/>
                      <a:pt x="25" y="138"/>
                      <a:pt x="25" y="138"/>
                    </a:cubicBezTo>
                    <a:cubicBezTo>
                      <a:pt x="27" y="131"/>
                      <a:pt x="49" y="123"/>
                      <a:pt x="49" y="123"/>
                    </a:cubicBezTo>
                    <a:cubicBezTo>
                      <a:pt x="55" y="110"/>
                      <a:pt x="76" y="101"/>
                      <a:pt x="76" y="101"/>
                    </a:cubicBezTo>
                    <a:cubicBezTo>
                      <a:pt x="84" y="89"/>
                      <a:pt x="98" y="82"/>
                      <a:pt x="98" y="82"/>
                    </a:cubicBezTo>
                    <a:cubicBezTo>
                      <a:pt x="118" y="83"/>
                      <a:pt x="129" y="71"/>
                      <a:pt x="129" y="71"/>
                    </a:cubicBezTo>
                    <a:cubicBezTo>
                      <a:pt x="129" y="71"/>
                      <a:pt x="129" y="71"/>
                      <a:pt x="129" y="71"/>
                    </a:cubicBezTo>
                    <a:cubicBezTo>
                      <a:pt x="148" y="62"/>
                      <a:pt x="148" y="62"/>
                      <a:pt x="148" y="62"/>
                    </a:cubicBezTo>
                    <a:cubicBezTo>
                      <a:pt x="148" y="62"/>
                      <a:pt x="148" y="62"/>
                      <a:pt x="148" y="62"/>
                    </a:cubicBezTo>
                    <a:cubicBezTo>
                      <a:pt x="169" y="68"/>
                      <a:pt x="165" y="58"/>
                      <a:pt x="165" y="58"/>
                    </a:cubicBezTo>
                    <a:cubicBezTo>
                      <a:pt x="165" y="58"/>
                      <a:pt x="165" y="58"/>
                      <a:pt x="165" y="58"/>
                    </a:cubicBezTo>
                    <a:cubicBezTo>
                      <a:pt x="170" y="47"/>
                      <a:pt x="170" y="47"/>
                      <a:pt x="170" y="47"/>
                    </a:cubicBezTo>
                    <a:cubicBezTo>
                      <a:pt x="170" y="47"/>
                      <a:pt x="170" y="47"/>
                      <a:pt x="170" y="47"/>
                    </a:cubicBezTo>
                    <a:cubicBezTo>
                      <a:pt x="148" y="61"/>
                      <a:pt x="158" y="31"/>
                      <a:pt x="158" y="31"/>
                    </a:cubicBezTo>
                    <a:cubicBezTo>
                      <a:pt x="158" y="31"/>
                      <a:pt x="158" y="31"/>
                      <a:pt x="158" y="31"/>
                    </a:cubicBezTo>
                    <a:cubicBezTo>
                      <a:pt x="154" y="21"/>
                      <a:pt x="154" y="21"/>
                      <a:pt x="154" y="21"/>
                    </a:cubicBezTo>
                    <a:cubicBezTo>
                      <a:pt x="154" y="21"/>
                      <a:pt x="154" y="21"/>
                      <a:pt x="154" y="21"/>
                    </a:cubicBezTo>
                    <a:cubicBezTo>
                      <a:pt x="154" y="17"/>
                      <a:pt x="151" y="15"/>
                      <a:pt x="151" y="14"/>
                    </a:cubicBezTo>
                    <a:cubicBezTo>
                      <a:pt x="155" y="10"/>
                      <a:pt x="153" y="2"/>
                      <a:pt x="153" y="2"/>
                    </a:cubicBezTo>
                    <a:cubicBezTo>
                      <a:pt x="161" y="0"/>
                      <a:pt x="168" y="6"/>
                      <a:pt x="168" y="6"/>
                    </a:cubicBezTo>
                    <a:cubicBezTo>
                      <a:pt x="168" y="6"/>
                      <a:pt x="168" y="6"/>
                      <a:pt x="168" y="6"/>
                    </a:cubicBezTo>
                    <a:close/>
                  </a:path>
                </a:pathLst>
              </a:custGeom>
              <a:solidFill>
                <a:sysClr val="window" lastClr="FFFFFF">
                  <a:lumMod val="65000"/>
                </a:sys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53" name="Line 33"/>
              <p:cNvSpPr>
                <a:spLocks noChangeShapeType="1"/>
              </p:cNvSpPr>
              <p:nvPr/>
            </p:nvSpPr>
            <p:spPr bwMode="auto">
              <a:xfrm flipV="1">
                <a:off x="3200550" y="2688868"/>
                <a:ext cx="0" cy="27138"/>
              </a:xfrm>
              <a:prstGeom prst="line">
                <a:avLst/>
              </a:prstGeom>
              <a:no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54" name="Freeform 32"/>
              <p:cNvSpPr>
                <a:spLocks/>
              </p:cNvSpPr>
              <p:nvPr/>
            </p:nvSpPr>
            <p:spPr bwMode="auto">
              <a:xfrm>
                <a:off x="3840422" y="4701634"/>
                <a:ext cx="325181" cy="122124"/>
              </a:xfrm>
              <a:custGeom>
                <a:avLst/>
                <a:gdLst/>
                <a:ahLst/>
                <a:cxnLst>
                  <a:cxn ang="0">
                    <a:pos x="0" y="48"/>
                  </a:cxn>
                  <a:cxn ang="0">
                    <a:pos x="18" y="37"/>
                  </a:cxn>
                  <a:cxn ang="0">
                    <a:pos x="44" y="24"/>
                  </a:cxn>
                  <a:cxn ang="0">
                    <a:pos x="62" y="16"/>
                  </a:cxn>
                  <a:cxn ang="0">
                    <a:pos x="84" y="8"/>
                  </a:cxn>
                  <a:cxn ang="0">
                    <a:pos x="115" y="5"/>
                  </a:cxn>
                </a:cxnLst>
                <a:rect l="0" t="0" r="r" b="b"/>
                <a:pathLst>
                  <a:path w="115" h="48">
                    <a:moveTo>
                      <a:pt x="0" y="48"/>
                    </a:moveTo>
                    <a:cubicBezTo>
                      <a:pt x="8" y="39"/>
                      <a:pt x="18" y="37"/>
                      <a:pt x="18" y="37"/>
                    </a:cubicBezTo>
                    <a:cubicBezTo>
                      <a:pt x="31" y="24"/>
                      <a:pt x="44" y="24"/>
                      <a:pt x="44" y="24"/>
                    </a:cubicBezTo>
                    <a:cubicBezTo>
                      <a:pt x="51" y="26"/>
                      <a:pt x="62" y="16"/>
                      <a:pt x="62" y="16"/>
                    </a:cubicBezTo>
                    <a:cubicBezTo>
                      <a:pt x="69" y="5"/>
                      <a:pt x="84" y="8"/>
                      <a:pt x="84" y="8"/>
                    </a:cubicBezTo>
                    <a:cubicBezTo>
                      <a:pt x="98" y="0"/>
                      <a:pt x="100" y="14"/>
                      <a:pt x="115" y="5"/>
                    </a:cubicBezTo>
                  </a:path>
                </a:pathLst>
              </a:custGeom>
              <a:solidFill>
                <a:sysClr val="window" lastClr="FFFFFF">
                  <a:lumMod val="65000"/>
                </a:sysClr>
              </a:solidFill>
              <a:ln w="6350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800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55" name="Freeform 31"/>
              <p:cNvSpPr>
                <a:spLocks/>
              </p:cNvSpPr>
              <p:nvPr/>
            </p:nvSpPr>
            <p:spPr bwMode="auto">
              <a:xfrm>
                <a:off x="4726801" y="3910098"/>
                <a:ext cx="62938" cy="298523"/>
              </a:xfrm>
              <a:custGeom>
                <a:avLst/>
                <a:gdLst/>
                <a:ahLst/>
                <a:cxnLst>
                  <a:cxn ang="0">
                    <a:pos x="13" y="120"/>
                  </a:cxn>
                  <a:cxn ang="0">
                    <a:pos x="13" y="105"/>
                  </a:cxn>
                  <a:cxn ang="0">
                    <a:pos x="6" y="79"/>
                  </a:cxn>
                  <a:cxn ang="0">
                    <a:pos x="12" y="67"/>
                  </a:cxn>
                  <a:cxn ang="0">
                    <a:pos x="20" y="52"/>
                  </a:cxn>
                  <a:cxn ang="0">
                    <a:pos x="12" y="32"/>
                  </a:cxn>
                  <a:cxn ang="0">
                    <a:pos x="6" y="15"/>
                  </a:cxn>
                  <a:cxn ang="0">
                    <a:pos x="10" y="0"/>
                  </a:cxn>
                </a:cxnLst>
                <a:rect l="0" t="0" r="r" b="b"/>
                <a:pathLst>
                  <a:path w="21" h="120">
                    <a:moveTo>
                      <a:pt x="13" y="120"/>
                    </a:moveTo>
                    <a:cubicBezTo>
                      <a:pt x="8" y="118"/>
                      <a:pt x="13" y="105"/>
                      <a:pt x="13" y="105"/>
                    </a:cubicBezTo>
                    <a:cubicBezTo>
                      <a:pt x="21" y="85"/>
                      <a:pt x="6" y="79"/>
                      <a:pt x="6" y="79"/>
                    </a:cubicBezTo>
                    <a:cubicBezTo>
                      <a:pt x="1" y="71"/>
                      <a:pt x="7" y="65"/>
                      <a:pt x="12" y="67"/>
                    </a:cubicBezTo>
                    <a:cubicBezTo>
                      <a:pt x="20" y="72"/>
                      <a:pt x="20" y="52"/>
                      <a:pt x="20" y="52"/>
                    </a:cubicBezTo>
                    <a:cubicBezTo>
                      <a:pt x="19" y="40"/>
                      <a:pt x="12" y="32"/>
                      <a:pt x="12" y="32"/>
                    </a:cubicBezTo>
                    <a:cubicBezTo>
                      <a:pt x="12" y="23"/>
                      <a:pt x="6" y="15"/>
                      <a:pt x="6" y="15"/>
                    </a:cubicBezTo>
                    <a:cubicBezTo>
                      <a:pt x="0" y="4"/>
                      <a:pt x="10" y="0"/>
                      <a:pt x="10" y="0"/>
                    </a:cubicBezTo>
                  </a:path>
                </a:pathLst>
              </a:custGeom>
              <a:solidFill>
                <a:srgbClr val="4F81BD"/>
              </a:solidFill>
              <a:ln w="6350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800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56" name="Freeform 30"/>
              <p:cNvSpPr>
                <a:spLocks/>
              </p:cNvSpPr>
              <p:nvPr/>
            </p:nvSpPr>
            <p:spPr bwMode="auto">
              <a:xfrm>
                <a:off x="4616661" y="3914619"/>
                <a:ext cx="120630" cy="1357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" y="0"/>
                  </a:cxn>
                  <a:cxn ang="0">
                    <a:pos x="42" y="6"/>
                  </a:cxn>
                </a:cxnLst>
                <a:rect l="0" t="0" r="r" b="b"/>
                <a:pathLst>
                  <a:path w="42" h="6">
                    <a:moveTo>
                      <a:pt x="0" y="0"/>
                    </a:moveTo>
                    <a:cubicBezTo>
                      <a:pt x="12" y="4"/>
                      <a:pt x="21" y="0"/>
                      <a:pt x="21" y="0"/>
                    </a:cubicBezTo>
                    <a:cubicBezTo>
                      <a:pt x="34" y="1"/>
                      <a:pt x="42" y="6"/>
                      <a:pt x="42" y="6"/>
                    </a:cubicBezTo>
                  </a:path>
                </a:pathLst>
              </a:custGeom>
              <a:solidFill>
                <a:srgbClr val="99CCFF"/>
              </a:solidFill>
              <a:ln w="8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57" name="Freeform 29"/>
              <p:cNvSpPr>
                <a:spLocks/>
              </p:cNvSpPr>
              <p:nvPr/>
            </p:nvSpPr>
            <p:spPr bwMode="auto">
              <a:xfrm>
                <a:off x="4134134" y="3674898"/>
                <a:ext cx="41959" cy="18092"/>
              </a:xfrm>
              <a:custGeom>
                <a:avLst/>
                <a:gdLst/>
                <a:ahLst/>
                <a:cxnLst>
                  <a:cxn ang="0">
                    <a:pos x="15" y="6"/>
                  </a:cxn>
                  <a:cxn ang="0">
                    <a:pos x="0" y="0"/>
                  </a:cxn>
                </a:cxnLst>
                <a:rect l="0" t="0" r="r" b="b"/>
                <a:pathLst>
                  <a:path w="15" h="6">
                    <a:moveTo>
                      <a:pt x="15" y="6"/>
                    </a:moveTo>
                    <a:cubicBezTo>
                      <a:pt x="14" y="0"/>
                      <a:pt x="0" y="0"/>
                      <a:pt x="0" y="0"/>
                    </a:cubicBezTo>
                  </a:path>
                </a:pathLst>
              </a:custGeom>
              <a:solidFill>
                <a:srgbClr val="99CCFF"/>
              </a:solidFill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58" name="Line 28"/>
              <p:cNvSpPr>
                <a:spLocks noChangeShapeType="1"/>
              </p:cNvSpPr>
              <p:nvPr/>
            </p:nvSpPr>
            <p:spPr bwMode="auto">
              <a:xfrm flipH="1" flipV="1">
                <a:off x="3614892" y="3453266"/>
                <a:ext cx="20979" cy="13571"/>
              </a:xfrm>
              <a:prstGeom prst="line">
                <a:avLst/>
              </a:prstGeom>
              <a:no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59" name="Freeform 27"/>
              <p:cNvSpPr>
                <a:spLocks/>
              </p:cNvSpPr>
              <p:nvPr/>
            </p:nvSpPr>
            <p:spPr bwMode="auto">
              <a:xfrm>
                <a:off x="3494261" y="3367329"/>
                <a:ext cx="68181" cy="54277"/>
              </a:xfrm>
              <a:custGeom>
                <a:avLst/>
                <a:gdLst/>
                <a:ahLst/>
                <a:cxnLst>
                  <a:cxn ang="0">
                    <a:pos x="23" y="22"/>
                  </a:cxn>
                  <a:cxn ang="0">
                    <a:pos x="15" y="13"/>
                  </a:cxn>
                  <a:cxn ang="0">
                    <a:pos x="2" y="0"/>
                  </a:cxn>
                </a:cxnLst>
                <a:rect l="0" t="0" r="r" b="b"/>
                <a:pathLst>
                  <a:path w="23" h="22">
                    <a:moveTo>
                      <a:pt x="23" y="22"/>
                    </a:moveTo>
                    <a:cubicBezTo>
                      <a:pt x="16" y="22"/>
                      <a:pt x="22" y="14"/>
                      <a:pt x="15" y="13"/>
                    </a:cubicBezTo>
                    <a:cubicBezTo>
                      <a:pt x="0" y="6"/>
                      <a:pt x="2" y="0"/>
                      <a:pt x="2" y="0"/>
                    </a:cubicBezTo>
                  </a:path>
                </a:pathLst>
              </a:custGeom>
              <a:solidFill>
                <a:srgbClr val="99CCFF"/>
              </a:solidFill>
              <a:ln w="8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60" name="Freeform 26"/>
              <p:cNvSpPr>
                <a:spLocks/>
              </p:cNvSpPr>
              <p:nvPr/>
            </p:nvSpPr>
            <p:spPr bwMode="auto">
              <a:xfrm>
                <a:off x="3473282" y="3249729"/>
                <a:ext cx="41959" cy="18092"/>
              </a:xfrm>
              <a:custGeom>
                <a:avLst/>
                <a:gdLst/>
                <a:ahLst/>
                <a:cxnLst>
                  <a:cxn ang="0">
                    <a:pos x="13" y="8"/>
                  </a:cxn>
                  <a:cxn ang="0">
                    <a:pos x="0" y="4"/>
                  </a:cxn>
                </a:cxnLst>
                <a:rect l="0" t="0" r="r" b="b"/>
                <a:pathLst>
                  <a:path w="14" h="8">
                    <a:moveTo>
                      <a:pt x="13" y="8"/>
                    </a:moveTo>
                    <a:cubicBezTo>
                      <a:pt x="14" y="0"/>
                      <a:pt x="0" y="4"/>
                      <a:pt x="0" y="4"/>
                    </a:cubicBezTo>
                  </a:path>
                </a:pathLst>
              </a:custGeom>
              <a:solidFill>
                <a:srgbClr val="99CCFF"/>
              </a:solidFill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61" name="Freeform 25"/>
              <p:cNvSpPr>
                <a:spLocks/>
              </p:cNvSpPr>
              <p:nvPr/>
            </p:nvSpPr>
            <p:spPr bwMode="auto">
              <a:xfrm>
                <a:off x="3190060" y="2987391"/>
                <a:ext cx="57692" cy="162831"/>
              </a:xfrm>
              <a:custGeom>
                <a:avLst/>
                <a:gdLst/>
                <a:ahLst/>
                <a:cxnLst>
                  <a:cxn ang="0">
                    <a:pos x="20" y="64"/>
                  </a:cxn>
                  <a:cxn ang="0">
                    <a:pos x="8" y="42"/>
                  </a:cxn>
                  <a:cxn ang="0">
                    <a:pos x="1" y="21"/>
                  </a:cxn>
                  <a:cxn ang="0">
                    <a:pos x="0" y="0"/>
                  </a:cxn>
                </a:cxnLst>
                <a:rect l="0" t="0" r="r" b="b"/>
                <a:pathLst>
                  <a:path w="20" h="64">
                    <a:moveTo>
                      <a:pt x="20" y="64"/>
                    </a:moveTo>
                    <a:cubicBezTo>
                      <a:pt x="10" y="54"/>
                      <a:pt x="8" y="42"/>
                      <a:pt x="8" y="42"/>
                    </a:cubicBezTo>
                    <a:cubicBezTo>
                      <a:pt x="0" y="30"/>
                      <a:pt x="1" y="21"/>
                      <a:pt x="1" y="21"/>
                    </a:cubicBezTo>
                    <a:cubicBezTo>
                      <a:pt x="3" y="9"/>
                      <a:pt x="0" y="0"/>
                      <a:pt x="0" y="0"/>
                    </a:cubicBezTo>
                  </a:path>
                </a:pathLst>
              </a:custGeom>
              <a:solidFill>
                <a:sysClr val="window" lastClr="FFFFFF">
                  <a:lumMod val="65000"/>
                </a:sysClr>
              </a:solidFill>
              <a:ln w="6350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800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62" name="Freeform 24"/>
              <p:cNvSpPr>
                <a:spLocks/>
              </p:cNvSpPr>
              <p:nvPr/>
            </p:nvSpPr>
            <p:spPr bwMode="auto">
              <a:xfrm>
                <a:off x="4139377" y="4204096"/>
                <a:ext cx="713301" cy="520155"/>
              </a:xfrm>
              <a:custGeom>
                <a:avLst/>
                <a:gdLst/>
                <a:ahLst/>
                <a:cxnLst>
                  <a:cxn ang="0">
                    <a:pos x="0" y="207"/>
                  </a:cxn>
                  <a:cxn ang="0">
                    <a:pos x="25" y="196"/>
                  </a:cxn>
                  <a:cxn ang="0">
                    <a:pos x="51" y="181"/>
                  </a:cxn>
                  <a:cxn ang="0">
                    <a:pos x="55" y="162"/>
                  </a:cxn>
                  <a:cxn ang="0">
                    <a:pos x="71" y="141"/>
                  </a:cxn>
                  <a:cxn ang="0">
                    <a:pos x="89" y="106"/>
                  </a:cxn>
                  <a:cxn ang="0">
                    <a:pos x="107" y="97"/>
                  </a:cxn>
                  <a:cxn ang="0">
                    <a:pos x="93" y="87"/>
                  </a:cxn>
                  <a:cxn ang="0">
                    <a:pos x="111" y="82"/>
                  </a:cxn>
                  <a:cxn ang="0">
                    <a:pos x="134" y="68"/>
                  </a:cxn>
                  <a:cxn ang="0">
                    <a:pos x="153" y="62"/>
                  </a:cxn>
                  <a:cxn ang="0">
                    <a:pos x="153" y="62"/>
                  </a:cxn>
                  <a:cxn ang="0">
                    <a:pos x="176" y="63"/>
                  </a:cxn>
                  <a:cxn ang="0">
                    <a:pos x="193" y="74"/>
                  </a:cxn>
                  <a:cxn ang="0">
                    <a:pos x="193" y="74"/>
                  </a:cxn>
                  <a:cxn ang="0">
                    <a:pos x="215" y="78"/>
                  </a:cxn>
                  <a:cxn ang="0">
                    <a:pos x="235" y="71"/>
                  </a:cxn>
                  <a:cxn ang="0">
                    <a:pos x="248" y="54"/>
                  </a:cxn>
                  <a:cxn ang="0">
                    <a:pos x="236" y="27"/>
                  </a:cxn>
                  <a:cxn ang="0">
                    <a:pos x="219" y="1"/>
                  </a:cxn>
                  <a:cxn ang="0">
                    <a:pos x="220" y="34"/>
                  </a:cxn>
                  <a:cxn ang="0">
                    <a:pos x="195" y="53"/>
                  </a:cxn>
                  <a:cxn ang="0">
                    <a:pos x="195" y="53"/>
                  </a:cxn>
                  <a:cxn ang="0">
                    <a:pos x="172" y="50"/>
                  </a:cxn>
                  <a:cxn ang="0">
                    <a:pos x="172" y="50"/>
                  </a:cxn>
                  <a:cxn ang="0">
                    <a:pos x="143" y="51"/>
                  </a:cxn>
                  <a:cxn ang="0">
                    <a:pos x="119" y="49"/>
                  </a:cxn>
                  <a:cxn ang="0">
                    <a:pos x="103" y="60"/>
                  </a:cxn>
                  <a:cxn ang="0">
                    <a:pos x="86" y="56"/>
                  </a:cxn>
                  <a:cxn ang="0">
                    <a:pos x="83" y="80"/>
                  </a:cxn>
                  <a:cxn ang="0">
                    <a:pos x="77" y="113"/>
                  </a:cxn>
                  <a:cxn ang="0">
                    <a:pos x="64" y="127"/>
                  </a:cxn>
                  <a:cxn ang="0">
                    <a:pos x="54" y="148"/>
                  </a:cxn>
                  <a:cxn ang="0">
                    <a:pos x="44" y="168"/>
                  </a:cxn>
                  <a:cxn ang="0">
                    <a:pos x="31" y="188"/>
                  </a:cxn>
                  <a:cxn ang="0">
                    <a:pos x="16" y="195"/>
                  </a:cxn>
                  <a:cxn ang="0">
                    <a:pos x="0" y="207"/>
                  </a:cxn>
                  <a:cxn ang="0">
                    <a:pos x="0" y="207"/>
                  </a:cxn>
                </a:cxnLst>
                <a:rect l="0" t="0" r="r" b="b"/>
                <a:pathLst>
                  <a:path w="251" h="207">
                    <a:moveTo>
                      <a:pt x="0" y="207"/>
                    </a:moveTo>
                    <a:cubicBezTo>
                      <a:pt x="18" y="206"/>
                      <a:pt x="25" y="196"/>
                      <a:pt x="25" y="196"/>
                    </a:cubicBezTo>
                    <a:cubicBezTo>
                      <a:pt x="52" y="196"/>
                      <a:pt x="51" y="181"/>
                      <a:pt x="51" y="181"/>
                    </a:cubicBezTo>
                    <a:cubicBezTo>
                      <a:pt x="51" y="181"/>
                      <a:pt x="56" y="176"/>
                      <a:pt x="55" y="162"/>
                    </a:cubicBezTo>
                    <a:cubicBezTo>
                      <a:pt x="73" y="151"/>
                      <a:pt x="71" y="141"/>
                      <a:pt x="71" y="141"/>
                    </a:cubicBezTo>
                    <a:cubicBezTo>
                      <a:pt x="88" y="122"/>
                      <a:pt x="89" y="106"/>
                      <a:pt x="89" y="106"/>
                    </a:cubicBezTo>
                    <a:cubicBezTo>
                      <a:pt x="95" y="97"/>
                      <a:pt x="107" y="97"/>
                      <a:pt x="107" y="97"/>
                    </a:cubicBezTo>
                    <a:cubicBezTo>
                      <a:pt x="108" y="90"/>
                      <a:pt x="93" y="97"/>
                      <a:pt x="93" y="87"/>
                    </a:cubicBezTo>
                    <a:cubicBezTo>
                      <a:pt x="93" y="83"/>
                      <a:pt x="103" y="82"/>
                      <a:pt x="111" y="82"/>
                    </a:cubicBezTo>
                    <a:cubicBezTo>
                      <a:pt x="133" y="81"/>
                      <a:pt x="134" y="68"/>
                      <a:pt x="134" y="68"/>
                    </a:cubicBezTo>
                    <a:cubicBezTo>
                      <a:pt x="150" y="69"/>
                      <a:pt x="153" y="62"/>
                      <a:pt x="153" y="62"/>
                    </a:cubicBezTo>
                    <a:cubicBezTo>
                      <a:pt x="153" y="62"/>
                      <a:pt x="153" y="62"/>
                      <a:pt x="153" y="62"/>
                    </a:cubicBezTo>
                    <a:cubicBezTo>
                      <a:pt x="176" y="63"/>
                      <a:pt x="176" y="63"/>
                      <a:pt x="176" y="63"/>
                    </a:cubicBezTo>
                    <a:cubicBezTo>
                      <a:pt x="193" y="74"/>
                      <a:pt x="193" y="74"/>
                      <a:pt x="193" y="74"/>
                    </a:cubicBezTo>
                    <a:cubicBezTo>
                      <a:pt x="193" y="74"/>
                      <a:pt x="193" y="74"/>
                      <a:pt x="193" y="74"/>
                    </a:cubicBezTo>
                    <a:cubicBezTo>
                      <a:pt x="205" y="88"/>
                      <a:pt x="215" y="78"/>
                      <a:pt x="215" y="78"/>
                    </a:cubicBezTo>
                    <a:cubicBezTo>
                      <a:pt x="220" y="72"/>
                      <a:pt x="235" y="71"/>
                      <a:pt x="235" y="71"/>
                    </a:cubicBezTo>
                    <a:cubicBezTo>
                      <a:pt x="251" y="73"/>
                      <a:pt x="248" y="54"/>
                      <a:pt x="248" y="54"/>
                    </a:cubicBezTo>
                    <a:cubicBezTo>
                      <a:pt x="248" y="37"/>
                      <a:pt x="236" y="27"/>
                      <a:pt x="236" y="27"/>
                    </a:cubicBezTo>
                    <a:cubicBezTo>
                      <a:pt x="227" y="0"/>
                      <a:pt x="219" y="1"/>
                      <a:pt x="219" y="1"/>
                    </a:cubicBezTo>
                    <a:cubicBezTo>
                      <a:pt x="231" y="29"/>
                      <a:pt x="220" y="34"/>
                      <a:pt x="220" y="34"/>
                    </a:cubicBezTo>
                    <a:cubicBezTo>
                      <a:pt x="212" y="59"/>
                      <a:pt x="195" y="53"/>
                      <a:pt x="195" y="53"/>
                    </a:cubicBezTo>
                    <a:cubicBezTo>
                      <a:pt x="195" y="53"/>
                      <a:pt x="195" y="53"/>
                      <a:pt x="195" y="53"/>
                    </a:cubicBezTo>
                    <a:cubicBezTo>
                      <a:pt x="172" y="50"/>
                      <a:pt x="172" y="50"/>
                      <a:pt x="172" y="50"/>
                    </a:cubicBezTo>
                    <a:cubicBezTo>
                      <a:pt x="172" y="50"/>
                      <a:pt x="172" y="50"/>
                      <a:pt x="172" y="50"/>
                    </a:cubicBezTo>
                    <a:cubicBezTo>
                      <a:pt x="158" y="43"/>
                      <a:pt x="143" y="51"/>
                      <a:pt x="143" y="51"/>
                    </a:cubicBezTo>
                    <a:cubicBezTo>
                      <a:pt x="127" y="43"/>
                      <a:pt x="119" y="49"/>
                      <a:pt x="119" y="49"/>
                    </a:cubicBezTo>
                    <a:cubicBezTo>
                      <a:pt x="118" y="67"/>
                      <a:pt x="103" y="60"/>
                      <a:pt x="103" y="60"/>
                    </a:cubicBezTo>
                    <a:cubicBezTo>
                      <a:pt x="98" y="50"/>
                      <a:pt x="86" y="56"/>
                      <a:pt x="86" y="56"/>
                    </a:cubicBezTo>
                    <a:cubicBezTo>
                      <a:pt x="73" y="67"/>
                      <a:pt x="83" y="71"/>
                      <a:pt x="83" y="80"/>
                    </a:cubicBezTo>
                    <a:cubicBezTo>
                      <a:pt x="93" y="97"/>
                      <a:pt x="77" y="113"/>
                      <a:pt x="77" y="113"/>
                    </a:cubicBezTo>
                    <a:cubicBezTo>
                      <a:pt x="73" y="124"/>
                      <a:pt x="64" y="127"/>
                      <a:pt x="64" y="127"/>
                    </a:cubicBezTo>
                    <a:cubicBezTo>
                      <a:pt x="66" y="138"/>
                      <a:pt x="54" y="148"/>
                      <a:pt x="54" y="148"/>
                    </a:cubicBezTo>
                    <a:cubicBezTo>
                      <a:pt x="36" y="158"/>
                      <a:pt x="44" y="168"/>
                      <a:pt x="44" y="168"/>
                    </a:cubicBezTo>
                    <a:cubicBezTo>
                      <a:pt x="45" y="189"/>
                      <a:pt x="31" y="188"/>
                      <a:pt x="31" y="188"/>
                    </a:cubicBezTo>
                    <a:cubicBezTo>
                      <a:pt x="24" y="185"/>
                      <a:pt x="16" y="195"/>
                      <a:pt x="16" y="195"/>
                    </a:cubicBezTo>
                    <a:cubicBezTo>
                      <a:pt x="12" y="203"/>
                      <a:pt x="0" y="207"/>
                      <a:pt x="0" y="207"/>
                    </a:cubicBezTo>
                    <a:cubicBezTo>
                      <a:pt x="0" y="207"/>
                      <a:pt x="0" y="207"/>
                      <a:pt x="0" y="207"/>
                    </a:cubicBezTo>
                    <a:close/>
                  </a:path>
                </a:pathLst>
              </a:custGeom>
              <a:solidFill>
                <a:srgbClr val="4F81BD"/>
              </a:solidFill>
              <a:ln w="6350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800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63" name="Freeform 23"/>
              <p:cNvSpPr>
                <a:spLocks/>
              </p:cNvSpPr>
              <p:nvPr/>
            </p:nvSpPr>
            <p:spPr bwMode="auto">
              <a:xfrm>
                <a:off x="4742537" y="3842250"/>
                <a:ext cx="62938" cy="72369"/>
              </a:xfrm>
              <a:custGeom>
                <a:avLst/>
                <a:gdLst/>
                <a:ahLst/>
                <a:cxnLst>
                  <a:cxn ang="0">
                    <a:pos x="7" y="29"/>
                  </a:cxn>
                  <a:cxn ang="0">
                    <a:pos x="13" y="0"/>
                  </a:cxn>
                  <a:cxn ang="0">
                    <a:pos x="7" y="29"/>
                  </a:cxn>
                  <a:cxn ang="0">
                    <a:pos x="7" y="29"/>
                  </a:cxn>
                </a:cxnLst>
                <a:rect l="0" t="0" r="r" b="b"/>
                <a:pathLst>
                  <a:path w="23" h="29">
                    <a:moveTo>
                      <a:pt x="7" y="29"/>
                    </a:moveTo>
                    <a:cubicBezTo>
                      <a:pt x="23" y="23"/>
                      <a:pt x="13" y="0"/>
                      <a:pt x="13" y="0"/>
                    </a:cubicBezTo>
                    <a:cubicBezTo>
                      <a:pt x="0" y="20"/>
                      <a:pt x="7" y="29"/>
                      <a:pt x="7" y="29"/>
                    </a:cubicBezTo>
                    <a:cubicBezTo>
                      <a:pt x="7" y="29"/>
                      <a:pt x="7" y="29"/>
                      <a:pt x="7" y="29"/>
                    </a:cubicBezTo>
                    <a:close/>
                  </a:path>
                </a:pathLst>
              </a:custGeom>
              <a:solidFill>
                <a:sysClr val="window" lastClr="FFFFFF">
                  <a:lumMod val="65000"/>
                </a:sysClr>
              </a:solidFill>
              <a:ln w="6350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800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64" name="Freeform 22"/>
              <p:cNvSpPr>
                <a:spLocks/>
              </p:cNvSpPr>
              <p:nvPr/>
            </p:nvSpPr>
            <p:spPr bwMode="auto">
              <a:xfrm>
                <a:off x="4160357" y="3674898"/>
                <a:ext cx="456304" cy="244246"/>
              </a:xfrm>
              <a:custGeom>
                <a:avLst/>
                <a:gdLst/>
                <a:ahLst/>
                <a:cxnLst>
                  <a:cxn ang="0">
                    <a:pos x="162" y="94"/>
                  </a:cxn>
                  <a:cxn ang="0">
                    <a:pos x="124" y="65"/>
                  </a:cxn>
                  <a:cxn ang="0">
                    <a:pos x="75" y="34"/>
                  </a:cxn>
                  <a:cxn ang="0">
                    <a:pos x="82" y="23"/>
                  </a:cxn>
                  <a:cxn ang="0">
                    <a:pos x="56" y="20"/>
                  </a:cxn>
                  <a:cxn ang="0">
                    <a:pos x="32" y="16"/>
                  </a:cxn>
                  <a:cxn ang="0">
                    <a:pos x="2" y="2"/>
                  </a:cxn>
                  <a:cxn ang="0">
                    <a:pos x="19" y="20"/>
                  </a:cxn>
                  <a:cxn ang="0">
                    <a:pos x="35" y="20"/>
                  </a:cxn>
                  <a:cxn ang="0">
                    <a:pos x="53" y="34"/>
                  </a:cxn>
                  <a:cxn ang="0">
                    <a:pos x="67" y="45"/>
                  </a:cxn>
                  <a:cxn ang="0">
                    <a:pos x="77" y="50"/>
                  </a:cxn>
                  <a:cxn ang="0">
                    <a:pos x="93" y="59"/>
                  </a:cxn>
                  <a:cxn ang="0">
                    <a:pos x="115" y="73"/>
                  </a:cxn>
                  <a:cxn ang="0">
                    <a:pos x="129" y="86"/>
                  </a:cxn>
                  <a:cxn ang="0">
                    <a:pos x="149" y="91"/>
                  </a:cxn>
                  <a:cxn ang="0">
                    <a:pos x="162" y="94"/>
                  </a:cxn>
                  <a:cxn ang="0">
                    <a:pos x="162" y="94"/>
                  </a:cxn>
                </a:cxnLst>
                <a:rect l="0" t="0" r="r" b="b"/>
                <a:pathLst>
                  <a:path w="162" h="97">
                    <a:moveTo>
                      <a:pt x="162" y="94"/>
                    </a:moveTo>
                    <a:cubicBezTo>
                      <a:pt x="149" y="82"/>
                      <a:pt x="135" y="71"/>
                      <a:pt x="124" y="65"/>
                    </a:cubicBezTo>
                    <a:cubicBezTo>
                      <a:pt x="91" y="46"/>
                      <a:pt x="94" y="33"/>
                      <a:pt x="75" y="34"/>
                    </a:cubicBezTo>
                    <a:cubicBezTo>
                      <a:pt x="82" y="28"/>
                      <a:pt x="82" y="23"/>
                      <a:pt x="82" y="23"/>
                    </a:cubicBezTo>
                    <a:cubicBezTo>
                      <a:pt x="64" y="34"/>
                      <a:pt x="56" y="20"/>
                      <a:pt x="56" y="20"/>
                    </a:cubicBezTo>
                    <a:cubicBezTo>
                      <a:pt x="50" y="16"/>
                      <a:pt x="32" y="16"/>
                      <a:pt x="32" y="16"/>
                    </a:cubicBezTo>
                    <a:cubicBezTo>
                      <a:pt x="26" y="0"/>
                      <a:pt x="2" y="2"/>
                      <a:pt x="2" y="2"/>
                    </a:cubicBezTo>
                    <a:cubicBezTo>
                      <a:pt x="0" y="9"/>
                      <a:pt x="16" y="2"/>
                      <a:pt x="19" y="20"/>
                    </a:cubicBezTo>
                    <a:cubicBezTo>
                      <a:pt x="26" y="31"/>
                      <a:pt x="35" y="20"/>
                      <a:pt x="35" y="20"/>
                    </a:cubicBezTo>
                    <a:cubicBezTo>
                      <a:pt x="53" y="26"/>
                      <a:pt x="53" y="34"/>
                      <a:pt x="53" y="34"/>
                    </a:cubicBezTo>
                    <a:cubicBezTo>
                      <a:pt x="64" y="34"/>
                      <a:pt x="67" y="45"/>
                      <a:pt x="67" y="45"/>
                    </a:cubicBezTo>
                    <a:cubicBezTo>
                      <a:pt x="79" y="41"/>
                      <a:pt x="77" y="50"/>
                      <a:pt x="77" y="50"/>
                    </a:cubicBezTo>
                    <a:cubicBezTo>
                      <a:pt x="91" y="50"/>
                      <a:pt x="93" y="59"/>
                      <a:pt x="93" y="59"/>
                    </a:cubicBezTo>
                    <a:cubicBezTo>
                      <a:pt x="96" y="67"/>
                      <a:pt x="107" y="60"/>
                      <a:pt x="115" y="73"/>
                    </a:cubicBezTo>
                    <a:cubicBezTo>
                      <a:pt x="128" y="71"/>
                      <a:pt x="129" y="86"/>
                      <a:pt x="129" y="86"/>
                    </a:cubicBezTo>
                    <a:cubicBezTo>
                      <a:pt x="141" y="86"/>
                      <a:pt x="149" y="91"/>
                      <a:pt x="149" y="91"/>
                    </a:cubicBezTo>
                    <a:cubicBezTo>
                      <a:pt x="154" y="97"/>
                      <a:pt x="162" y="94"/>
                      <a:pt x="162" y="94"/>
                    </a:cubicBezTo>
                    <a:cubicBezTo>
                      <a:pt x="162" y="94"/>
                      <a:pt x="162" y="94"/>
                      <a:pt x="162" y="94"/>
                    </a:cubicBezTo>
                    <a:close/>
                  </a:path>
                </a:pathLst>
              </a:custGeom>
              <a:solidFill>
                <a:srgbClr val="4F81BD"/>
              </a:solidFill>
              <a:ln w="6350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800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65" name="Freeform 21"/>
              <p:cNvSpPr>
                <a:spLocks/>
              </p:cNvSpPr>
              <p:nvPr/>
            </p:nvSpPr>
            <p:spPr bwMode="auto">
              <a:xfrm>
                <a:off x="3494261" y="3258775"/>
                <a:ext cx="62938" cy="126646"/>
              </a:xfrm>
              <a:custGeom>
                <a:avLst/>
                <a:gdLst/>
                <a:ahLst/>
                <a:cxnLst>
                  <a:cxn ang="0">
                    <a:pos x="3" y="48"/>
                  </a:cxn>
                  <a:cxn ang="0">
                    <a:pos x="18" y="27"/>
                  </a:cxn>
                  <a:cxn ang="0">
                    <a:pos x="8" y="4"/>
                  </a:cxn>
                  <a:cxn ang="0">
                    <a:pos x="0" y="23"/>
                  </a:cxn>
                  <a:cxn ang="0">
                    <a:pos x="3" y="48"/>
                  </a:cxn>
                  <a:cxn ang="0">
                    <a:pos x="3" y="48"/>
                  </a:cxn>
                </a:cxnLst>
                <a:rect l="0" t="0" r="r" b="b"/>
                <a:pathLst>
                  <a:path w="21" h="50">
                    <a:moveTo>
                      <a:pt x="3" y="48"/>
                    </a:moveTo>
                    <a:cubicBezTo>
                      <a:pt x="15" y="50"/>
                      <a:pt x="18" y="27"/>
                      <a:pt x="18" y="27"/>
                    </a:cubicBezTo>
                    <a:cubicBezTo>
                      <a:pt x="21" y="4"/>
                      <a:pt x="8" y="4"/>
                      <a:pt x="8" y="4"/>
                    </a:cubicBezTo>
                    <a:cubicBezTo>
                      <a:pt x="2" y="0"/>
                      <a:pt x="0" y="23"/>
                      <a:pt x="0" y="23"/>
                    </a:cubicBezTo>
                    <a:cubicBezTo>
                      <a:pt x="5" y="32"/>
                      <a:pt x="3" y="48"/>
                      <a:pt x="3" y="48"/>
                    </a:cubicBezTo>
                    <a:cubicBezTo>
                      <a:pt x="3" y="48"/>
                      <a:pt x="3" y="48"/>
                      <a:pt x="3" y="48"/>
                    </a:cubicBezTo>
                    <a:close/>
                  </a:path>
                </a:pathLst>
              </a:custGeom>
              <a:solidFill>
                <a:sysClr val="window" lastClr="FFFFFF">
                  <a:lumMod val="65000"/>
                </a:sysClr>
              </a:solidFill>
              <a:ln w="6350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800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66" name="Freeform 20"/>
              <p:cNvSpPr>
                <a:spLocks/>
              </p:cNvSpPr>
              <p:nvPr/>
            </p:nvSpPr>
            <p:spPr bwMode="auto">
              <a:xfrm>
                <a:off x="3588669" y="3448744"/>
                <a:ext cx="576934" cy="275906"/>
              </a:xfrm>
              <a:custGeom>
                <a:avLst/>
                <a:gdLst/>
                <a:ahLst/>
                <a:cxnLst>
                  <a:cxn ang="0">
                    <a:pos x="117" y="44"/>
                  </a:cxn>
                  <a:cxn ang="0">
                    <a:pos x="80" y="26"/>
                  </a:cxn>
                  <a:cxn ang="0">
                    <a:pos x="51" y="17"/>
                  </a:cxn>
                  <a:cxn ang="0">
                    <a:pos x="36" y="0"/>
                  </a:cxn>
                  <a:cxn ang="0">
                    <a:pos x="31" y="9"/>
                  </a:cxn>
                  <a:cxn ang="0">
                    <a:pos x="40" y="22"/>
                  </a:cxn>
                  <a:cxn ang="0">
                    <a:pos x="65" y="44"/>
                  </a:cxn>
                  <a:cxn ang="0">
                    <a:pos x="91" y="56"/>
                  </a:cxn>
                  <a:cxn ang="0">
                    <a:pos x="120" y="74"/>
                  </a:cxn>
                  <a:cxn ang="0">
                    <a:pos x="127" y="94"/>
                  </a:cxn>
                  <a:cxn ang="0">
                    <a:pos x="153" y="92"/>
                  </a:cxn>
                  <a:cxn ang="0">
                    <a:pos x="157" y="111"/>
                  </a:cxn>
                  <a:cxn ang="0">
                    <a:pos x="157" y="111"/>
                  </a:cxn>
                  <a:cxn ang="0">
                    <a:pos x="181" y="110"/>
                  </a:cxn>
                  <a:cxn ang="0">
                    <a:pos x="181" y="110"/>
                  </a:cxn>
                  <a:cxn ang="0">
                    <a:pos x="180" y="95"/>
                  </a:cxn>
                  <a:cxn ang="0">
                    <a:pos x="197" y="103"/>
                  </a:cxn>
                  <a:cxn ang="0">
                    <a:pos x="205" y="91"/>
                  </a:cxn>
                  <a:cxn ang="0">
                    <a:pos x="182" y="86"/>
                  </a:cxn>
                  <a:cxn ang="0">
                    <a:pos x="158" y="59"/>
                  </a:cxn>
                  <a:cxn ang="0">
                    <a:pos x="150" y="48"/>
                  </a:cxn>
                  <a:cxn ang="0">
                    <a:pos x="126" y="21"/>
                  </a:cxn>
                  <a:cxn ang="0">
                    <a:pos x="120" y="11"/>
                  </a:cxn>
                  <a:cxn ang="0">
                    <a:pos x="118" y="31"/>
                  </a:cxn>
                  <a:cxn ang="0">
                    <a:pos x="117" y="44"/>
                  </a:cxn>
                  <a:cxn ang="0">
                    <a:pos x="117" y="44"/>
                  </a:cxn>
                </a:cxnLst>
                <a:rect l="0" t="0" r="r" b="b"/>
                <a:pathLst>
                  <a:path w="205" h="111">
                    <a:moveTo>
                      <a:pt x="117" y="44"/>
                    </a:moveTo>
                    <a:cubicBezTo>
                      <a:pt x="98" y="41"/>
                      <a:pt x="80" y="26"/>
                      <a:pt x="80" y="26"/>
                    </a:cubicBezTo>
                    <a:cubicBezTo>
                      <a:pt x="75" y="11"/>
                      <a:pt x="51" y="17"/>
                      <a:pt x="51" y="17"/>
                    </a:cubicBezTo>
                    <a:cubicBezTo>
                      <a:pt x="47" y="2"/>
                      <a:pt x="36" y="0"/>
                      <a:pt x="36" y="0"/>
                    </a:cubicBezTo>
                    <a:cubicBezTo>
                      <a:pt x="32" y="0"/>
                      <a:pt x="31" y="9"/>
                      <a:pt x="31" y="9"/>
                    </a:cubicBezTo>
                    <a:cubicBezTo>
                      <a:pt x="0" y="4"/>
                      <a:pt x="40" y="22"/>
                      <a:pt x="40" y="22"/>
                    </a:cubicBezTo>
                    <a:cubicBezTo>
                      <a:pt x="61" y="34"/>
                      <a:pt x="65" y="44"/>
                      <a:pt x="65" y="44"/>
                    </a:cubicBezTo>
                    <a:cubicBezTo>
                      <a:pt x="91" y="48"/>
                      <a:pt x="91" y="56"/>
                      <a:pt x="91" y="56"/>
                    </a:cubicBezTo>
                    <a:cubicBezTo>
                      <a:pt x="116" y="66"/>
                      <a:pt x="120" y="74"/>
                      <a:pt x="120" y="74"/>
                    </a:cubicBezTo>
                    <a:cubicBezTo>
                      <a:pt x="133" y="81"/>
                      <a:pt x="127" y="94"/>
                      <a:pt x="127" y="94"/>
                    </a:cubicBezTo>
                    <a:cubicBezTo>
                      <a:pt x="132" y="98"/>
                      <a:pt x="138" y="86"/>
                      <a:pt x="153" y="92"/>
                    </a:cubicBezTo>
                    <a:cubicBezTo>
                      <a:pt x="189" y="96"/>
                      <a:pt x="157" y="111"/>
                      <a:pt x="157" y="111"/>
                    </a:cubicBezTo>
                    <a:cubicBezTo>
                      <a:pt x="157" y="111"/>
                      <a:pt x="157" y="111"/>
                      <a:pt x="157" y="111"/>
                    </a:cubicBezTo>
                    <a:cubicBezTo>
                      <a:pt x="181" y="110"/>
                      <a:pt x="181" y="110"/>
                      <a:pt x="181" y="110"/>
                    </a:cubicBezTo>
                    <a:cubicBezTo>
                      <a:pt x="181" y="110"/>
                      <a:pt x="181" y="110"/>
                      <a:pt x="181" y="110"/>
                    </a:cubicBezTo>
                    <a:cubicBezTo>
                      <a:pt x="171" y="97"/>
                      <a:pt x="180" y="95"/>
                      <a:pt x="180" y="95"/>
                    </a:cubicBezTo>
                    <a:cubicBezTo>
                      <a:pt x="194" y="97"/>
                      <a:pt x="197" y="103"/>
                      <a:pt x="197" y="103"/>
                    </a:cubicBezTo>
                    <a:cubicBezTo>
                      <a:pt x="196" y="96"/>
                      <a:pt x="205" y="91"/>
                      <a:pt x="205" y="91"/>
                    </a:cubicBezTo>
                    <a:cubicBezTo>
                      <a:pt x="188" y="96"/>
                      <a:pt x="182" y="86"/>
                      <a:pt x="182" y="86"/>
                    </a:cubicBezTo>
                    <a:cubicBezTo>
                      <a:pt x="174" y="72"/>
                      <a:pt x="158" y="59"/>
                      <a:pt x="158" y="59"/>
                    </a:cubicBezTo>
                    <a:cubicBezTo>
                      <a:pt x="157" y="52"/>
                      <a:pt x="150" y="48"/>
                      <a:pt x="150" y="48"/>
                    </a:cubicBezTo>
                    <a:cubicBezTo>
                      <a:pt x="146" y="33"/>
                      <a:pt x="126" y="21"/>
                      <a:pt x="126" y="21"/>
                    </a:cubicBezTo>
                    <a:cubicBezTo>
                      <a:pt x="120" y="20"/>
                      <a:pt x="120" y="11"/>
                      <a:pt x="120" y="11"/>
                    </a:cubicBezTo>
                    <a:cubicBezTo>
                      <a:pt x="104" y="25"/>
                      <a:pt x="118" y="31"/>
                      <a:pt x="118" y="31"/>
                    </a:cubicBezTo>
                    <a:cubicBezTo>
                      <a:pt x="124" y="44"/>
                      <a:pt x="117" y="44"/>
                      <a:pt x="117" y="44"/>
                    </a:cubicBezTo>
                    <a:cubicBezTo>
                      <a:pt x="117" y="44"/>
                      <a:pt x="117" y="44"/>
                      <a:pt x="117" y="44"/>
                    </a:cubicBezTo>
                    <a:close/>
                  </a:path>
                </a:pathLst>
              </a:custGeom>
              <a:solidFill>
                <a:srgbClr val="4F81BD"/>
              </a:solidFill>
              <a:ln w="6350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800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67" name="Freeform 19"/>
              <p:cNvSpPr>
                <a:spLocks/>
              </p:cNvSpPr>
              <p:nvPr/>
            </p:nvSpPr>
            <p:spPr bwMode="auto">
              <a:xfrm>
                <a:off x="3562443" y="3417081"/>
                <a:ext cx="62938" cy="49755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19" y="6"/>
                  </a:cxn>
                  <a:cxn ang="0">
                    <a:pos x="19" y="6"/>
                  </a:cxn>
                  <a:cxn ang="0">
                    <a:pos x="23" y="17"/>
                  </a:cxn>
                  <a:cxn ang="0">
                    <a:pos x="23" y="17"/>
                  </a:cxn>
                  <a:cxn ang="0">
                    <a:pos x="14" y="7"/>
                  </a:cxn>
                  <a:cxn ang="0">
                    <a:pos x="0" y="2"/>
                  </a:cxn>
                  <a:cxn ang="0">
                    <a:pos x="0" y="2"/>
                  </a:cxn>
                </a:cxnLst>
                <a:rect l="0" t="0" r="r" b="b"/>
                <a:pathLst>
                  <a:path w="23" h="19">
                    <a:moveTo>
                      <a:pt x="0" y="2"/>
                    </a:moveTo>
                    <a:cubicBezTo>
                      <a:pt x="9" y="0"/>
                      <a:pt x="19" y="6"/>
                      <a:pt x="19" y="6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23" y="17"/>
                      <a:pt x="23" y="17"/>
                      <a:pt x="23" y="17"/>
                    </a:cubicBezTo>
                    <a:cubicBezTo>
                      <a:pt x="23" y="17"/>
                      <a:pt x="23" y="17"/>
                      <a:pt x="23" y="17"/>
                    </a:cubicBezTo>
                    <a:cubicBezTo>
                      <a:pt x="19" y="19"/>
                      <a:pt x="14" y="7"/>
                      <a:pt x="14" y="7"/>
                    </a:cubicBezTo>
                    <a:cubicBezTo>
                      <a:pt x="9" y="3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rgbClr val="4F81BD"/>
              </a:solidFill>
              <a:ln w="4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68" name="Freeform 18"/>
              <p:cNvSpPr>
                <a:spLocks/>
              </p:cNvSpPr>
              <p:nvPr/>
            </p:nvSpPr>
            <p:spPr bwMode="auto">
              <a:xfrm>
                <a:off x="3247752" y="3132129"/>
                <a:ext cx="236020" cy="167352"/>
              </a:xfrm>
              <a:custGeom>
                <a:avLst/>
                <a:gdLst/>
                <a:ahLst/>
                <a:cxnLst>
                  <a:cxn ang="0">
                    <a:pos x="32" y="37"/>
                  </a:cxn>
                  <a:cxn ang="0">
                    <a:pos x="13" y="24"/>
                  </a:cxn>
                  <a:cxn ang="0">
                    <a:pos x="0" y="6"/>
                  </a:cxn>
                  <a:cxn ang="0">
                    <a:pos x="11" y="31"/>
                  </a:cxn>
                  <a:cxn ang="0">
                    <a:pos x="39" y="53"/>
                  </a:cxn>
                  <a:cxn ang="0">
                    <a:pos x="66" y="64"/>
                  </a:cxn>
                  <a:cxn ang="0">
                    <a:pos x="82" y="51"/>
                  </a:cxn>
                  <a:cxn ang="0">
                    <a:pos x="64" y="51"/>
                  </a:cxn>
                  <a:cxn ang="0">
                    <a:pos x="47" y="50"/>
                  </a:cxn>
                  <a:cxn ang="0">
                    <a:pos x="47" y="50"/>
                  </a:cxn>
                  <a:cxn ang="0">
                    <a:pos x="32" y="37"/>
                  </a:cxn>
                </a:cxnLst>
                <a:rect l="0" t="0" r="r" b="b"/>
                <a:pathLst>
                  <a:path w="82" h="66">
                    <a:moveTo>
                      <a:pt x="32" y="37"/>
                    </a:moveTo>
                    <a:cubicBezTo>
                      <a:pt x="32" y="37"/>
                      <a:pt x="31" y="27"/>
                      <a:pt x="13" y="24"/>
                    </a:cubicBezTo>
                    <a:cubicBezTo>
                      <a:pt x="3" y="0"/>
                      <a:pt x="0" y="6"/>
                      <a:pt x="0" y="6"/>
                    </a:cubicBezTo>
                    <a:cubicBezTo>
                      <a:pt x="0" y="6"/>
                      <a:pt x="4" y="27"/>
                      <a:pt x="11" y="31"/>
                    </a:cubicBezTo>
                    <a:cubicBezTo>
                      <a:pt x="17" y="35"/>
                      <a:pt x="24" y="32"/>
                      <a:pt x="39" y="53"/>
                    </a:cubicBezTo>
                    <a:cubicBezTo>
                      <a:pt x="52" y="66"/>
                      <a:pt x="66" y="64"/>
                      <a:pt x="66" y="64"/>
                    </a:cubicBezTo>
                    <a:cubicBezTo>
                      <a:pt x="76" y="62"/>
                      <a:pt x="82" y="51"/>
                      <a:pt x="82" y="51"/>
                    </a:cubicBezTo>
                    <a:cubicBezTo>
                      <a:pt x="82" y="46"/>
                      <a:pt x="64" y="51"/>
                      <a:pt x="64" y="51"/>
                    </a:cubicBezTo>
                    <a:cubicBezTo>
                      <a:pt x="55" y="54"/>
                      <a:pt x="55" y="49"/>
                      <a:pt x="47" y="50"/>
                    </a:cubicBezTo>
                    <a:cubicBezTo>
                      <a:pt x="47" y="50"/>
                      <a:pt x="47" y="50"/>
                      <a:pt x="47" y="50"/>
                    </a:cubicBezTo>
                    <a:cubicBezTo>
                      <a:pt x="32" y="37"/>
                      <a:pt x="32" y="37"/>
                      <a:pt x="32" y="37"/>
                    </a:cubicBezTo>
                    <a:close/>
                  </a:path>
                </a:pathLst>
              </a:custGeom>
              <a:solidFill>
                <a:sysClr val="window" lastClr="FFFFFF">
                  <a:lumMod val="65000"/>
                </a:sysClr>
              </a:solidFill>
              <a:ln w="6350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800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69" name="Freeform 17"/>
              <p:cNvSpPr>
                <a:spLocks/>
              </p:cNvSpPr>
              <p:nvPr/>
            </p:nvSpPr>
            <p:spPr bwMode="auto">
              <a:xfrm>
                <a:off x="3111385" y="2670776"/>
                <a:ext cx="120633" cy="312091"/>
              </a:xfrm>
              <a:custGeom>
                <a:avLst/>
                <a:gdLst/>
                <a:ahLst/>
                <a:cxnLst>
                  <a:cxn ang="0">
                    <a:pos x="29" y="126"/>
                  </a:cxn>
                  <a:cxn ang="0">
                    <a:pos x="15" y="88"/>
                  </a:cxn>
                  <a:cxn ang="0">
                    <a:pos x="11" y="51"/>
                  </a:cxn>
                  <a:cxn ang="0">
                    <a:pos x="0" y="48"/>
                  </a:cxn>
                  <a:cxn ang="0">
                    <a:pos x="25" y="23"/>
                  </a:cxn>
                  <a:cxn ang="0">
                    <a:pos x="37" y="16"/>
                  </a:cxn>
                  <a:cxn ang="0">
                    <a:pos x="35" y="35"/>
                  </a:cxn>
                  <a:cxn ang="0">
                    <a:pos x="35" y="57"/>
                  </a:cxn>
                  <a:cxn ang="0">
                    <a:pos x="32" y="99"/>
                  </a:cxn>
                  <a:cxn ang="0">
                    <a:pos x="29" y="126"/>
                  </a:cxn>
                  <a:cxn ang="0">
                    <a:pos x="29" y="126"/>
                  </a:cxn>
                </a:cxnLst>
                <a:rect l="0" t="0" r="r" b="b"/>
                <a:pathLst>
                  <a:path w="42" h="126">
                    <a:moveTo>
                      <a:pt x="29" y="126"/>
                    </a:moveTo>
                    <a:cubicBezTo>
                      <a:pt x="5" y="120"/>
                      <a:pt x="15" y="88"/>
                      <a:pt x="15" y="88"/>
                    </a:cubicBezTo>
                    <a:cubicBezTo>
                      <a:pt x="31" y="58"/>
                      <a:pt x="11" y="51"/>
                      <a:pt x="11" y="51"/>
                    </a:cubicBezTo>
                    <a:cubicBezTo>
                      <a:pt x="9" y="45"/>
                      <a:pt x="0" y="48"/>
                      <a:pt x="0" y="48"/>
                    </a:cubicBezTo>
                    <a:cubicBezTo>
                      <a:pt x="17" y="41"/>
                      <a:pt x="25" y="23"/>
                      <a:pt x="25" y="23"/>
                    </a:cubicBezTo>
                    <a:cubicBezTo>
                      <a:pt x="32" y="0"/>
                      <a:pt x="37" y="16"/>
                      <a:pt x="37" y="16"/>
                    </a:cubicBezTo>
                    <a:cubicBezTo>
                      <a:pt x="40" y="28"/>
                      <a:pt x="28" y="36"/>
                      <a:pt x="35" y="35"/>
                    </a:cubicBezTo>
                    <a:cubicBezTo>
                      <a:pt x="42" y="37"/>
                      <a:pt x="28" y="51"/>
                      <a:pt x="35" y="57"/>
                    </a:cubicBezTo>
                    <a:cubicBezTo>
                      <a:pt x="32" y="63"/>
                      <a:pt x="36" y="92"/>
                      <a:pt x="32" y="99"/>
                    </a:cubicBezTo>
                    <a:cubicBezTo>
                      <a:pt x="28" y="106"/>
                      <a:pt x="29" y="126"/>
                      <a:pt x="29" y="126"/>
                    </a:cubicBezTo>
                    <a:cubicBezTo>
                      <a:pt x="29" y="126"/>
                      <a:pt x="29" y="126"/>
                      <a:pt x="29" y="126"/>
                    </a:cubicBezTo>
                    <a:close/>
                  </a:path>
                </a:pathLst>
              </a:custGeom>
              <a:solidFill>
                <a:srgbClr val="4F81B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70" name="Freeform 43"/>
              <p:cNvSpPr>
                <a:spLocks/>
              </p:cNvSpPr>
              <p:nvPr/>
            </p:nvSpPr>
            <p:spPr bwMode="auto">
              <a:xfrm>
                <a:off x="5219818" y="3507543"/>
                <a:ext cx="896872" cy="1094584"/>
              </a:xfrm>
              <a:custGeom>
                <a:avLst/>
                <a:gdLst/>
                <a:ahLst/>
                <a:cxnLst>
                  <a:cxn ang="0">
                    <a:pos x="26" y="135"/>
                  </a:cxn>
                  <a:cxn ang="0">
                    <a:pos x="44" y="135"/>
                  </a:cxn>
                  <a:cxn ang="0">
                    <a:pos x="40" y="180"/>
                  </a:cxn>
                  <a:cxn ang="0">
                    <a:pos x="48" y="205"/>
                  </a:cxn>
                  <a:cxn ang="0">
                    <a:pos x="34" y="230"/>
                  </a:cxn>
                  <a:cxn ang="0">
                    <a:pos x="14" y="244"/>
                  </a:cxn>
                  <a:cxn ang="0">
                    <a:pos x="15" y="270"/>
                  </a:cxn>
                  <a:cxn ang="0">
                    <a:pos x="29" y="289"/>
                  </a:cxn>
                  <a:cxn ang="0">
                    <a:pos x="54" y="314"/>
                  </a:cxn>
                  <a:cxn ang="0">
                    <a:pos x="85" y="330"/>
                  </a:cxn>
                  <a:cxn ang="0">
                    <a:pos x="91" y="347"/>
                  </a:cxn>
                  <a:cxn ang="0">
                    <a:pos x="75" y="361"/>
                  </a:cxn>
                  <a:cxn ang="0">
                    <a:pos x="59" y="385"/>
                  </a:cxn>
                  <a:cxn ang="0">
                    <a:pos x="94" y="415"/>
                  </a:cxn>
                  <a:cxn ang="0">
                    <a:pos x="87" y="439"/>
                  </a:cxn>
                  <a:cxn ang="0">
                    <a:pos x="123" y="434"/>
                  </a:cxn>
                  <a:cxn ang="0">
                    <a:pos x="220" y="389"/>
                  </a:cxn>
                  <a:cxn ang="0">
                    <a:pos x="230" y="358"/>
                  </a:cxn>
                  <a:cxn ang="0">
                    <a:pos x="229" y="331"/>
                  </a:cxn>
                  <a:cxn ang="0">
                    <a:pos x="265" y="281"/>
                  </a:cxn>
                  <a:cxn ang="0">
                    <a:pos x="285" y="255"/>
                  </a:cxn>
                  <a:cxn ang="0">
                    <a:pos x="312" y="235"/>
                  </a:cxn>
                  <a:cxn ang="0">
                    <a:pos x="312" y="223"/>
                  </a:cxn>
                  <a:cxn ang="0">
                    <a:pos x="296" y="207"/>
                  </a:cxn>
                  <a:cxn ang="0">
                    <a:pos x="253" y="188"/>
                  </a:cxn>
                  <a:cxn ang="0">
                    <a:pos x="215" y="140"/>
                  </a:cxn>
                  <a:cxn ang="0">
                    <a:pos x="204" y="96"/>
                  </a:cxn>
                  <a:cxn ang="0">
                    <a:pos x="195" y="67"/>
                  </a:cxn>
                  <a:cxn ang="0">
                    <a:pos x="172" y="46"/>
                  </a:cxn>
                  <a:cxn ang="0">
                    <a:pos x="161" y="18"/>
                  </a:cxn>
                  <a:cxn ang="0">
                    <a:pos x="145" y="6"/>
                  </a:cxn>
                  <a:cxn ang="0">
                    <a:pos x="106" y="14"/>
                  </a:cxn>
                  <a:cxn ang="0">
                    <a:pos x="102" y="33"/>
                  </a:cxn>
                  <a:cxn ang="0">
                    <a:pos x="78" y="70"/>
                  </a:cxn>
                  <a:cxn ang="0">
                    <a:pos x="58" y="86"/>
                  </a:cxn>
                  <a:cxn ang="0">
                    <a:pos x="37" y="91"/>
                  </a:cxn>
                  <a:cxn ang="0">
                    <a:pos x="15" y="104"/>
                  </a:cxn>
                  <a:cxn ang="0">
                    <a:pos x="19" y="127"/>
                  </a:cxn>
                </a:cxnLst>
                <a:rect l="0" t="0" r="r" b="b"/>
                <a:pathLst>
                  <a:path w="316" h="439">
                    <a:moveTo>
                      <a:pt x="19" y="127"/>
                    </a:moveTo>
                    <a:cubicBezTo>
                      <a:pt x="34" y="131"/>
                      <a:pt x="26" y="135"/>
                      <a:pt x="26" y="135"/>
                    </a:cubicBezTo>
                    <a:cubicBezTo>
                      <a:pt x="20" y="141"/>
                      <a:pt x="30" y="145"/>
                      <a:pt x="31" y="137"/>
                    </a:cubicBezTo>
                    <a:cubicBezTo>
                      <a:pt x="37" y="131"/>
                      <a:pt x="44" y="135"/>
                      <a:pt x="44" y="135"/>
                    </a:cubicBezTo>
                    <a:cubicBezTo>
                      <a:pt x="44" y="138"/>
                      <a:pt x="33" y="144"/>
                      <a:pt x="37" y="155"/>
                    </a:cubicBezTo>
                    <a:cubicBezTo>
                      <a:pt x="32" y="180"/>
                      <a:pt x="40" y="180"/>
                      <a:pt x="40" y="180"/>
                    </a:cubicBezTo>
                    <a:cubicBezTo>
                      <a:pt x="50" y="182"/>
                      <a:pt x="51" y="193"/>
                      <a:pt x="51" y="193"/>
                    </a:cubicBezTo>
                    <a:cubicBezTo>
                      <a:pt x="55" y="202"/>
                      <a:pt x="48" y="205"/>
                      <a:pt x="48" y="205"/>
                    </a:cubicBezTo>
                    <a:cubicBezTo>
                      <a:pt x="40" y="206"/>
                      <a:pt x="48" y="220"/>
                      <a:pt x="48" y="220"/>
                    </a:cubicBezTo>
                    <a:cubicBezTo>
                      <a:pt x="55" y="237"/>
                      <a:pt x="34" y="230"/>
                      <a:pt x="34" y="230"/>
                    </a:cubicBezTo>
                    <a:cubicBezTo>
                      <a:pt x="21" y="215"/>
                      <a:pt x="14" y="226"/>
                      <a:pt x="14" y="226"/>
                    </a:cubicBezTo>
                    <a:cubicBezTo>
                      <a:pt x="5" y="237"/>
                      <a:pt x="14" y="244"/>
                      <a:pt x="14" y="244"/>
                    </a:cubicBezTo>
                    <a:cubicBezTo>
                      <a:pt x="24" y="252"/>
                      <a:pt x="14" y="255"/>
                      <a:pt x="14" y="255"/>
                    </a:cubicBezTo>
                    <a:cubicBezTo>
                      <a:pt x="0" y="257"/>
                      <a:pt x="15" y="270"/>
                      <a:pt x="15" y="270"/>
                    </a:cubicBezTo>
                    <a:cubicBezTo>
                      <a:pt x="16" y="279"/>
                      <a:pt x="21" y="278"/>
                      <a:pt x="21" y="278"/>
                    </a:cubicBezTo>
                    <a:cubicBezTo>
                      <a:pt x="28" y="278"/>
                      <a:pt x="29" y="289"/>
                      <a:pt x="29" y="289"/>
                    </a:cubicBezTo>
                    <a:cubicBezTo>
                      <a:pt x="33" y="297"/>
                      <a:pt x="39" y="308"/>
                      <a:pt x="39" y="308"/>
                    </a:cubicBezTo>
                    <a:cubicBezTo>
                      <a:pt x="49" y="305"/>
                      <a:pt x="54" y="314"/>
                      <a:pt x="54" y="314"/>
                    </a:cubicBezTo>
                    <a:cubicBezTo>
                      <a:pt x="58" y="321"/>
                      <a:pt x="62" y="308"/>
                      <a:pt x="69" y="319"/>
                    </a:cubicBezTo>
                    <a:cubicBezTo>
                      <a:pt x="77" y="320"/>
                      <a:pt x="85" y="330"/>
                      <a:pt x="85" y="330"/>
                    </a:cubicBezTo>
                    <a:cubicBezTo>
                      <a:pt x="103" y="329"/>
                      <a:pt x="97" y="340"/>
                      <a:pt x="97" y="340"/>
                    </a:cubicBezTo>
                    <a:cubicBezTo>
                      <a:pt x="79" y="344"/>
                      <a:pt x="91" y="347"/>
                      <a:pt x="91" y="347"/>
                    </a:cubicBezTo>
                    <a:cubicBezTo>
                      <a:pt x="91" y="347"/>
                      <a:pt x="99" y="351"/>
                      <a:pt x="85" y="354"/>
                    </a:cubicBezTo>
                    <a:cubicBezTo>
                      <a:pt x="78" y="353"/>
                      <a:pt x="87" y="365"/>
                      <a:pt x="75" y="361"/>
                    </a:cubicBezTo>
                    <a:cubicBezTo>
                      <a:pt x="54" y="363"/>
                      <a:pt x="65" y="373"/>
                      <a:pt x="65" y="373"/>
                    </a:cubicBezTo>
                    <a:cubicBezTo>
                      <a:pt x="70" y="380"/>
                      <a:pt x="59" y="385"/>
                      <a:pt x="59" y="385"/>
                    </a:cubicBezTo>
                    <a:cubicBezTo>
                      <a:pt x="78" y="389"/>
                      <a:pt x="78" y="405"/>
                      <a:pt x="78" y="405"/>
                    </a:cubicBezTo>
                    <a:cubicBezTo>
                      <a:pt x="99" y="405"/>
                      <a:pt x="94" y="415"/>
                      <a:pt x="94" y="415"/>
                    </a:cubicBezTo>
                    <a:cubicBezTo>
                      <a:pt x="96" y="422"/>
                      <a:pt x="89" y="423"/>
                      <a:pt x="89" y="423"/>
                    </a:cubicBezTo>
                    <a:cubicBezTo>
                      <a:pt x="72" y="426"/>
                      <a:pt x="87" y="439"/>
                      <a:pt x="87" y="439"/>
                    </a:cubicBezTo>
                    <a:cubicBezTo>
                      <a:pt x="89" y="437"/>
                      <a:pt x="92" y="435"/>
                      <a:pt x="95" y="434"/>
                    </a:cubicBezTo>
                    <a:cubicBezTo>
                      <a:pt x="95" y="434"/>
                      <a:pt x="110" y="418"/>
                      <a:pt x="123" y="434"/>
                    </a:cubicBezTo>
                    <a:cubicBezTo>
                      <a:pt x="123" y="434"/>
                      <a:pt x="130" y="415"/>
                      <a:pt x="150" y="395"/>
                    </a:cubicBezTo>
                    <a:cubicBezTo>
                      <a:pt x="180" y="397"/>
                      <a:pt x="191" y="384"/>
                      <a:pt x="220" y="389"/>
                    </a:cubicBezTo>
                    <a:cubicBezTo>
                      <a:pt x="220" y="389"/>
                      <a:pt x="224" y="387"/>
                      <a:pt x="230" y="384"/>
                    </a:cubicBezTo>
                    <a:cubicBezTo>
                      <a:pt x="230" y="372"/>
                      <a:pt x="221" y="366"/>
                      <a:pt x="230" y="358"/>
                    </a:cubicBezTo>
                    <a:cubicBezTo>
                      <a:pt x="237" y="355"/>
                      <a:pt x="242" y="345"/>
                      <a:pt x="230" y="346"/>
                    </a:cubicBezTo>
                    <a:cubicBezTo>
                      <a:pt x="220" y="347"/>
                      <a:pt x="229" y="331"/>
                      <a:pt x="229" y="331"/>
                    </a:cubicBezTo>
                    <a:cubicBezTo>
                      <a:pt x="233" y="325"/>
                      <a:pt x="224" y="299"/>
                      <a:pt x="238" y="288"/>
                    </a:cubicBezTo>
                    <a:cubicBezTo>
                      <a:pt x="249" y="279"/>
                      <a:pt x="254" y="285"/>
                      <a:pt x="265" y="281"/>
                    </a:cubicBezTo>
                    <a:cubicBezTo>
                      <a:pt x="278" y="275"/>
                      <a:pt x="268" y="268"/>
                      <a:pt x="278" y="269"/>
                    </a:cubicBezTo>
                    <a:cubicBezTo>
                      <a:pt x="288" y="270"/>
                      <a:pt x="285" y="255"/>
                      <a:pt x="285" y="255"/>
                    </a:cubicBezTo>
                    <a:cubicBezTo>
                      <a:pt x="283" y="230"/>
                      <a:pt x="303" y="234"/>
                      <a:pt x="303" y="234"/>
                    </a:cubicBezTo>
                    <a:cubicBezTo>
                      <a:pt x="306" y="234"/>
                      <a:pt x="309" y="235"/>
                      <a:pt x="312" y="235"/>
                    </a:cubicBezTo>
                    <a:cubicBezTo>
                      <a:pt x="312" y="235"/>
                      <a:pt x="312" y="235"/>
                      <a:pt x="312" y="235"/>
                    </a:cubicBezTo>
                    <a:cubicBezTo>
                      <a:pt x="312" y="223"/>
                      <a:pt x="312" y="223"/>
                      <a:pt x="312" y="223"/>
                    </a:cubicBezTo>
                    <a:cubicBezTo>
                      <a:pt x="312" y="223"/>
                      <a:pt x="312" y="223"/>
                      <a:pt x="312" y="223"/>
                    </a:cubicBezTo>
                    <a:cubicBezTo>
                      <a:pt x="312" y="223"/>
                      <a:pt x="316" y="208"/>
                      <a:pt x="296" y="207"/>
                    </a:cubicBezTo>
                    <a:cubicBezTo>
                      <a:pt x="296" y="207"/>
                      <a:pt x="283" y="212"/>
                      <a:pt x="279" y="201"/>
                    </a:cubicBezTo>
                    <a:cubicBezTo>
                      <a:pt x="279" y="201"/>
                      <a:pt x="289" y="193"/>
                      <a:pt x="253" y="188"/>
                    </a:cubicBezTo>
                    <a:cubicBezTo>
                      <a:pt x="253" y="188"/>
                      <a:pt x="257" y="172"/>
                      <a:pt x="231" y="149"/>
                    </a:cubicBezTo>
                    <a:cubicBezTo>
                      <a:pt x="231" y="149"/>
                      <a:pt x="233" y="141"/>
                      <a:pt x="215" y="140"/>
                    </a:cubicBezTo>
                    <a:cubicBezTo>
                      <a:pt x="216" y="124"/>
                      <a:pt x="205" y="130"/>
                      <a:pt x="206" y="117"/>
                    </a:cubicBezTo>
                    <a:cubicBezTo>
                      <a:pt x="206" y="117"/>
                      <a:pt x="198" y="113"/>
                      <a:pt x="204" y="96"/>
                    </a:cubicBezTo>
                    <a:cubicBezTo>
                      <a:pt x="211" y="92"/>
                      <a:pt x="198" y="88"/>
                      <a:pt x="202" y="83"/>
                    </a:cubicBezTo>
                    <a:cubicBezTo>
                      <a:pt x="202" y="83"/>
                      <a:pt x="214" y="81"/>
                      <a:pt x="195" y="67"/>
                    </a:cubicBezTo>
                    <a:cubicBezTo>
                      <a:pt x="195" y="67"/>
                      <a:pt x="198" y="54"/>
                      <a:pt x="181" y="54"/>
                    </a:cubicBezTo>
                    <a:cubicBezTo>
                      <a:pt x="181" y="54"/>
                      <a:pt x="159" y="55"/>
                      <a:pt x="172" y="46"/>
                    </a:cubicBezTo>
                    <a:cubicBezTo>
                      <a:pt x="182" y="43"/>
                      <a:pt x="170" y="39"/>
                      <a:pt x="172" y="30"/>
                    </a:cubicBezTo>
                    <a:cubicBezTo>
                      <a:pt x="172" y="30"/>
                      <a:pt x="175" y="11"/>
                      <a:pt x="161" y="18"/>
                    </a:cubicBezTo>
                    <a:cubicBezTo>
                      <a:pt x="161" y="18"/>
                      <a:pt x="151" y="20"/>
                      <a:pt x="153" y="14"/>
                    </a:cubicBezTo>
                    <a:cubicBezTo>
                      <a:pt x="153" y="14"/>
                      <a:pt x="155" y="7"/>
                      <a:pt x="145" y="6"/>
                    </a:cubicBezTo>
                    <a:cubicBezTo>
                      <a:pt x="138" y="11"/>
                      <a:pt x="122" y="9"/>
                      <a:pt x="122" y="9"/>
                    </a:cubicBezTo>
                    <a:cubicBezTo>
                      <a:pt x="111" y="0"/>
                      <a:pt x="106" y="14"/>
                      <a:pt x="106" y="14"/>
                    </a:cubicBezTo>
                    <a:cubicBezTo>
                      <a:pt x="103" y="20"/>
                      <a:pt x="117" y="12"/>
                      <a:pt x="117" y="19"/>
                    </a:cubicBezTo>
                    <a:cubicBezTo>
                      <a:pt x="117" y="28"/>
                      <a:pt x="102" y="33"/>
                      <a:pt x="102" y="33"/>
                    </a:cubicBezTo>
                    <a:cubicBezTo>
                      <a:pt x="84" y="47"/>
                      <a:pt x="84" y="55"/>
                      <a:pt x="84" y="55"/>
                    </a:cubicBezTo>
                    <a:cubicBezTo>
                      <a:pt x="90" y="66"/>
                      <a:pt x="78" y="70"/>
                      <a:pt x="78" y="70"/>
                    </a:cubicBezTo>
                    <a:cubicBezTo>
                      <a:pt x="65" y="76"/>
                      <a:pt x="70" y="87"/>
                      <a:pt x="70" y="87"/>
                    </a:cubicBezTo>
                    <a:cubicBezTo>
                      <a:pt x="64" y="80"/>
                      <a:pt x="58" y="86"/>
                      <a:pt x="58" y="86"/>
                    </a:cubicBezTo>
                    <a:cubicBezTo>
                      <a:pt x="47" y="91"/>
                      <a:pt x="52" y="97"/>
                      <a:pt x="52" y="97"/>
                    </a:cubicBezTo>
                    <a:cubicBezTo>
                      <a:pt x="44" y="97"/>
                      <a:pt x="37" y="91"/>
                      <a:pt x="37" y="91"/>
                    </a:cubicBezTo>
                    <a:cubicBezTo>
                      <a:pt x="34" y="92"/>
                      <a:pt x="33" y="101"/>
                      <a:pt x="28" y="98"/>
                    </a:cubicBezTo>
                    <a:cubicBezTo>
                      <a:pt x="13" y="91"/>
                      <a:pt x="15" y="104"/>
                      <a:pt x="15" y="104"/>
                    </a:cubicBezTo>
                    <a:cubicBezTo>
                      <a:pt x="14" y="113"/>
                      <a:pt x="22" y="110"/>
                      <a:pt x="19" y="127"/>
                    </a:cubicBezTo>
                    <a:cubicBezTo>
                      <a:pt x="19" y="127"/>
                      <a:pt x="19" y="127"/>
                      <a:pt x="19" y="127"/>
                    </a:cubicBezTo>
                    <a:close/>
                  </a:path>
                </a:pathLst>
              </a:custGeom>
              <a:solidFill>
                <a:srgbClr val="EEBB0D"/>
              </a:solidFill>
              <a:ln w="952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</p:grpSp>
        <p:sp>
          <p:nvSpPr>
            <p:cNvPr id="22" name="Oval 147"/>
            <p:cNvSpPr/>
            <p:nvPr/>
          </p:nvSpPr>
          <p:spPr bwMode="auto">
            <a:xfrm>
              <a:off x="5122393" y="2409718"/>
              <a:ext cx="146832" cy="144503"/>
            </a:xfrm>
            <a:prstGeom prst="ellipse">
              <a:avLst/>
            </a:prstGeom>
            <a:solidFill>
              <a:srgbClr val="C0504D">
                <a:lumMod val="75000"/>
              </a:srgbClr>
            </a:solidFill>
            <a:ln w="9525" cap="flat" cmpd="sng" algn="ctr">
              <a:solidFill>
                <a:sysClr val="window" lastClr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0" hangingPunct="0">
                <a:defRPr/>
              </a:pPr>
              <a:endParaRPr lang="uk-UA" sz="1000" u="sng" kern="0" dirty="0">
                <a:solidFill>
                  <a:sysClr val="windowText" lastClr="000000"/>
                </a:solidFill>
                <a:latin typeface="+mn-lt"/>
                <a:ea typeface="MS PGothic" pitchFamily="34" charset="-128"/>
                <a:cs typeface="+mn-cs"/>
              </a:endParaRPr>
            </a:p>
          </p:txBody>
        </p:sp>
        <p:sp>
          <p:nvSpPr>
            <p:cNvPr id="23" name="Freeform 164"/>
            <p:cNvSpPr>
              <a:spLocks noChangeAspect="1"/>
            </p:cNvSpPr>
            <p:nvPr/>
          </p:nvSpPr>
          <p:spPr bwMode="auto">
            <a:xfrm>
              <a:off x="8114102" y="3196462"/>
              <a:ext cx="874874" cy="968716"/>
            </a:xfrm>
            <a:custGeom>
              <a:avLst/>
              <a:gdLst>
                <a:gd name="connsiteX0" fmla="*/ 127000 w 828675"/>
                <a:gd name="connsiteY0" fmla="*/ 885825 h 885825"/>
                <a:gd name="connsiteX1" fmla="*/ 244475 w 828675"/>
                <a:gd name="connsiteY1" fmla="*/ 873125 h 885825"/>
                <a:gd name="connsiteX2" fmla="*/ 234950 w 828675"/>
                <a:gd name="connsiteY2" fmla="*/ 809625 h 885825"/>
                <a:gd name="connsiteX3" fmla="*/ 266700 w 828675"/>
                <a:gd name="connsiteY3" fmla="*/ 774700 h 885825"/>
                <a:gd name="connsiteX4" fmla="*/ 228600 w 828675"/>
                <a:gd name="connsiteY4" fmla="*/ 765175 h 885825"/>
                <a:gd name="connsiteX5" fmla="*/ 247650 w 828675"/>
                <a:gd name="connsiteY5" fmla="*/ 720725 h 885825"/>
                <a:gd name="connsiteX6" fmla="*/ 244475 w 828675"/>
                <a:gd name="connsiteY6" fmla="*/ 622300 h 885825"/>
                <a:gd name="connsiteX7" fmla="*/ 285750 w 828675"/>
                <a:gd name="connsiteY7" fmla="*/ 600075 h 885825"/>
                <a:gd name="connsiteX8" fmla="*/ 361950 w 828675"/>
                <a:gd name="connsiteY8" fmla="*/ 587375 h 885825"/>
                <a:gd name="connsiteX9" fmla="*/ 381000 w 828675"/>
                <a:gd name="connsiteY9" fmla="*/ 561975 h 885825"/>
                <a:gd name="connsiteX10" fmla="*/ 419100 w 828675"/>
                <a:gd name="connsiteY10" fmla="*/ 552450 h 885825"/>
                <a:gd name="connsiteX11" fmla="*/ 412750 w 828675"/>
                <a:gd name="connsiteY11" fmla="*/ 504825 h 885825"/>
                <a:gd name="connsiteX12" fmla="*/ 434975 w 828675"/>
                <a:gd name="connsiteY12" fmla="*/ 454025 h 885825"/>
                <a:gd name="connsiteX13" fmla="*/ 476250 w 828675"/>
                <a:gd name="connsiteY13" fmla="*/ 463550 h 885825"/>
                <a:gd name="connsiteX14" fmla="*/ 774700 w 828675"/>
                <a:gd name="connsiteY14" fmla="*/ 450850 h 885825"/>
                <a:gd name="connsiteX15" fmla="*/ 781050 w 828675"/>
                <a:gd name="connsiteY15" fmla="*/ 304800 h 885825"/>
                <a:gd name="connsiteX16" fmla="*/ 828675 w 828675"/>
                <a:gd name="connsiteY16" fmla="*/ 222250 h 885825"/>
                <a:gd name="connsiteX17" fmla="*/ 774700 w 828675"/>
                <a:gd name="connsiteY17" fmla="*/ 222250 h 885825"/>
                <a:gd name="connsiteX18" fmla="*/ 774700 w 828675"/>
                <a:gd name="connsiteY18" fmla="*/ 209550 h 885825"/>
                <a:gd name="connsiteX19" fmla="*/ 787400 w 828675"/>
                <a:gd name="connsiteY19" fmla="*/ 190500 h 885825"/>
                <a:gd name="connsiteX20" fmla="*/ 768350 w 828675"/>
                <a:gd name="connsiteY20" fmla="*/ 139700 h 885825"/>
                <a:gd name="connsiteX21" fmla="*/ 749300 w 828675"/>
                <a:gd name="connsiteY21" fmla="*/ 101600 h 885825"/>
                <a:gd name="connsiteX22" fmla="*/ 717550 w 828675"/>
                <a:gd name="connsiteY22" fmla="*/ 88900 h 885825"/>
                <a:gd name="connsiteX23" fmla="*/ 698500 w 828675"/>
                <a:gd name="connsiteY23" fmla="*/ 92075 h 885825"/>
                <a:gd name="connsiteX24" fmla="*/ 603250 w 828675"/>
                <a:gd name="connsiteY24" fmla="*/ 69850 h 885825"/>
                <a:gd name="connsiteX25" fmla="*/ 542925 w 828675"/>
                <a:gd name="connsiteY25" fmla="*/ 0 h 885825"/>
                <a:gd name="connsiteX26" fmla="*/ 520700 w 828675"/>
                <a:gd name="connsiteY26" fmla="*/ 47625 h 885825"/>
                <a:gd name="connsiteX27" fmla="*/ 454025 w 828675"/>
                <a:gd name="connsiteY27" fmla="*/ 63500 h 885825"/>
                <a:gd name="connsiteX28" fmla="*/ 419100 w 828675"/>
                <a:gd name="connsiteY28" fmla="*/ 12700 h 885825"/>
                <a:gd name="connsiteX29" fmla="*/ 381000 w 828675"/>
                <a:gd name="connsiteY29" fmla="*/ 44450 h 885825"/>
                <a:gd name="connsiteX30" fmla="*/ 314325 w 828675"/>
                <a:gd name="connsiteY30" fmla="*/ 76200 h 885825"/>
                <a:gd name="connsiteX31" fmla="*/ 276225 w 828675"/>
                <a:gd name="connsiteY31" fmla="*/ 117475 h 885825"/>
                <a:gd name="connsiteX32" fmla="*/ 241300 w 828675"/>
                <a:gd name="connsiteY32" fmla="*/ 203200 h 885825"/>
                <a:gd name="connsiteX33" fmla="*/ 196850 w 828675"/>
                <a:gd name="connsiteY33" fmla="*/ 228600 h 885825"/>
                <a:gd name="connsiteX34" fmla="*/ 149225 w 828675"/>
                <a:gd name="connsiteY34" fmla="*/ 203200 h 885825"/>
                <a:gd name="connsiteX35" fmla="*/ 95250 w 828675"/>
                <a:gd name="connsiteY35" fmla="*/ 247650 h 885825"/>
                <a:gd name="connsiteX36" fmla="*/ 60325 w 828675"/>
                <a:gd name="connsiteY36" fmla="*/ 279400 h 885825"/>
                <a:gd name="connsiteX37" fmla="*/ 85725 w 828675"/>
                <a:gd name="connsiteY37" fmla="*/ 323850 h 885825"/>
                <a:gd name="connsiteX38" fmla="*/ 104775 w 828675"/>
                <a:gd name="connsiteY38" fmla="*/ 349250 h 885825"/>
                <a:gd name="connsiteX39" fmla="*/ 95250 w 828675"/>
                <a:gd name="connsiteY39" fmla="*/ 381000 h 885825"/>
                <a:gd name="connsiteX40" fmla="*/ 85725 w 828675"/>
                <a:gd name="connsiteY40" fmla="*/ 428625 h 885825"/>
                <a:gd name="connsiteX41" fmla="*/ 31750 w 828675"/>
                <a:gd name="connsiteY41" fmla="*/ 444500 h 885825"/>
                <a:gd name="connsiteX42" fmla="*/ 9525 w 828675"/>
                <a:gd name="connsiteY42" fmla="*/ 476250 h 885825"/>
                <a:gd name="connsiteX43" fmla="*/ 0 w 828675"/>
                <a:gd name="connsiteY43" fmla="*/ 520700 h 885825"/>
                <a:gd name="connsiteX44" fmla="*/ 15875 w 828675"/>
                <a:gd name="connsiteY44" fmla="*/ 565150 h 885825"/>
                <a:gd name="connsiteX45" fmla="*/ 28575 w 828675"/>
                <a:gd name="connsiteY45" fmla="*/ 587375 h 885825"/>
                <a:gd name="connsiteX46" fmla="*/ 63500 w 828675"/>
                <a:gd name="connsiteY46" fmla="*/ 584200 h 885825"/>
                <a:gd name="connsiteX47" fmla="*/ 76200 w 828675"/>
                <a:gd name="connsiteY47" fmla="*/ 631825 h 885825"/>
                <a:gd name="connsiteX48" fmla="*/ 92075 w 828675"/>
                <a:gd name="connsiteY48" fmla="*/ 654050 h 885825"/>
                <a:gd name="connsiteX49" fmla="*/ 114300 w 828675"/>
                <a:gd name="connsiteY49" fmla="*/ 692150 h 885825"/>
                <a:gd name="connsiteX50" fmla="*/ 107950 w 828675"/>
                <a:gd name="connsiteY50" fmla="*/ 727075 h 885825"/>
                <a:gd name="connsiteX51" fmla="*/ 133350 w 828675"/>
                <a:gd name="connsiteY51" fmla="*/ 777875 h 885825"/>
                <a:gd name="connsiteX52" fmla="*/ 130175 w 828675"/>
                <a:gd name="connsiteY52" fmla="*/ 828675 h 885825"/>
                <a:gd name="connsiteX53" fmla="*/ 127000 w 828675"/>
                <a:gd name="connsiteY53" fmla="*/ 885825 h 885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828675" h="885825">
                  <a:moveTo>
                    <a:pt x="127000" y="885825"/>
                  </a:moveTo>
                  <a:lnTo>
                    <a:pt x="244475" y="873125"/>
                  </a:lnTo>
                  <a:lnTo>
                    <a:pt x="234950" y="809625"/>
                  </a:lnTo>
                  <a:lnTo>
                    <a:pt x="266700" y="774700"/>
                  </a:lnTo>
                  <a:lnTo>
                    <a:pt x="228600" y="765175"/>
                  </a:lnTo>
                  <a:lnTo>
                    <a:pt x="247650" y="720725"/>
                  </a:lnTo>
                  <a:lnTo>
                    <a:pt x="244475" y="622300"/>
                  </a:lnTo>
                  <a:lnTo>
                    <a:pt x="285750" y="600075"/>
                  </a:lnTo>
                  <a:lnTo>
                    <a:pt x="361950" y="587375"/>
                  </a:lnTo>
                  <a:lnTo>
                    <a:pt x="381000" y="561975"/>
                  </a:lnTo>
                  <a:lnTo>
                    <a:pt x="419100" y="552450"/>
                  </a:lnTo>
                  <a:lnTo>
                    <a:pt x="412750" y="504825"/>
                  </a:lnTo>
                  <a:lnTo>
                    <a:pt x="434975" y="454025"/>
                  </a:lnTo>
                  <a:lnTo>
                    <a:pt x="476250" y="463550"/>
                  </a:lnTo>
                  <a:lnTo>
                    <a:pt x="774700" y="450850"/>
                  </a:lnTo>
                  <a:lnTo>
                    <a:pt x="781050" y="304800"/>
                  </a:lnTo>
                  <a:lnTo>
                    <a:pt x="828675" y="222250"/>
                  </a:lnTo>
                  <a:lnTo>
                    <a:pt x="774700" y="222250"/>
                  </a:lnTo>
                  <a:lnTo>
                    <a:pt x="774700" y="209550"/>
                  </a:lnTo>
                  <a:lnTo>
                    <a:pt x="787400" y="190500"/>
                  </a:lnTo>
                  <a:lnTo>
                    <a:pt x="768350" y="139700"/>
                  </a:lnTo>
                  <a:lnTo>
                    <a:pt x="749300" y="101600"/>
                  </a:lnTo>
                  <a:lnTo>
                    <a:pt x="717550" y="88900"/>
                  </a:lnTo>
                  <a:lnTo>
                    <a:pt x="698500" y="92075"/>
                  </a:lnTo>
                  <a:lnTo>
                    <a:pt x="603250" y="69850"/>
                  </a:lnTo>
                  <a:lnTo>
                    <a:pt x="542925" y="0"/>
                  </a:lnTo>
                  <a:lnTo>
                    <a:pt x="520700" y="47625"/>
                  </a:lnTo>
                  <a:lnTo>
                    <a:pt x="454025" y="63500"/>
                  </a:lnTo>
                  <a:lnTo>
                    <a:pt x="419100" y="12700"/>
                  </a:lnTo>
                  <a:lnTo>
                    <a:pt x="381000" y="44450"/>
                  </a:lnTo>
                  <a:lnTo>
                    <a:pt x="314325" y="76200"/>
                  </a:lnTo>
                  <a:lnTo>
                    <a:pt x="276225" y="117475"/>
                  </a:lnTo>
                  <a:lnTo>
                    <a:pt x="241300" y="203200"/>
                  </a:lnTo>
                  <a:lnTo>
                    <a:pt x="196850" y="228600"/>
                  </a:lnTo>
                  <a:lnTo>
                    <a:pt x="149225" y="203200"/>
                  </a:lnTo>
                  <a:lnTo>
                    <a:pt x="95250" y="247650"/>
                  </a:lnTo>
                  <a:lnTo>
                    <a:pt x="60325" y="279400"/>
                  </a:lnTo>
                  <a:lnTo>
                    <a:pt x="85725" y="323850"/>
                  </a:lnTo>
                  <a:lnTo>
                    <a:pt x="104775" y="349250"/>
                  </a:lnTo>
                  <a:lnTo>
                    <a:pt x="95250" y="381000"/>
                  </a:lnTo>
                  <a:lnTo>
                    <a:pt x="85725" y="428625"/>
                  </a:lnTo>
                  <a:lnTo>
                    <a:pt x="31750" y="444500"/>
                  </a:lnTo>
                  <a:lnTo>
                    <a:pt x="9525" y="476250"/>
                  </a:lnTo>
                  <a:lnTo>
                    <a:pt x="0" y="520700"/>
                  </a:lnTo>
                  <a:lnTo>
                    <a:pt x="15875" y="565150"/>
                  </a:lnTo>
                  <a:lnTo>
                    <a:pt x="28575" y="587375"/>
                  </a:lnTo>
                  <a:lnTo>
                    <a:pt x="63500" y="584200"/>
                  </a:lnTo>
                  <a:lnTo>
                    <a:pt x="76200" y="631825"/>
                  </a:lnTo>
                  <a:lnTo>
                    <a:pt x="92075" y="654050"/>
                  </a:lnTo>
                  <a:lnTo>
                    <a:pt x="114300" y="692150"/>
                  </a:lnTo>
                  <a:lnTo>
                    <a:pt x="107950" y="727075"/>
                  </a:lnTo>
                  <a:lnTo>
                    <a:pt x="133350" y="777875"/>
                  </a:lnTo>
                  <a:lnTo>
                    <a:pt x="130175" y="828675"/>
                  </a:lnTo>
                  <a:lnTo>
                    <a:pt x="127000" y="885825"/>
                  </a:lnTo>
                  <a:close/>
                </a:path>
              </a:pathLst>
            </a:custGeom>
            <a:solidFill>
              <a:sysClr val="window" lastClr="FFFFFF">
                <a:lumMod val="65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0" hangingPunct="0">
                <a:defRPr/>
              </a:pPr>
              <a:endParaRPr lang="uk-UA" sz="1000" u="sng" kern="0" dirty="0">
                <a:solidFill>
                  <a:sysClr val="windowText" lastClr="000000"/>
                </a:solidFill>
                <a:latin typeface="Arial" pitchFamily="34" charset="0"/>
                <a:ea typeface="MS PGothic" pitchFamily="34" charset="-128"/>
                <a:cs typeface="+mn-cs"/>
              </a:endParaRPr>
            </a:p>
          </p:txBody>
        </p:sp>
      </p:grp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MAIN FEATURES FOR INTER-MUNICIPAL COOPERATION</a:t>
            </a:r>
            <a:endParaRPr lang="it-IT" dirty="0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 smtClean="0"/>
              <a:t>Trieste, 13/12/2016</a:t>
            </a:r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smtClean="0"/>
              <a:t>INTERNATIONAL PRACTICES IN INTER-MUNICIPAL COOPERATION</a:t>
            </a:r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D1028-69C3-4FC6-8C6A-2696D319A159}" type="slidenum">
              <a:rPr lang="it-IT" smtClean="0"/>
              <a:pPr/>
              <a:t>12</a:t>
            </a:fld>
            <a:endParaRPr lang="it-IT"/>
          </a:p>
        </p:txBody>
      </p:sp>
    </p:spTree>
    <p:extLst>
      <p:ext uri="{BB962C8B-B14F-4D97-AF65-F5344CB8AC3E}">
        <p14:creationId xmlns="" xmlns:p14="http://schemas.microsoft.com/office/powerpoint/2010/main" val="2397540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 smtClean="0"/>
              <a:t>Trieste, 13/12/2016</a:t>
            </a:r>
            <a:endParaRPr lang="it-IT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smtClean="0"/>
              <a:t>INTERNATIONAL PRACTICES IN INTER-MUNICIPAL COOPERATION</a:t>
            </a:r>
            <a:endParaRPr lang="it-IT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D1028-69C3-4FC6-8C6A-2696D319A159}" type="slidenum">
              <a:rPr lang="it-IT" smtClean="0"/>
              <a:pPr/>
              <a:t>13</a:t>
            </a:fld>
            <a:endParaRPr lang="it-IT"/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1434882" y="1264707"/>
            <a:ext cx="9021455" cy="50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260" tIns="44633" rIns="89260" bIns="44633" anchor="ctr"/>
          <a:lstStyle>
            <a:lvl1pPr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20000"/>
              </a:spcBef>
              <a:spcAft>
                <a:spcPct val="0"/>
              </a:spcAft>
            </a:pPr>
            <a:r>
              <a:rPr lang="uk-UA" altLang="ru-RU" sz="2800" b="1" dirty="0" smtClean="0">
                <a:solidFill>
                  <a:srgbClr val="4F81BD"/>
                </a:solidFill>
                <a:latin typeface="Calibri" pitchFamily="34" charset="0"/>
              </a:rPr>
              <a:t>СОТРУДНИЧЕСТВО ТЕРРИТОРИАЛЬНЫХ ГРОМАД </a:t>
            </a:r>
            <a:endParaRPr lang="uk-UA" altLang="ru-RU" sz="2800" b="1" dirty="0">
              <a:solidFill>
                <a:srgbClr val="4F81BD"/>
              </a:solidFill>
              <a:latin typeface="Calibri" pitchFamily="34" charset="0"/>
            </a:endParaRPr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>
          <a:xfrm>
            <a:off x="156226" y="1738455"/>
            <a:ext cx="4613133" cy="539078"/>
          </a:xfrm>
          <a:prstGeom prst="rect">
            <a:avLst/>
          </a:prstGeom>
          <a:ln>
            <a:noFill/>
          </a:ln>
        </p:spPr>
        <p:txBody>
          <a:bodyPr vert="horz" lIns="89260" tIns="44633" rIns="89260" bIns="44633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fontAlgn="base">
              <a:spcBef>
                <a:spcPts val="0"/>
              </a:spcBef>
              <a:spcAft>
                <a:spcPct val="0"/>
              </a:spcAft>
              <a:buNone/>
              <a:tabLst>
                <a:tab pos="879279" algn="l"/>
              </a:tabLst>
            </a:pPr>
            <a:r>
              <a:rPr lang="ru-RU" sz="2400" b="1" cap="all" dirty="0" err="1" smtClean="0">
                <a:solidFill>
                  <a:srgbClr val="255286"/>
                </a:solidFill>
                <a:latin typeface="Calibri" pitchFamily="34" charset="0"/>
                <a:cs typeface="Arial" pitchFamily="34" charset="0"/>
              </a:rPr>
              <a:t>договорА</a:t>
            </a:r>
            <a:r>
              <a:rPr lang="ru-RU" sz="2400" b="1" cap="all" dirty="0" smtClean="0">
                <a:solidFill>
                  <a:srgbClr val="255286"/>
                </a:solidFill>
                <a:latin typeface="Calibri" pitchFamily="34" charset="0"/>
                <a:cs typeface="Arial" pitchFamily="34" charset="0"/>
              </a:rPr>
              <a:t> </a:t>
            </a:r>
          </a:p>
          <a:p>
            <a:pPr marL="0" lvl="0" indent="0" algn="ctr" fontAlgn="base">
              <a:spcBef>
                <a:spcPts val="0"/>
              </a:spcBef>
              <a:spcAft>
                <a:spcPct val="0"/>
              </a:spcAft>
              <a:buNone/>
              <a:tabLst>
                <a:tab pos="879279" algn="l"/>
              </a:tabLst>
            </a:pPr>
            <a:r>
              <a:rPr lang="ru-RU" sz="2400" b="1" cap="all" dirty="0" smtClean="0">
                <a:solidFill>
                  <a:srgbClr val="255286"/>
                </a:solidFill>
                <a:latin typeface="Calibri" pitchFamily="34" charset="0"/>
                <a:cs typeface="Arial" pitchFamily="34" charset="0"/>
              </a:rPr>
              <a:t>о   СОТРУДНИЧЕСТВЕ</a:t>
            </a:r>
            <a:endParaRPr lang="en-US" altLang="ru-RU" sz="2400" b="1" dirty="0">
              <a:solidFill>
                <a:srgbClr val="255286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7197953" y="1836234"/>
            <a:ext cx="3496239" cy="482476"/>
          </a:xfrm>
          <a:prstGeom prst="rect">
            <a:avLst/>
          </a:prstGeom>
          <a:ln>
            <a:noFill/>
          </a:ln>
        </p:spPr>
        <p:txBody>
          <a:bodyPr vert="horz" lIns="89260" tIns="44633" rIns="89260" bIns="44633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fontAlgn="base">
              <a:spcBef>
                <a:spcPts val="0"/>
              </a:spcBef>
              <a:spcAft>
                <a:spcPct val="0"/>
              </a:spcAft>
              <a:buNone/>
              <a:tabLst>
                <a:tab pos="879279" algn="l"/>
              </a:tabLst>
            </a:pPr>
            <a:r>
              <a:rPr lang="ru-RU" sz="2800" cap="all" dirty="0" smtClean="0">
                <a:solidFill>
                  <a:srgbClr val="255286"/>
                </a:solidFill>
                <a:latin typeface="Calibri" pitchFamily="34" charset="0"/>
                <a:cs typeface="Arial" pitchFamily="34" charset="0"/>
              </a:rPr>
              <a:t>ТЕРРИТОРИАЛЬНЫХ </a:t>
            </a:r>
            <a:r>
              <a:rPr lang="ru-RU" sz="2800" cap="all" dirty="0">
                <a:solidFill>
                  <a:srgbClr val="255286"/>
                </a:solidFill>
                <a:latin typeface="Calibri" pitchFamily="34" charset="0"/>
                <a:cs typeface="Arial" pitchFamily="34" charset="0"/>
              </a:rPr>
              <a:t>громад</a:t>
            </a:r>
          </a:p>
        </p:txBody>
      </p:sp>
      <p:grpSp>
        <p:nvGrpSpPr>
          <p:cNvPr id="2" name="Групувати 135"/>
          <p:cNvGrpSpPr/>
          <p:nvPr/>
        </p:nvGrpSpPr>
        <p:grpSpPr>
          <a:xfrm>
            <a:off x="1678108" y="2373113"/>
            <a:ext cx="1463025" cy="801887"/>
            <a:chOff x="3241985" y="432048"/>
            <a:chExt cx="1379212" cy="1440160"/>
          </a:xfrm>
          <a:solidFill>
            <a:schemeClr val="accent6">
              <a:lumMod val="75000"/>
            </a:schemeClr>
          </a:solidFill>
        </p:grpSpPr>
        <p:sp>
          <p:nvSpPr>
            <p:cNvPr id="11" name="Овал 10"/>
            <p:cNvSpPr/>
            <p:nvPr/>
          </p:nvSpPr>
          <p:spPr>
            <a:xfrm>
              <a:off x="3241985" y="432048"/>
              <a:ext cx="1379212" cy="1440160"/>
            </a:xfrm>
            <a:prstGeom prst="ellipse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</p:sp>
        <p:sp>
          <p:nvSpPr>
            <p:cNvPr id="12" name="Овал 4"/>
            <p:cNvSpPr/>
            <p:nvPr/>
          </p:nvSpPr>
          <p:spPr>
            <a:xfrm>
              <a:off x="3441955" y="569667"/>
              <a:ext cx="964574" cy="106940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algn="ctr"/>
              <a:r>
                <a:rPr lang="uk-UA" sz="4800" dirty="0" smtClean="0"/>
                <a:t>43</a:t>
              </a:r>
              <a:endParaRPr lang="uk-UA" sz="4800" dirty="0"/>
            </a:p>
          </p:txBody>
        </p:sp>
      </p:grpSp>
      <p:sp>
        <p:nvSpPr>
          <p:cNvPr id="13" name="Пятиугольник 16"/>
          <p:cNvSpPr/>
          <p:nvPr/>
        </p:nvSpPr>
        <p:spPr>
          <a:xfrm>
            <a:off x="1651000" y="2904943"/>
            <a:ext cx="1605664" cy="354724"/>
          </a:xfrm>
          <a:prstGeom prst="homePlate">
            <a:avLst>
              <a:gd name="adj" fmla="val 1098"/>
            </a:avLst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uk-UA" sz="1600" b="1" dirty="0" smtClean="0">
                <a:solidFill>
                  <a:schemeClr val="tx1"/>
                </a:solidFill>
              </a:rPr>
              <a:t>внесено </a:t>
            </a:r>
            <a:r>
              <a:rPr lang="uk-UA" sz="1600" b="1" dirty="0">
                <a:solidFill>
                  <a:schemeClr val="tx1"/>
                </a:solidFill>
              </a:rPr>
              <a:t>в</a:t>
            </a:r>
            <a:r>
              <a:rPr lang="uk-UA" sz="1600" b="1" dirty="0" smtClean="0">
                <a:solidFill>
                  <a:schemeClr val="tx1"/>
                </a:solidFill>
              </a:rPr>
              <a:t> </a:t>
            </a:r>
            <a:r>
              <a:rPr lang="uk-UA" sz="1600" b="1" dirty="0" err="1" smtClean="0">
                <a:solidFill>
                  <a:schemeClr val="tx1"/>
                </a:solidFill>
              </a:rPr>
              <a:t>реестр</a:t>
            </a:r>
            <a:r>
              <a:rPr lang="uk-UA" sz="1600" b="1" dirty="0" smtClean="0">
                <a:solidFill>
                  <a:schemeClr val="tx1"/>
                </a:solidFill>
              </a:rPr>
              <a:t> </a:t>
            </a:r>
            <a:endParaRPr lang="ru-RU" sz="1600" b="1" i="1" dirty="0">
              <a:solidFill>
                <a:schemeClr val="tx1"/>
              </a:solidFill>
            </a:endParaRPr>
          </a:p>
        </p:txBody>
      </p:sp>
      <p:sp>
        <p:nvSpPr>
          <p:cNvPr id="14" name="Прямокутник 2"/>
          <p:cNvSpPr/>
          <p:nvPr/>
        </p:nvSpPr>
        <p:spPr bwMode="auto">
          <a:xfrm>
            <a:off x="3634166" y="2479907"/>
            <a:ext cx="3685910" cy="720091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uk-UA" sz="2200" b="1" dirty="0" err="1" smtClean="0">
                <a:solidFill>
                  <a:schemeClr val="bg1"/>
                </a:solidFill>
                <a:latin typeface="Arial" pitchFamily="34" charset="0"/>
                <a:ea typeface="MS PGothic" pitchFamily="34" charset="-128"/>
              </a:rPr>
              <a:t>основные</a:t>
            </a:r>
            <a:r>
              <a:rPr lang="uk-UA" sz="2200" b="1" dirty="0" smtClean="0">
                <a:solidFill>
                  <a:schemeClr val="bg1"/>
                </a:solidFill>
                <a:latin typeface="Arial" pitchFamily="34" charset="0"/>
                <a:ea typeface="MS PGothic" pitchFamily="34" charset="-128"/>
              </a:rPr>
              <a:t> </a:t>
            </a:r>
            <a:r>
              <a:rPr lang="uk-UA" sz="2200" b="1" dirty="0" err="1" smtClean="0">
                <a:solidFill>
                  <a:schemeClr val="bg1"/>
                </a:solidFill>
                <a:latin typeface="Arial" pitchFamily="34" charset="0"/>
                <a:ea typeface="MS PGothic" pitchFamily="34" charset="-128"/>
              </a:rPr>
              <a:t>направления</a:t>
            </a:r>
            <a:endParaRPr kumimoji="0" lang="uk-UA" sz="2200" b="1" i="0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ea typeface="MS PGothic" pitchFamily="34" charset="-128"/>
            </a:endParaRPr>
          </a:p>
        </p:txBody>
      </p:sp>
      <p:grpSp>
        <p:nvGrpSpPr>
          <p:cNvPr id="3" name="Групувати 16"/>
          <p:cNvGrpSpPr/>
          <p:nvPr/>
        </p:nvGrpSpPr>
        <p:grpSpPr>
          <a:xfrm>
            <a:off x="8336714" y="2451818"/>
            <a:ext cx="1594686" cy="833249"/>
            <a:chOff x="3241985" y="432048"/>
            <a:chExt cx="1379212" cy="1440160"/>
          </a:xfrm>
          <a:solidFill>
            <a:schemeClr val="accent6">
              <a:lumMod val="75000"/>
            </a:schemeClr>
          </a:solidFill>
        </p:grpSpPr>
        <p:sp>
          <p:nvSpPr>
            <p:cNvPr id="16" name="Овал 15"/>
            <p:cNvSpPr/>
            <p:nvPr/>
          </p:nvSpPr>
          <p:spPr>
            <a:xfrm>
              <a:off x="3241985" y="432048"/>
              <a:ext cx="1379212" cy="1440160"/>
            </a:xfrm>
            <a:prstGeom prst="ellipse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</p:sp>
        <p:sp>
          <p:nvSpPr>
            <p:cNvPr id="17" name="Овал 4"/>
            <p:cNvSpPr/>
            <p:nvPr/>
          </p:nvSpPr>
          <p:spPr>
            <a:xfrm>
              <a:off x="3441955" y="693005"/>
              <a:ext cx="964574" cy="968295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algn="ctr"/>
              <a:r>
                <a:rPr lang="uk-UA" sz="4400" dirty="0" smtClean="0"/>
                <a:t>273</a:t>
              </a:r>
              <a:endParaRPr lang="uk-UA" dirty="0"/>
            </a:p>
          </p:txBody>
        </p:sp>
      </p:grpSp>
      <p:sp>
        <p:nvSpPr>
          <p:cNvPr id="18" name="Прямокутник 26"/>
          <p:cNvSpPr/>
          <p:nvPr/>
        </p:nvSpPr>
        <p:spPr bwMode="auto">
          <a:xfrm>
            <a:off x="199810" y="3297395"/>
            <a:ext cx="4361343" cy="688142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>
              <a:defRPr/>
            </a:pPr>
            <a:r>
              <a:rPr lang="ru-RU" sz="1500" b="1" dirty="0" smtClean="0">
                <a:solidFill>
                  <a:schemeClr val="bg1"/>
                </a:solidFill>
              </a:rPr>
              <a:t>улучшение инфраструктуры и экологического состояния сельских территорий</a:t>
            </a:r>
            <a:endParaRPr lang="ru-RU" sz="1500" b="1" dirty="0">
              <a:solidFill>
                <a:schemeClr val="bg1"/>
              </a:solidFill>
            </a:endParaRPr>
          </a:p>
        </p:txBody>
      </p:sp>
      <p:sp>
        <p:nvSpPr>
          <p:cNvPr id="19" name="Прямокутник 28"/>
          <p:cNvSpPr/>
          <p:nvPr/>
        </p:nvSpPr>
        <p:spPr bwMode="auto">
          <a:xfrm>
            <a:off x="215497" y="3882013"/>
            <a:ext cx="4339570" cy="977854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>
              <a:defRPr/>
            </a:pPr>
            <a:r>
              <a:rPr lang="ru-RU" sz="1400" b="1" dirty="0">
                <a:solidFill>
                  <a:schemeClr val="bg1"/>
                </a:solidFill>
              </a:rPr>
              <a:t>создание комплекса гидротехнических сооружений для обеспечения защиты населенных пунктов от последствий </a:t>
            </a:r>
            <a:r>
              <a:rPr lang="ru-RU" sz="1400" b="1" dirty="0" smtClean="0">
                <a:solidFill>
                  <a:schemeClr val="bg1"/>
                </a:solidFill>
              </a:rPr>
              <a:t>катастрофических наводнений</a:t>
            </a:r>
            <a:endParaRPr lang="ru-RU" sz="1400" b="1" i="1" dirty="0">
              <a:solidFill>
                <a:schemeClr val="bg1"/>
              </a:solidFill>
            </a:endParaRPr>
          </a:p>
        </p:txBody>
      </p:sp>
      <p:sp>
        <p:nvSpPr>
          <p:cNvPr id="20" name="Прямокутник 34"/>
          <p:cNvSpPr/>
          <p:nvPr/>
        </p:nvSpPr>
        <p:spPr bwMode="auto">
          <a:xfrm>
            <a:off x="213928" y="4610732"/>
            <a:ext cx="4366539" cy="664001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>
              <a:defRPr/>
            </a:pPr>
            <a:r>
              <a:rPr lang="uk-UA" sz="1400" b="1" dirty="0" err="1">
                <a:solidFill>
                  <a:schemeClr val="bg1"/>
                </a:solidFill>
              </a:rPr>
              <a:t>создание</a:t>
            </a:r>
            <a:r>
              <a:rPr lang="uk-UA" sz="1400" b="1" dirty="0">
                <a:solidFill>
                  <a:schemeClr val="bg1"/>
                </a:solidFill>
              </a:rPr>
              <a:t> </a:t>
            </a:r>
            <a:r>
              <a:rPr lang="ru-RU" sz="1400" b="1" dirty="0">
                <a:solidFill>
                  <a:schemeClr val="bg1"/>
                </a:solidFill>
              </a:rPr>
              <a:t>и содержания общих коммунальных предприятий</a:t>
            </a:r>
          </a:p>
        </p:txBody>
      </p:sp>
      <p:sp>
        <p:nvSpPr>
          <p:cNvPr id="21" name="Прямокутник 27"/>
          <p:cNvSpPr/>
          <p:nvPr/>
        </p:nvSpPr>
        <p:spPr bwMode="auto">
          <a:xfrm>
            <a:off x="207601" y="5225207"/>
            <a:ext cx="4398025" cy="644679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hangingPunct="0">
              <a:defRPr/>
            </a:pPr>
            <a:r>
              <a:rPr lang="ru-RU" sz="1400" b="1" dirty="0" smtClean="0">
                <a:solidFill>
                  <a:schemeClr val="bg1"/>
                </a:solidFill>
              </a:rPr>
              <a:t>создание надлежащей спортивной инфраструктуры</a:t>
            </a:r>
            <a:endParaRPr lang="uk-UA" sz="1400" b="1" dirty="0" smtClean="0">
              <a:solidFill>
                <a:schemeClr val="bg1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2000" b="1" dirty="0" smtClean="0">
                <a:solidFill>
                  <a:schemeClr val="bg1"/>
                </a:solidFill>
                <a:latin typeface="Arial" pitchFamily="34" charset="0"/>
                <a:ea typeface="MS PGothic" pitchFamily="34" charset="-128"/>
              </a:rPr>
              <a:t> </a:t>
            </a:r>
            <a:endParaRPr lang="uk-UA" sz="2400" b="1" dirty="0">
              <a:solidFill>
                <a:schemeClr val="bg1"/>
              </a:solidFill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22" name="Прямокутник 38"/>
          <p:cNvSpPr/>
          <p:nvPr/>
        </p:nvSpPr>
        <p:spPr bwMode="auto">
          <a:xfrm>
            <a:off x="221085" y="5600037"/>
            <a:ext cx="4387990" cy="70291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hangingPunct="0">
              <a:defRPr/>
            </a:pPr>
            <a:r>
              <a:rPr lang="ru-RU" sz="1400" b="1" dirty="0">
                <a:solidFill>
                  <a:schemeClr val="bg1"/>
                </a:solidFill>
              </a:rPr>
              <a:t>приобретение мусоровозов и контейнеров для сбора и вывоза твердых бытовых </a:t>
            </a:r>
            <a:r>
              <a:rPr lang="uk-UA" sz="1400" b="1" dirty="0" err="1">
                <a:solidFill>
                  <a:schemeClr val="bg1"/>
                </a:solidFill>
              </a:rPr>
              <a:t>отходов</a:t>
            </a:r>
            <a:endParaRPr lang="uk-UA" sz="1400" b="1" dirty="0">
              <a:solidFill>
                <a:schemeClr val="bg1"/>
              </a:solidFill>
            </a:endParaRPr>
          </a:p>
        </p:txBody>
      </p:sp>
      <p:sp>
        <p:nvSpPr>
          <p:cNvPr id="23" name="Прямокутник 31"/>
          <p:cNvSpPr/>
          <p:nvPr/>
        </p:nvSpPr>
        <p:spPr bwMode="auto">
          <a:xfrm>
            <a:off x="6649237" y="3262574"/>
            <a:ext cx="4803975" cy="672162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chemeClr val="bg1"/>
                </a:solidFill>
                <a:latin typeface="Arial" pitchFamily="34" charset="0"/>
                <a:ea typeface="MS PGothic" pitchFamily="34" charset="-128"/>
              </a:rPr>
              <a:t>совместное финансирование (содержание) местной пожарной охраны</a:t>
            </a:r>
            <a:endParaRPr lang="ru-RU" b="1" dirty="0">
              <a:solidFill>
                <a:schemeClr val="bg1"/>
              </a:solidFill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24" name="Прямокутник 36"/>
          <p:cNvSpPr/>
          <p:nvPr/>
        </p:nvSpPr>
        <p:spPr bwMode="auto">
          <a:xfrm>
            <a:off x="6651089" y="3882013"/>
            <a:ext cx="4803970" cy="932722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ru-RU" sz="1500" b="1" dirty="0">
                <a:solidFill>
                  <a:schemeClr val="bg1"/>
                </a:solidFill>
                <a:ea typeface="MS PGothic" pitchFamily="34" charset="-128"/>
              </a:rPr>
              <a:t>реализация совместных проектов по реконструкции дошкольных учебных заведений и улучшения социально-экономического </a:t>
            </a:r>
            <a:r>
              <a:rPr lang="ru-RU" sz="1500" b="1" dirty="0" smtClean="0">
                <a:solidFill>
                  <a:schemeClr val="bg1"/>
                </a:solidFill>
                <a:ea typeface="MS PGothic" pitchFamily="34" charset="-128"/>
              </a:rPr>
              <a:t>состояния</a:t>
            </a:r>
            <a:r>
              <a:rPr lang="uk-UA" sz="1500" b="1" dirty="0" smtClean="0">
                <a:solidFill>
                  <a:schemeClr val="bg1"/>
                </a:solidFill>
                <a:ea typeface="MS PGothic" pitchFamily="34" charset="-128"/>
              </a:rPr>
              <a:t> </a:t>
            </a:r>
            <a:r>
              <a:rPr lang="uk-UA" sz="1500" b="1" dirty="0" err="1" smtClean="0">
                <a:solidFill>
                  <a:schemeClr val="bg1"/>
                </a:solidFill>
                <a:ea typeface="MS PGothic" pitchFamily="34" charset="-128"/>
              </a:rPr>
              <a:t>сельских</a:t>
            </a:r>
            <a:r>
              <a:rPr lang="uk-UA" sz="1500" b="1" dirty="0" smtClean="0">
                <a:solidFill>
                  <a:schemeClr val="bg1"/>
                </a:solidFill>
                <a:ea typeface="MS PGothic" pitchFamily="34" charset="-128"/>
              </a:rPr>
              <a:t> </a:t>
            </a:r>
            <a:r>
              <a:rPr lang="uk-UA" sz="1500" b="1" dirty="0" err="1" smtClean="0">
                <a:solidFill>
                  <a:schemeClr val="bg1"/>
                </a:solidFill>
                <a:ea typeface="MS PGothic" pitchFamily="34" charset="-128"/>
              </a:rPr>
              <a:t>территорий</a:t>
            </a:r>
            <a:endParaRPr lang="uk-UA" sz="1500" b="1" dirty="0">
              <a:solidFill>
                <a:schemeClr val="bg1"/>
              </a:solidFill>
              <a:ea typeface="MS PGothic" pitchFamily="34" charset="-128"/>
            </a:endParaRPr>
          </a:p>
        </p:txBody>
      </p:sp>
      <p:sp>
        <p:nvSpPr>
          <p:cNvPr id="25" name="Прямокутник 37"/>
          <p:cNvSpPr/>
          <p:nvPr/>
        </p:nvSpPr>
        <p:spPr bwMode="auto">
          <a:xfrm>
            <a:off x="6666177" y="4830864"/>
            <a:ext cx="4792054" cy="795471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ru-RU" sz="1500" b="1" dirty="0">
                <a:solidFill>
                  <a:schemeClr val="bg1"/>
                </a:solidFill>
                <a:ea typeface="MS PGothic" pitchFamily="34" charset="-128"/>
              </a:rPr>
              <a:t>обеспечение сбора и перевозки твердых бытовых отходов и строительство полигона </a:t>
            </a:r>
            <a:r>
              <a:rPr lang="ru-RU" sz="1500" b="1" dirty="0" smtClean="0">
                <a:solidFill>
                  <a:schemeClr val="bg1"/>
                </a:solidFill>
                <a:ea typeface="MS PGothic" pitchFamily="34" charset="-128"/>
              </a:rPr>
              <a:t>для хранения твердых </a:t>
            </a:r>
            <a:r>
              <a:rPr lang="ru-RU" sz="1500" b="1" dirty="0">
                <a:solidFill>
                  <a:schemeClr val="bg1"/>
                </a:solidFill>
                <a:ea typeface="MS PGothic" pitchFamily="34" charset="-128"/>
              </a:rPr>
              <a:t>бытовых отходов</a:t>
            </a:r>
            <a:endParaRPr lang="uk-UA" sz="1500" b="1" dirty="0">
              <a:solidFill>
                <a:schemeClr val="bg1"/>
              </a:solidFill>
              <a:ea typeface="MS PGothic" pitchFamily="34" charset="-128"/>
            </a:endParaRPr>
          </a:p>
        </p:txBody>
      </p:sp>
      <p:sp>
        <p:nvSpPr>
          <p:cNvPr id="26" name="Прямокутник 30"/>
          <p:cNvSpPr/>
          <p:nvPr/>
        </p:nvSpPr>
        <p:spPr bwMode="auto">
          <a:xfrm>
            <a:off x="6666178" y="5567949"/>
            <a:ext cx="4797690" cy="58731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ru-RU" sz="1500" b="1" dirty="0">
                <a:solidFill>
                  <a:schemeClr val="bg1"/>
                </a:solidFill>
                <a:ea typeface="MS PGothic" pitchFamily="34" charset="-128"/>
              </a:rPr>
              <a:t>проведение ремонта дорог для обеспечения надлежащих условий движения транспорта</a:t>
            </a:r>
          </a:p>
        </p:txBody>
      </p:sp>
      <p:sp>
        <p:nvSpPr>
          <p:cNvPr id="27" name="Прямокутник 29"/>
          <p:cNvSpPr/>
          <p:nvPr/>
        </p:nvSpPr>
        <p:spPr bwMode="auto">
          <a:xfrm>
            <a:off x="7789333" y="6133530"/>
            <a:ext cx="3141134" cy="57207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>
              <a:defRPr/>
            </a:pPr>
            <a:r>
              <a:rPr lang="ru-RU" sz="1600" b="1" dirty="0" smtClean="0">
                <a:solidFill>
                  <a:schemeClr val="bg1"/>
                </a:solidFill>
              </a:rPr>
              <a:t>газификация населенных пунктов</a:t>
            </a:r>
            <a:endParaRPr lang="ru-RU" sz="1600" b="1" i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it-IT" dirty="0" smtClean="0"/>
              <a:t>ANALYSIS AND PROCESSES ENACTED PRIOR TO THE INTER-MUNICIPAL COOPERATION (REFORM)</a:t>
            </a:r>
            <a:endParaRPr lang="it-IT" dirty="0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 smtClean="0"/>
              <a:t>Trieste, 13/12/2016</a:t>
            </a:r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smtClean="0"/>
              <a:t>INTERNATIONAL PRACTICES IN INTER-MUNICIPAL COOPERATION</a:t>
            </a:r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D1028-69C3-4FC6-8C6A-2696D319A159}" type="slidenum">
              <a:rPr lang="it-IT" smtClean="0"/>
              <a:pPr/>
              <a:t>14</a:t>
            </a:fld>
            <a:endParaRPr lang="it-IT"/>
          </a:p>
        </p:txBody>
      </p:sp>
    </p:spTree>
    <p:extLst>
      <p:ext uri="{BB962C8B-B14F-4D97-AF65-F5344CB8AC3E}">
        <p14:creationId xmlns="" xmlns:p14="http://schemas.microsoft.com/office/powerpoint/2010/main" val="338153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 smtClean="0"/>
              <a:t>Trieste, 13/12/2016</a:t>
            </a:r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smtClean="0"/>
              <a:t>INTERNATIONAL PRACTICES IN INTER-MUNICIPAL COOPERATION</a:t>
            </a:r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D1028-69C3-4FC6-8C6A-2696D319A159}" type="slidenum">
              <a:rPr lang="it-IT" smtClean="0"/>
              <a:pPr/>
              <a:t>15</a:t>
            </a:fld>
            <a:endParaRPr lang="it-IT"/>
          </a:p>
        </p:txBody>
      </p:sp>
      <p:sp>
        <p:nvSpPr>
          <p:cNvPr id="13" name="Прямоугольник 12"/>
          <p:cNvSpPr/>
          <p:nvPr/>
        </p:nvSpPr>
        <p:spPr>
          <a:xfrm>
            <a:off x="115854" y="1158852"/>
            <a:ext cx="742955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2000" b="1" dirty="0" smtClean="0"/>
              <a:t>Принципы сотрудничества </a:t>
            </a:r>
          </a:p>
          <a:p>
            <a:r>
              <a:rPr lang="ru-RU" altLang="ru-RU" dirty="0" smtClean="0"/>
              <a:t>Сотрудничество территориальных громад основывается на принципах:</a:t>
            </a:r>
            <a:endParaRPr lang="ru-RU" altLang="ru-RU" dirty="0"/>
          </a:p>
        </p:txBody>
      </p:sp>
      <p:sp>
        <p:nvSpPr>
          <p:cNvPr id="15" name="Скругленный прямоугольник 14"/>
          <p:cNvSpPr/>
          <p:nvPr>
            <p:custDataLst>
              <p:tags r:id="rId1"/>
            </p:custDataLst>
          </p:nvPr>
        </p:nvSpPr>
        <p:spPr>
          <a:xfrm>
            <a:off x="256862" y="1999191"/>
            <a:ext cx="2016224" cy="936104"/>
          </a:xfrm>
          <a:prstGeom prst="round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spc="50" dirty="0" smtClean="0">
                <a:ln w="11430"/>
                <a:solidFill>
                  <a:schemeClr val="tx1"/>
                </a:solidFill>
              </a:rPr>
              <a:t>ЗАКОННОСТИ</a:t>
            </a:r>
            <a:endParaRPr lang="ru-RU" sz="1400" b="1" spc="50" dirty="0">
              <a:ln w="11430"/>
              <a:solidFill>
                <a:schemeClr val="tx1"/>
              </a:solidFill>
            </a:endParaRPr>
          </a:p>
        </p:txBody>
      </p:sp>
      <p:sp>
        <p:nvSpPr>
          <p:cNvPr id="16" name="Скругленный прямоугольник 15"/>
          <p:cNvSpPr/>
          <p:nvPr>
            <p:custDataLst>
              <p:tags r:id="rId2"/>
            </p:custDataLst>
          </p:nvPr>
        </p:nvSpPr>
        <p:spPr>
          <a:xfrm>
            <a:off x="265328" y="3473492"/>
            <a:ext cx="2016224" cy="936104"/>
          </a:xfrm>
          <a:prstGeom prst="round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spc="50" dirty="0" smtClean="0">
                <a:ln w="11430"/>
                <a:solidFill>
                  <a:schemeClr val="tx1"/>
                </a:solidFill>
              </a:rPr>
              <a:t>ДОБРОВОЛЬНОСТИ</a:t>
            </a:r>
            <a:endParaRPr lang="ru-RU" sz="1400" b="1" spc="50" dirty="0">
              <a:ln w="11430"/>
              <a:solidFill>
                <a:schemeClr val="tx1"/>
              </a:solidFill>
            </a:endParaRPr>
          </a:p>
        </p:txBody>
      </p:sp>
      <p:sp>
        <p:nvSpPr>
          <p:cNvPr id="17" name="Скругленный прямоугольник 16"/>
          <p:cNvSpPr/>
          <p:nvPr>
            <p:custDataLst>
              <p:tags r:id="rId3"/>
            </p:custDataLst>
          </p:nvPr>
        </p:nvSpPr>
        <p:spPr>
          <a:xfrm>
            <a:off x="282262" y="4982881"/>
            <a:ext cx="2016224" cy="936104"/>
          </a:xfrm>
          <a:prstGeom prst="round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spc="50" dirty="0" smtClean="0">
                <a:ln w="11430"/>
                <a:solidFill>
                  <a:schemeClr val="tx1"/>
                </a:solidFill>
              </a:rPr>
              <a:t>ВЗАИМНОЙ ВЫГОДЫ</a:t>
            </a:r>
            <a:endParaRPr lang="ru-RU" sz="1400" b="1" spc="50" dirty="0">
              <a:ln w="11430"/>
              <a:solidFill>
                <a:schemeClr val="tx1"/>
              </a:solidFill>
            </a:endParaRPr>
          </a:p>
        </p:txBody>
      </p:sp>
      <p:pic>
        <p:nvPicPr>
          <p:cNvPr id="18" name="Рисунок 1"/>
          <p:cNvPicPr>
            <a:picLocks noChangeAspect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711979" y="1896532"/>
            <a:ext cx="1876421" cy="10149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Рисунок 22"/>
          <p:cNvPicPr>
            <a:picLocks noChangeAspect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883959" y="3302000"/>
            <a:ext cx="1425575" cy="1198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Рисунок 21"/>
          <p:cNvPicPr>
            <a:picLocks noChangeAspect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655888" y="4809066"/>
            <a:ext cx="2111375" cy="12234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4-конечная звезда 20"/>
          <p:cNvSpPr/>
          <p:nvPr>
            <p:custDataLst>
              <p:tags r:id="rId4"/>
            </p:custDataLst>
          </p:nvPr>
        </p:nvSpPr>
        <p:spPr>
          <a:xfrm flipH="1">
            <a:off x="5562069" y="1786466"/>
            <a:ext cx="288925" cy="4289955"/>
          </a:xfrm>
          <a:prstGeom prst="star4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22" name="Скругленный прямоугольник 21"/>
          <p:cNvSpPr/>
          <p:nvPr>
            <p:custDataLst>
              <p:tags r:id="rId5"/>
            </p:custDataLst>
          </p:nvPr>
        </p:nvSpPr>
        <p:spPr>
          <a:xfrm>
            <a:off x="9755088" y="1882718"/>
            <a:ext cx="2088232" cy="936104"/>
          </a:xfrm>
          <a:prstGeom prst="round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spc="50" dirty="0" smtClean="0">
                <a:ln w="11430"/>
                <a:solidFill>
                  <a:schemeClr val="tx1"/>
                </a:solidFill>
              </a:rPr>
              <a:t>ПРОЗРАЧНОСТИ И ОТКРЫТОСТИ</a:t>
            </a:r>
            <a:endParaRPr lang="ru-RU" sz="1400" b="1" spc="50" dirty="0">
              <a:ln w="11430"/>
              <a:solidFill>
                <a:schemeClr val="tx1"/>
              </a:solidFill>
            </a:endParaRPr>
          </a:p>
        </p:txBody>
      </p:sp>
      <p:sp>
        <p:nvSpPr>
          <p:cNvPr id="23" name="Скругленный прямоугольник 22"/>
          <p:cNvSpPr/>
          <p:nvPr>
            <p:custDataLst>
              <p:tags r:id="rId6"/>
            </p:custDataLst>
          </p:nvPr>
        </p:nvSpPr>
        <p:spPr>
          <a:xfrm>
            <a:off x="9746622" y="3363426"/>
            <a:ext cx="2088232" cy="936104"/>
          </a:xfrm>
          <a:prstGeom prst="round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spc="50" dirty="0" smtClean="0">
                <a:ln w="11430"/>
                <a:solidFill>
                  <a:schemeClr val="tx1"/>
                </a:solidFill>
              </a:rPr>
              <a:t>РАВНОПРАВИЯ УЧАСТНИКОВ</a:t>
            </a:r>
            <a:endParaRPr lang="ru-RU" sz="1400" b="1" spc="50" dirty="0">
              <a:ln w="11430"/>
              <a:solidFill>
                <a:schemeClr val="tx1"/>
              </a:solidFill>
            </a:endParaRPr>
          </a:p>
        </p:txBody>
      </p:sp>
      <p:sp>
        <p:nvSpPr>
          <p:cNvPr id="24" name="Скругленный прямоугольник 23"/>
          <p:cNvSpPr/>
          <p:nvPr>
            <p:custDataLst>
              <p:tags r:id="rId7"/>
            </p:custDataLst>
          </p:nvPr>
        </p:nvSpPr>
        <p:spPr>
          <a:xfrm>
            <a:off x="9670339" y="4943173"/>
            <a:ext cx="2262286" cy="936104"/>
          </a:xfrm>
          <a:prstGeom prst="round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spc="50" dirty="0" smtClean="0">
                <a:ln w="11430"/>
                <a:solidFill>
                  <a:schemeClr val="tx1"/>
                </a:solidFill>
              </a:rPr>
              <a:t>ВЗАИМНОЙ ОТВЕТСТВЕННОСТИ </a:t>
            </a:r>
            <a:r>
              <a:rPr lang="ru-RU" sz="1400" b="1" spc="50" dirty="0">
                <a:ln w="11430"/>
                <a:solidFill>
                  <a:schemeClr val="tx1"/>
                </a:solidFill>
              </a:rPr>
              <a:t>ЗА </a:t>
            </a:r>
            <a:r>
              <a:rPr lang="ru-RU" sz="1400" b="1" spc="50" dirty="0" smtClean="0">
                <a:ln w="11430"/>
                <a:solidFill>
                  <a:schemeClr val="tx1"/>
                </a:solidFill>
              </a:rPr>
              <a:t>РЕЗУЛЬТАТЫ</a:t>
            </a:r>
            <a:endParaRPr lang="ru-RU" sz="1400" b="1" spc="50" dirty="0">
              <a:ln w="11430"/>
              <a:solidFill>
                <a:schemeClr val="tx1"/>
              </a:solidFill>
            </a:endParaRPr>
          </a:p>
        </p:txBody>
      </p:sp>
      <p:pic>
        <p:nvPicPr>
          <p:cNvPr id="25" name="Рисунок 23"/>
          <p:cNvPicPr>
            <a:picLocks noChangeAspect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868583" y="4631267"/>
            <a:ext cx="2128838" cy="1386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" name="Рисунок 19"/>
          <p:cNvPicPr>
            <a:picLocks noChangeAspect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018867" y="3158067"/>
            <a:ext cx="1811338" cy="11599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" name="Рисунок 20"/>
          <p:cNvPicPr>
            <a:picLocks noChangeAspect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7138458" y="1744132"/>
            <a:ext cx="1781175" cy="980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288220200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 smtClean="0"/>
              <a:t>Trieste, 13/12/2016</a:t>
            </a:r>
            <a:endParaRPr lang="it-IT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smtClean="0"/>
              <a:t>INTERNATIONAL PRACTICES IN INTER-MUNICIPAL COOPERATION</a:t>
            </a:r>
            <a:endParaRPr lang="it-IT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D1028-69C3-4FC6-8C6A-2696D319A159}" type="slidenum">
              <a:rPr lang="it-IT" smtClean="0"/>
              <a:pPr/>
              <a:t>16</a:t>
            </a:fld>
            <a:endParaRPr lang="it-IT"/>
          </a:p>
        </p:txBody>
      </p:sp>
      <p:sp>
        <p:nvSpPr>
          <p:cNvPr id="7" name="Прямоугольник 6"/>
          <p:cNvSpPr/>
          <p:nvPr/>
        </p:nvSpPr>
        <p:spPr>
          <a:xfrm>
            <a:off x="2278997" y="1251985"/>
            <a:ext cx="748883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uk-UA" sz="2000" b="1" dirty="0">
                <a:solidFill>
                  <a:schemeClr val="accent1">
                    <a:lumMod val="75000"/>
                  </a:schemeClr>
                </a:solidFill>
                <a:latin typeface="Georgia" pitchFamily="18" charset="0"/>
              </a:rPr>
              <a:t>ЦЕЛЬ </a:t>
            </a:r>
            <a:r>
              <a:rPr lang="uk-UA" sz="2000" b="1" dirty="0" err="1" smtClean="0">
                <a:solidFill>
                  <a:schemeClr val="accent1">
                    <a:lumMod val="75000"/>
                  </a:schemeClr>
                </a:solidFill>
                <a:latin typeface="Georgia" pitchFamily="18" charset="0"/>
              </a:rPr>
              <a:t>принятия</a:t>
            </a:r>
            <a:r>
              <a:rPr lang="uk-UA" sz="2000" b="1" dirty="0" smtClean="0">
                <a:solidFill>
                  <a:schemeClr val="accent1">
                    <a:lumMod val="75000"/>
                  </a:schemeClr>
                </a:solidFill>
                <a:latin typeface="Georgia" pitchFamily="18" charset="0"/>
              </a:rPr>
              <a:t> </a:t>
            </a:r>
            <a:r>
              <a:rPr lang="ru-RU" sz="2000" b="1" dirty="0" smtClean="0">
                <a:solidFill>
                  <a:schemeClr val="accent1">
                    <a:lumMod val="75000"/>
                  </a:schemeClr>
                </a:solidFill>
                <a:latin typeface="Georgia" pitchFamily="18" charset="0"/>
              </a:rPr>
              <a:t>Закона </a:t>
            </a:r>
            <a:r>
              <a:rPr lang="ru-RU" sz="2000" b="1" dirty="0">
                <a:solidFill>
                  <a:schemeClr val="accent1">
                    <a:lumMod val="75000"/>
                  </a:schemeClr>
                </a:solidFill>
                <a:latin typeface="Georgia" pitchFamily="18" charset="0"/>
              </a:rPr>
              <a:t>Украины </a:t>
            </a:r>
            <a:endParaRPr lang="ru-RU" sz="2000" b="1" dirty="0" smtClean="0">
              <a:solidFill>
                <a:schemeClr val="accent1">
                  <a:lumMod val="75000"/>
                </a:schemeClr>
              </a:solidFill>
              <a:latin typeface="Georgia" pitchFamily="18" charset="0"/>
            </a:endParaRPr>
          </a:p>
          <a:p>
            <a:pPr>
              <a:defRPr/>
            </a:pPr>
            <a:r>
              <a:rPr lang="ru-RU" sz="2000" b="1" dirty="0" smtClean="0">
                <a:solidFill>
                  <a:schemeClr val="accent1">
                    <a:lumMod val="75000"/>
                  </a:schemeClr>
                </a:solidFill>
                <a:latin typeface="Georgia" pitchFamily="18" charset="0"/>
              </a:rPr>
              <a:t>«</a:t>
            </a:r>
            <a:r>
              <a:rPr lang="ru-RU" sz="2000" b="1" dirty="0">
                <a:solidFill>
                  <a:schemeClr val="accent1">
                    <a:lumMod val="75000"/>
                  </a:schemeClr>
                </a:solidFill>
                <a:latin typeface="Georgia" pitchFamily="18" charset="0"/>
              </a:rPr>
              <a:t>О сотрудничестве </a:t>
            </a:r>
            <a:r>
              <a:rPr lang="ru-RU" sz="2000" b="1" dirty="0" smtClean="0">
                <a:solidFill>
                  <a:schemeClr val="accent1">
                    <a:lumMod val="75000"/>
                  </a:schemeClr>
                </a:solidFill>
                <a:latin typeface="Georgia" pitchFamily="18" charset="0"/>
              </a:rPr>
              <a:t>территориальных </a:t>
            </a:r>
            <a:r>
              <a:rPr lang="ru-RU" sz="2000" b="1" dirty="0">
                <a:solidFill>
                  <a:schemeClr val="accent1">
                    <a:lumMod val="75000"/>
                  </a:schemeClr>
                </a:solidFill>
                <a:latin typeface="Georgia" pitchFamily="18" charset="0"/>
              </a:rPr>
              <a:t>громад» </a:t>
            </a:r>
          </a:p>
          <a:p>
            <a:pPr>
              <a:defRPr/>
            </a:pPr>
            <a:r>
              <a:rPr lang="uk-UA" sz="1600" b="1" dirty="0" smtClean="0">
                <a:solidFill>
                  <a:schemeClr val="accent1">
                    <a:lumMod val="75000"/>
                  </a:schemeClr>
                </a:solidFill>
                <a:latin typeface="Georgia" pitchFamily="18" charset="0"/>
              </a:rPr>
              <a:t>   </a:t>
            </a:r>
            <a:endParaRPr lang="en-US" sz="1600" b="1" dirty="0">
              <a:solidFill>
                <a:schemeClr val="accent1">
                  <a:lumMod val="75000"/>
                </a:schemeClr>
              </a:solidFill>
              <a:latin typeface="Georgia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047056" y="1907788"/>
            <a:ext cx="9793088" cy="1584176"/>
          </a:xfrm>
          <a:prstGeom prst="rect">
            <a:avLst/>
          </a:prstGeom>
          <a:gradFill>
            <a:gsLst>
              <a:gs pos="0">
                <a:srgbClr val="FBEAC7">
                  <a:alpha val="39000"/>
                </a:srgbClr>
              </a:gs>
              <a:gs pos="17999">
                <a:srgbClr val="FEE7F2"/>
              </a:gs>
              <a:gs pos="36000">
                <a:srgbClr val="FAC77D"/>
              </a:gs>
              <a:gs pos="61000">
                <a:srgbClr val="FBA97D"/>
              </a:gs>
              <a:gs pos="82001">
                <a:srgbClr val="FBD49C"/>
              </a:gs>
              <a:gs pos="100000">
                <a:srgbClr val="FEE7F2"/>
              </a:gs>
            </a:gsLst>
            <a:lin ang="5400000" scaled="0"/>
          </a:gra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0" indent="-285750">
              <a:defRPr/>
            </a:pPr>
            <a:r>
              <a:rPr lang="ru-RU" b="1" dirty="0" smtClean="0">
                <a:solidFill>
                  <a:schemeClr val="tx1"/>
                </a:solidFill>
              </a:rPr>
              <a:t>Законодательное обеспечение кооперации финансовых, материальных, организационных  и других ресурсов  для </a:t>
            </a:r>
            <a:r>
              <a:rPr lang="ru-RU" b="1" dirty="0">
                <a:solidFill>
                  <a:schemeClr val="tx1"/>
                </a:solidFill>
              </a:rPr>
              <a:t>решения общих проблем нескольких </a:t>
            </a:r>
            <a:r>
              <a:rPr lang="ru-RU" b="1" dirty="0" smtClean="0">
                <a:solidFill>
                  <a:schemeClr val="tx1"/>
                </a:solidFill>
              </a:rPr>
              <a:t>громад (</a:t>
            </a:r>
            <a:r>
              <a:rPr lang="ru-RU" b="1" dirty="0">
                <a:solidFill>
                  <a:schemeClr val="tx1"/>
                </a:solidFill>
              </a:rPr>
              <a:t>сел, поселков, городов), которые </a:t>
            </a:r>
            <a:r>
              <a:rPr lang="ru-RU" b="1" dirty="0" smtClean="0">
                <a:solidFill>
                  <a:schemeClr val="tx1"/>
                </a:solidFill>
              </a:rPr>
              <a:t>могут </a:t>
            </a:r>
            <a:r>
              <a:rPr lang="ru-RU" b="1" dirty="0">
                <a:solidFill>
                  <a:schemeClr val="tx1"/>
                </a:solidFill>
              </a:rPr>
              <a:t>финансироваться за счет бюджетных средств, а также других источников, не запрещенных законодательством</a:t>
            </a:r>
            <a:endParaRPr lang="ru-RU" b="1" i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9" name="Рисунок 8" descr="1557_teplovoy_apgreyg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23872" y="3810000"/>
            <a:ext cx="2540000" cy="2409820"/>
          </a:xfrm>
          <a:prstGeom prst="rect">
            <a:avLst/>
          </a:prstGeom>
        </p:spPr>
      </p:pic>
      <p:sp>
        <p:nvSpPr>
          <p:cNvPr id="10" name="Овал 9"/>
          <p:cNvSpPr/>
          <p:nvPr/>
        </p:nvSpPr>
        <p:spPr>
          <a:xfrm>
            <a:off x="4555059" y="3833810"/>
            <a:ext cx="2071702" cy="185738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/>
        </p:nvSpPr>
        <p:spPr>
          <a:xfrm>
            <a:off x="4798478" y="4359276"/>
            <a:ext cx="157163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2000" dirty="0" err="1" smtClean="0"/>
              <a:t>общая</a:t>
            </a:r>
            <a:r>
              <a:rPr lang="uk-UA" sz="2000" dirty="0" smtClean="0"/>
              <a:t> проблема</a:t>
            </a:r>
            <a:endParaRPr lang="ru-RU" sz="2000" dirty="0"/>
          </a:p>
        </p:txBody>
      </p:sp>
      <p:sp>
        <p:nvSpPr>
          <p:cNvPr id="12" name="Овал 11"/>
          <p:cNvSpPr/>
          <p:nvPr/>
        </p:nvSpPr>
        <p:spPr>
          <a:xfrm>
            <a:off x="4278831" y="3690934"/>
            <a:ext cx="857256" cy="71438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4228030" y="3854448"/>
            <a:ext cx="10715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400" dirty="0"/>
              <a:t>громада</a:t>
            </a:r>
            <a:endParaRPr lang="ru-RU" sz="1400" dirty="0"/>
          </a:p>
        </p:txBody>
      </p:sp>
      <p:sp>
        <p:nvSpPr>
          <p:cNvPr id="14" name="Овал 13"/>
          <p:cNvSpPr/>
          <p:nvPr/>
        </p:nvSpPr>
        <p:spPr>
          <a:xfrm>
            <a:off x="4085155" y="5190075"/>
            <a:ext cx="1285884" cy="10001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uk-UA" sz="1400" dirty="0">
                <a:solidFill>
                  <a:schemeClr val="tx1"/>
                </a:solidFill>
                <a:latin typeface="Arial" pitchFamily="34" charset="0"/>
              </a:rPr>
              <a:t>громада</a:t>
            </a:r>
            <a:endParaRPr lang="ru-RU" sz="14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5" name="Овал 14"/>
          <p:cNvSpPr/>
          <p:nvPr/>
        </p:nvSpPr>
        <p:spPr>
          <a:xfrm>
            <a:off x="6074822" y="3970875"/>
            <a:ext cx="1231911" cy="82125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uk-UA" sz="1400" dirty="0">
                <a:solidFill>
                  <a:schemeClr val="tx1"/>
                </a:solidFill>
                <a:latin typeface="Arial" pitchFamily="34" charset="0"/>
              </a:rPr>
              <a:t>громада</a:t>
            </a:r>
            <a:endParaRPr lang="ru-RU" sz="14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6" name="Овал 15"/>
          <p:cNvSpPr/>
          <p:nvPr/>
        </p:nvSpPr>
        <p:spPr>
          <a:xfrm>
            <a:off x="5803888" y="4953008"/>
            <a:ext cx="1285884" cy="10001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uk-UA" sz="1400" dirty="0">
                <a:solidFill>
                  <a:schemeClr val="tx1"/>
                </a:solidFill>
                <a:latin typeface="Arial" pitchFamily="34" charset="0"/>
              </a:rPr>
              <a:t>громада</a:t>
            </a:r>
            <a:endParaRPr lang="ru-RU" sz="1400" dirty="0">
              <a:solidFill>
                <a:schemeClr val="tx1"/>
              </a:solidFill>
              <a:latin typeface="Arial" pitchFamily="34" charset="0"/>
            </a:endParaRPr>
          </a:p>
        </p:txBody>
      </p:sp>
      <p:pic>
        <p:nvPicPr>
          <p:cNvPr id="17" name="Рисунок 16" descr="decentralzacya__medium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947561" y="3552820"/>
            <a:ext cx="3810027" cy="2857520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REGULATORY FRAMEWORK FOR INTER-MUNICIPAL COOPERATION</a:t>
            </a:r>
            <a:endParaRPr lang="it-IT" dirty="0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 smtClean="0"/>
              <a:t>Trieste, 13/12/2016</a:t>
            </a:r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smtClean="0"/>
              <a:t>INTERNATIONAL PRACTICES IN INTER-MUNICIPAL COOPERATION</a:t>
            </a:r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D1028-69C3-4FC6-8C6A-2696D319A159}" type="slidenum">
              <a:rPr lang="it-IT" smtClean="0"/>
              <a:pPr/>
              <a:t>2</a:t>
            </a:fld>
            <a:endParaRPr lang="it-IT"/>
          </a:p>
        </p:txBody>
      </p:sp>
    </p:spTree>
    <p:extLst>
      <p:ext uri="{BB962C8B-B14F-4D97-AF65-F5344CB8AC3E}">
        <p14:creationId xmlns="" xmlns:p14="http://schemas.microsoft.com/office/powerpoint/2010/main" val="2582661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 smtClean="0"/>
              <a:t>Trieste, 13/12/2016</a:t>
            </a:r>
            <a:endParaRPr lang="it-IT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smtClean="0"/>
              <a:t>INTERNATIONAL PRACTICES IN INTER-MUNICIPAL COOPERATION</a:t>
            </a:r>
            <a:endParaRPr lang="it-IT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D1028-69C3-4FC6-8C6A-2696D319A159}" type="slidenum">
              <a:rPr lang="it-IT" smtClean="0"/>
              <a:pPr/>
              <a:t>3</a:t>
            </a:fld>
            <a:endParaRPr lang="it-IT"/>
          </a:p>
        </p:txBody>
      </p:sp>
      <p:sp>
        <p:nvSpPr>
          <p:cNvPr id="7" name="TextBox 1"/>
          <p:cNvSpPr txBox="1">
            <a:spLocks noChangeArrowheads="1"/>
          </p:cNvSpPr>
          <p:nvPr/>
        </p:nvSpPr>
        <p:spPr bwMode="auto">
          <a:xfrm>
            <a:off x="162454" y="1208831"/>
            <a:ext cx="7110428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altLang="ru-RU" sz="1600" b="1" dirty="0" smtClean="0"/>
              <a:t>Законодательное регулирование вопросов сотрудничества и объединения </a:t>
            </a:r>
            <a:r>
              <a:rPr lang="ru-RU" altLang="ru-RU" sz="1600" b="1" dirty="0" err="1" smtClean="0"/>
              <a:t>территориальних</a:t>
            </a:r>
            <a:r>
              <a:rPr lang="ru-RU" altLang="ru-RU" sz="1600" b="1" dirty="0" smtClean="0"/>
              <a:t> громад</a:t>
            </a:r>
            <a:endParaRPr lang="ru-RU" altLang="ru-RU" sz="1600" b="1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1415521" y="1691846"/>
            <a:ext cx="9286941" cy="1088477"/>
          </a:xfrm>
          <a:prstGeom prst="rect">
            <a:avLst/>
          </a:prstGeom>
          <a:gradFill>
            <a:gsLst>
              <a:gs pos="0">
                <a:srgbClr val="FBEAC7">
                  <a:alpha val="39000"/>
                </a:srgbClr>
              </a:gs>
              <a:gs pos="17999">
                <a:srgbClr val="FEE7F2"/>
              </a:gs>
              <a:gs pos="36000">
                <a:srgbClr val="FAC77D"/>
              </a:gs>
              <a:gs pos="61000">
                <a:srgbClr val="FBA97D"/>
              </a:gs>
              <a:gs pos="82001">
                <a:srgbClr val="FBD49C"/>
              </a:gs>
              <a:gs pos="100000">
                <a:srgbClr val="FEE7F2"/>
              </a:gs>
            </a:gsLst>
            <a:lin ang="5400000" scaled="0"/>
          </a:gra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uk-UA" altLang="ru-RU" sz="2000" b="1" i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>
              <a:defRPr/>
            </a:pPr>
            <a:endParaRPr lang="uk-UA" altLang="ru-RU" sz="2000" b="1" i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>
              <a:defRPr/>
            </a:pPr>
            <a:r>
              <a:rPr lang="uk-UA" altLang="ru-RU" sz="2000" b="1" i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Закон Украины «О сотрудничестве териториальных </a:t>
            </a:r>
            <a:r>
              <a:rPr lang="uk-UA" altLang="ru-RU" sz="2000" b="1" i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ромад» </a:t>
            </a:r>
            <a:endParaRPr lang="uk-UA" altLang="ru-RU" sz="2000" b="1" i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>
              <a:defRPr/>
            </a:pPr>
            <a:r>
              <a:rPr lang="uk-UA" altLang="ru-RU" sz="2000" b="1" i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Закон </a:t>
            </a:r>
            <a:r>
              <a:rPr lang="uk-UA" altLang="ru-RU" sz="2000" b="1" i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Украины</a:t>
            </a:r>
            <a:r>
              <a:rPr lang="uk-UA" altLang="ru-RU" sz="2000" b="1" i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uk-UA" altLang="ru-RU" sz="2000" b="1" i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«О </a:t>
            </a:r>
            <a:r>
              <a:rPr lang="uk-UA" altLang="ru-RU" sz="2000" b="1" i="1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обровольном</a:t>
            </a:r>
            <a:r>
              <a:rPr lang="uk-UA" altLang="ru-RU" sz="2000" b="1" i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uk-UA" altLang="ru-RU" sz="2000" b="1" i="1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ъединении</a:t>
            </a:r>
            <a:r>
              <a:rPr lang="uk-UA" altLang="ru-RU" sz="2000" b="1" i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altLang="ru-RU" sz="2000" b="1" dirty="0" err="1">
                <a:solidFill>
                  <a:schemeClr val="tx1"/>
                </a:solidFill>
              </a:rPr>
              <a:t>территориальних</a:t>
            </a:r>
            <a:r>
              <a:rPr lang="ru-RU" altLang="ru-RU" sz="2000" b="1" dirty="0">
                <a:solidFill>
                  <a:schemeClr val="tx1"/>
                </a:solidFill>
              </a:rPr>
              <a:t> </a:t>
            </a:r>
            <a:r>
              <a:rPr lang="ru-RU" altLang="ru-RU" sz="2000" b="1" dirty="0" smtClean="0">
                <a:solidFill>
                  <a:schemeClr val="tx1"/>
                </a:solidFill>
              </a:rPr>
              <a:t>громад»</a:t>
            </a:r>
            <a:endParaRPr lang="ru-RU" altLang="ru-RU" sz="2000" b="1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uk-UA" altLang="ru-RU" sz="2000" b="1" i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</a:p>
          <a:p>
            <a:pPr algn="ctr">
              <a:defRPr/>
            </a:pPr>
            <a:endParaRPr lang="uk-UA" altLang="ru-RU" sz="2000" b="1" i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531485665"/>
              </p:ext>
            </p:extLst>
          </p:nvPr>
        </p:nvGraphicFramePr>
        <p:xfrm>
          <a:off x="702732" y="2736957"/>
          <a:ext cx="10430935" cy="41210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64023"/>
                <a:gridCol w="5266912"/>
              </a:tblGrid>
              <a:tr h="1729119">
                <a:tc gridSpan="2">
                  <a:txBody>
                    <a:bodyPr/>
                    <a:lstStyle/>
                    <a:p>
                      <a:pPr algn="ctr"/>
                      <a:r>
                        <a:rPr lang="uk-UA" sz="2000" b="1" kern="120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Методические</a:t>
                      </a:r>
                      <a:r>
                        <a:rPr lang="uk-UA" sz="2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2000" b="1" kern="120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реккомендации</a:t>
                      </a:r>
                      <a:endParaRPr lang="uk-UA" sz="20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lang="uk-UA" sz="2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для </a:t>
                      </a:r>
                      <a:r>
                        <a:rPr lang="uk-UA" sz="2000" b="1" kern="120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практического</a:t>
                      </a:r>
                      <a:r>
                        <a:rPr lang="uk-UA" sz="2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2000" b="1" kern="120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внедрения</a:t>
                      </a:r>
                      <a:r>
                        <a:rPr lang="uk-UA" sz="2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2000" b="1" kern="120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положений</a:t>
                      </a:r>
                      <a:endParaRPr lang="uk-UA" sz="20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2000" b="1" kern="120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Законов</a:t>
                      </a:r>
                      <a:r>
                        <a:rPr lang="uk-UA" sz="2000" b="1" kern="1200" baseline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2000" b="1" kern="1200" baseline="0" noProof="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Украины</a:t>
                      </a:r>
                      <a:r>
                        <a:rPr lang="uk-UA" sz="2000" b="1" kern="1200" baseline="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altLang="ru-RU" sz="2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«О </a:t>
                      </a:r>
                      <a:r>
                        <a:rPr lang="uk-UA" altLang="ru-RU" sz="2000" b="1" kern="120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сотрудничестве</a:t>
                      </a:r>
                      <a:r>
                        <a:rPr lang="uk-UA" altLang="ru-RU" sz="2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териториальных громад» и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altLang="ru-RU" sz="2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«О </a:t>
                      </a:r>
                      <a:r>
                        <a:rPr lang="uk-UA" altLang="ru-RU" sz="2000" b="1" kern="120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добровольном</a:t>
                      </a:r>
                      <a:r>
                        <a:rPr lang="uk-UA" altLang="ru-RU" sz="2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altLang="ru-RU" sz="2000" b="1" kern="120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объединении</a:t>
                      </a:r>
                      <a:r>
                        <a:rPr lang="uk-UA" altLang="ru-RU" sz="2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altLang="ru-RU" sz="2000" b="1" kern="120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территориальних</a:t>
                      </a:r>
                      <a:r>
                        <a:rPr lang="ru-RU" altLang="ru-RU" sz="2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громад»</a:t>
                      </a:r>
                    </a:p>
                    <a:p>
                      <a:pPr algn="ctr">
                        <a:defRPr/>
                      </a:pPr>
                      <a:endParaRPr lang="uk-UA" altLang="ru-RU" sz="2000" b="1" i="1" dirty="0" smtClean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 marL="91433" marR="91433"/>
                </a:tc>
                <a:tc hMerge="1">
                  <a:txBody>
                    <a:bodyPr/>
                    <a:lstStyle/>
                    <a:p>
                      <a:endParaRPr lang="uk-UA" dirty="0"/>
                    </a:p>
                  </a:txBody>
                  <a:tcPr/>
                </a:tc>
              </a:tr>
              <a:tr h="358874">
                <a:tc gridSpan="2">
                  <a:txBody>
                    <a:bodyPr/>
                    <a:lstStyle/>
                    <a:p>
                      <a:r>
                        <a:rPr lang="uk-UA" sz="1600" b="1" dirty="0" smtClean="0"/>
                        <a:t>в</a:t>
                      </a:r>
                      <a:r>
                        <a:rPr lang="uk-UA" sz="1600" b="1" baseline="0" dirty="0" smtClean="0"/>
                        <a:t>  части </a:t>
                      </a:r>
                      <a:r>
                        <a:rPr lang="uk-UA" sz="1600" b="1" baseline="0" dirty="0" err="1" smtClean="0"/>
                        <a:t>организации</a:t>
                      </a:r>
                      <a:r>
                        <a:rPr lang="uk-UA" sz="1600" b="1" baseline="0" dirty="0" smtClean="0"/>
                        <a:t> и </a:t>
                      </a:r>
                      <a:r>
                        <a:rPr lang="uk-UA" sz="1600" b="1" baseline="0" dirty="0" err="1" smtClean="0"/>
                        <a:t>юридического</a:t>
                      </a:r>
                      <a:r>
                        <a:rPr lang="uk-UA" sz="1600" b="1" baseline="0" dirty="0" smtClean="0"/>
                        <a:t> </a:t>
                      </a:r>
                      <a:r>
                        <a:rPr lang="uk-UA" sz="1600" b="1" baseline="0" dirty="0" err="1" smtClean="0"/>
                        <a:t>оформления</a:t>
                      </a:r>
                      <a:r>
                        <a:rPr lang="uk-UA" sz="1600" b="1" baseline="0" dirty="0" smtClean="0"/>
                        <a:t> </a:t>
                      </a:r>
                      <a:r>
                        <a:rPr lang="uk-UA" sz="1600" b="1" baseline="0" dirty="0" err="1" smtClean="0"/>
                        <a:t>сотрудничества</a:t>
                      </a:r>
                      <a:endParaRPr lang="uk-UA" sz="1600" b="0" dirty="0"/>
                    </a:p>
                  </a:txBody>
                  <a:tcPr marL="91433" marR="91433"/>
                </a:tc>
                <a:tc hMerge="1">
                  <a:txBody>
                    <a:bodyPr/>
                    <a:lstStyle/>
                    <a:p>
                      <a:endParaRPr lang="uk-UA" sz="1100" dirty="0"/>
                    </a:p>
                  </a:txBody>
                  <a:tcPr marL="91433" marR="91433"/>
                </a:tc>
              </a:tr>
              <a:tr h="424123">
                <a:tc gridSpan="2">
                  <a:txBody>
                    <a:bodyPr/>
                    <a:lstStyle/>
                    <a:p>
                      <a:pPr algn="ctr"/>
                      <a:r>
                        <a:rPr lang="uk-UA" sz="2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Прикази</a:t>
                      </a:r>
                      <a:r>
                        <a:rPr lang="uk-UA" sz="2000" b="1" kern="1200" baseline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2000" b="1" kern="1200" baseline="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Минрегиона</a:t>
                      </a:r>
                      <a:r>
                        <a:rPr lang="uk-UA" sz="2000" b="1" kern="1200" baseline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2000" b="1" kern="1200" baseline="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Украины</a:t>
                      </a:r>
                      <a:endParaRPr lang="uk-UA" sz="20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3" marR="91433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uk-UA" sz="1400" dirty="0"/>
                    </a:p>
                  </a:txBody>
                  <a:tcPr/>
                </a:tc>
              </a:tr>
              <a:tr h="1254619">
                <a:tc>
                  <a:txBody>
                    <a:bodyPr/>
                    <a:lstStyle/>
                    <a:p>
                      <a:r>
                        <a:rPr lang="ru-RU" sz="18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«О утверждении примерных форм договоров о сотрудничестве териториальных громад»</a:t>
                      </a:r>
                      <a:endParaRPr lang="ru-RU" sz="18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3" marR="91433"/>
                </a:tc>
                <a:tc>
                  <a:txBody>
                    <a:bodyPr/>
                    <a:lstStyle/>
                    <a:p>
                      <a:r>
                        <a:rPr lang="ru-RU" sz="18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«О утверждении Порядка формирования и обеспечения функционирования реестра о </a:t>
                      </a:r>
                      <a:r>
                        <a:rPr lang="ru-RU" altLang="ru-RU" sz="18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отрудничестве териториальных громад</a:t>
                      </a:r>
                      <a:r>
                        <a:rPr lang="ru-RU" sz="18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»</a:t>
                      </a:r>
                      <a:endParaRPr lang="ru-RU" sz="1800" noProof="0" dirty="0"/>
                    </a:p>
                  </a:txBody>
                  <a:tcPr marL="91433" marR="91433"/>
                </a:tc>
              </a:tr>
              <a:tr h="35430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100" dirty="0"/>
                    </a:p>
                  </a:txBody>
                  <a:tcPr marL="91433" marR="91433"/>
                </a:tc>
                <a:tc>
                  <a:txBody>
                    <a:bodyPr/>
                    <a:lstStyle/>
                    <a:p>
                      <a:endParaRPr lang="uk-UA" sz="1100" dirty="0"/>
                    </a:p>
                  </a:txBody>
                  <a:tcPr marL="91433" marR="91433"/>
                </a:tc>
              </a:tr>
            </a:tbl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 smtClean="0"/>
              <a:t>Trieste, 13/12/2016</a:t>
            </a:r>
            <a:endParaRPr lang="it-IT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smtClean="0"/>
              <a:t>INTERNATIONAL PRACTICES IN INTER-MUNICIPAL COOPERATION</a:t>
            </a:r>
            <a:endParaRPr lang="it-IT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D1028-69C3-4FC6-8C6A-2696D319A159}" type="slidenum">
              <a:rPr lang="it-IT" smtClean="0"/>
              <a:pPr/>
              <a:t>4</a:t>
            </a:fld>
            <a:endParaRPr lang="it-IT"/>
          </a:p>
        </p:txBody>
      </p:sp>
      <p:sp>
        <p:nvSpPr>
          <p:cNvPr id="7" name="TextBox 1"/>
          <p:cNvSpPr txBox="1">
            <a:spLocks noChangeArrowheads="1"/>
          </p:cNvSpPr>
          <p:nvPr/>
        </p:nvSpPr>
        <p:spPr bwMode="auto">
          <a:xfrm>
            <a:off x="337578" y="1293262"/>
            <a:ext cx="639762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uk-UA" altLang="ru-RU" sz="1600" b="1" dirty="0" smtClean="0">
                <a:solidFill>
                  <a:schemeClr val="accent1">
                    <a:lumMod val="75000"/>
                  </a:schemeClr>
                </a:solidFill>
                <a:latin typeface="Georgia" pitchFamily="18" charset="0"/>
              </a:rPr>
              <a:t>СОТРУДНИЧЕСТВО ТЕРРИТОРИАЛЬНЫХ ГРОМАД </a:t>
            </a:r>
            <a:endParaRPr lang="en-US" altLang="ru-RU" sz="1600" b="1" dirty="0">
              <a:solidFill>
                <a:schemeClr val="accent1">
                  <a:lumMod val="75000"/>
                </a:schemeClr>
              </a:solidFill>
              <a:latin typeface="Georgia" pitchFamily="18" charset="0"/>
            </a:endParaRPr>
          </a:p>
        </p:txBody>
      </p:sp>
      <p:sp>
        <p:nvSpPr>
          <p:cNvPr id="8" name="Пятиугольник 7"/>
          <p:cNvSpPr/>
          <p:nvPr/>
        </p:nvSpPr>
        <p:spPr>
          <a:xfrm>
            <a:off x="1586939" y="1660508"/>
            <a:ext cx="9001188" cy="1000132"/>
          </a:xfrm>
          <a:prstGeom prst="homePlate">
            <a:avLst>
              <a:gd name="adj" fmla="val 1098"/>
            </a:avLst>
          </a:prstGeom>
          <a:gradFill>
            <a:gsLst>
              <a:gs pos="0">
                <a:srgbClr val="FBEAC7">
                  <a:alpha val="39000"/>
                </a:srgbClr>
              </a:gs>
              <a:gs pos="17999">
                <a:srgbClr val="FEE7F2"/>
              </a:gs>
              <a:gs pos="36000">
                <a:srgbClr val="FAC77D"/>
              </a:gs>
              <a:gs pos="61000">
                <a:srgbClr val="FBA97D"/>
              </a:gs>
              <a:gs pos="82001">
                <a:srgbClr val="FBD49C"/>
              </a:gs>
              <a:gs pos="100000">
                <a:srgbClr val="FEE7F2"/>
              </a:gs>
            </a:gsLst>
            <a:lin ang="5400000" scaled="0"/>
          </a:gra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dirty="0">
                <a:solidFill>
                  <a:schemeClr val="tx1"/>
                </a:solidFill>
              </a:rPr>
              <a:t>осуществляется на </a:t>
            </a:r>
            <a:r>
              <a:rPr lang="ru-RU" dirty="0" smtClean="0">
                <a:solidFill>
                  <a:schemeClr val="tx1"/>
                </a:solidFill>
              </a:rPr>
              <a:t>основе договоров в </a:t>
            </a:r>
            <a:r>
              <a:rPr lang="ru-RU" dirty="0">
                <a:solidFill>
                  <a:schemeClr val="tx1"/>
                </a:solidFill>
              </a:rPr>
              <a:t>определенных Законом формах</a:t>
            </a:r>
            <a:br>
              <a:rPr lang="ru-RU" dirty="0">
                <a:solidFill>
                  <a:schemeClr val="tx1"/>
                </a:solidFill>
              </a:rPr>
            </a:br>
            <a:r>
              <a:rPr lang="ru-RU" dirty="0">
                <a:solidFill>
                  <a:schemeClr val="tx1"/>
                </a:solidFill>
              </a:rPr>
              <a:t>с целью</a:t>
            </a:r>
            <a:r>
              <a:rPr lang="ru-RU" dirty="0" smtClean="0">
                <a:solidFill>
                  <a:schemeClr val="tx1"/>
                </a:solidFill>
              </a:rPr>
              <a:t>:</a:t>
            </a:r>
            <a:r>
              <a:rPr lang="uk-UA" b="1" dirty="0" smtClean="0">
                <a:solidFill>
                  <a:schemeClr val="tx1"/>
                </a:solidFill>
                <a:ea typeface="-윤명조130" pitchFamily="18" charset="-127"/>
                <a:cs typeface="Arial" pitchFamily="34" charset="0"/>
              </a:rPr>
              <a:t> </a:t>
            </a:r>
          </a:p>
        </p:txBody>
      </p:sp>
      <p:sp>
        <p:nvSpPr>
          <p:cNvPr id="9" name="Пятиугольник 8"/>
          <p:cNvSpPr/>
          <p:nvPr/>
        </p:nvSpPr>
        <p:spPr>
          <a:xfrm>
            <a:off x="452406" y="2946392"/>
            <a:ext cx="857256" cy="432049"/>
          </a:xfrm>
          <a:prstGeom prst="homePlat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53000">
                <a:schemeClr val="bg1">
                  <a:lumMod val="75000"/>
                  <a:alpha val="11000"/>
                </a:schemeClr>
              </a:gs>
              <a:gs pos="100000">
                <a:schemeClr val="bg1">
                  <a:lumMod val="75000"/>
                </a:schemeClr>
              </a:gs>
              <a:gs pos="100000">
                <a:srgbClr val="96AB94"/>
              </a:gs>
            </a:gsLst>
            <a:lin ang="5400000" scaled="0"/>
          </a:gra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ru-RU" sz="1200" b="1" dirty="0">
              <a:solidFill>
                <a:schemeClr val="tx1"/>
              </a:solidFill>
              <a:ea typeface="-윤명조130" pitchFamily="18" charset="-127"/>
              <a:cs typeface="Arial" pitchFamily="34" charset="0"/>
            </a:endParaRPr>
          </a:p>
        </p:txBody>
      </p:sp>
      <p:sp>
        <p:nvSpPr>
          <p:cNvPr id="10" name="Пятиугольник 9"/>
          <p:cNvSpPr/>
          <p:nvPr/>
        </p:nvSpPr>
        <p:spPr>
          <a:xfrm>
            <a:off x="469339" y="3818459"/>
            <a:ext cx="857256" cy="432049"/>
          </a:xfrm>
          <a:prstGeom prst="homePlat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53000">
                <a:schemeClr val="bg1">
                  <a:lumMod val="75000"/>
                  <a:alpha val="11000"/>
                </a:schemeClr>
              </a:gs>
              <a:gs pos="100000">
                <a:schemeClr val="bg1">
                  <a:lumMod val="75000"/>
                </a:schemeClr>
              </a:gs>
              <a:gs pos="100000">
                <a:srgbClr val="96AB94"/>
              </a:gs>
            </a:gsLst>
            <a:lin ang="5400000" scaled="0"/>
          </a:gra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ru-RU" sz="1200" b="1" dirty="0">
              <a:solidFill>
                <a:schemeClr val="tx1"/>
              </a:solidFill>
              <a:ea typeface="-윤명조130" pitchFamily="18" charset="-127"/>
              <a:cs typeface="Arial" pitchFamily="34" charset="0"/>
            </a:endParaRPr>
          </a:p>
        </p:txBody>
      </p:sp>
      <p:sp>
        <p:nvSpPr>
          <p:cNvPr id="11" name="Пятиугольник 10"/>
          <p:cNvSpPr/>
          <p:nvPr/>
        </p:nvSpPr>
        <p:spPr>
          <a:xfrm>
            <a:off x="520139" y="4859858"/>
            <a:ext cx="857256" cy="432049"/>
          </a:xfrm>
          <a:prstGeom prst="homePlat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53000">
                <a:schemeClr val="bg1">
                  <a:lumMod val="75000"/>
                  <a:alpha val="11000"/>
                </a:schemeClr>
              </a:gs>
              <a:gs pos="100000">
                <a:schemeClr val="bg1">
                  <a:lumMod val="75000"/>
                </a:schemeClr>
              </a:gs>
              <a:gs pos="100000">
                <a:srgbClr val="96AB94"/>
              </a:gs>
            </a:gsLst>
            <a:lin ang="5400000" scaled="0"/>
          </a:gra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ru-RU" sz="1200" b="1" dirty="0">
              <a:solidFill>
                <a:schemeClr val="tx1"/>
              </a:solidFill>
              <a:ea typeface="-윤명조130" pitchFamily="18" charset="-127"/>
              <a:cs typeface="Arial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532443" y="2997192"/>
            <a:ext cx="7786742" cy="15388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just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q"/>
              <a:defRPr/>
            </a:pPr>
            <a:r>
              <a:rPr lang="ru-RU" b="1" dirty="0" smtClean="0">
                <a:latin typeface="+mn-lt"/>
                <a:ea typeface="-윤명조130" pitchFamily="18" charset="-127"/>
                <a:cs typeface="Arial" pitchFamily="34" charset="0"/>
              </a:rPr>
              <a:t>обеспечения социально-экономического, культурного развития территорий</a:t>
            </a:r>
            <a:endParaRPr lang="ru-RU" sz="1200" b="1" dirty="0" smtClean="0">
              <a:latin typeface="+mn-lt"/>
              <a:ea typeface="-윤명조130" pitchFamily="18" charset="-127"/>
              <a:cs typeface="Arial" pitchFamily="34" charset="0"/>
            </a:endParaRPr>
          </a:p>
          <a:p>
            <a:pPr marL="171450" indent="-171450" algn="just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q"/>
              <a:defRPr/>
            </a:pPr>
            <a:endParaRPr lang="uk-UA" sz="1200" b="1" dirty="0" smtClean="0">
              <a:latin typeface="+mn-lt"/>
              <a:ea typeface="-윤명조130" pitchFamily="18" charset="-127"/>
              <a:cs typeface="Arial" pitchFamily="34" charset="0"/>
            </a:endParaRPr>
          </a:p>
          <a:p>
            <a:pPr marL="171450" indent="-171450" algn="just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q"/>
              <a:defRPr/>
            </a:pPr>
            <a:r>
              <a:rPr lang="ru-RU" b="1" dirty="0"/>
              <a:t>эффективного выполнения органами местного самоуправления определенных законом полномочий</a:t>
            </a:r>
            <a:endParaRPr lang="ru-RU" b="1" dirty="0">
              <a:latin typeface="+mn-lt"/>
              <a:ea typeface="-윤명조130" pitchFamily="18" charset="-127"/>
              <a:cs typeface="Arial" pitchFamily="34" charset="0"/>
            </a:endParaRPr>
          </a:p>
        </p:txBody>
      </p:sp>
      <p:sp>
        <p:nvSpPr>
          <p:cNvPr id="13" name="Прямоугольник 21"/>
          <p:cNvSpPr>
            <a:spLocks noChangeArrowheads="1"/>
          </p:cNvSpPr>
          <p:nvPr/>
        </p:nvSpPr>
        <p:spPr bwMode="auto">
          <a:xfrm>
            <a:off x="1637748" y="4940829"/>
            <a:ext cx="803753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spcAft>
                <a:spcPts val="400"/>
              </a:spcAft>
              <a:buFont typeface="Wingdings" pitchFamily="2" charset="2"/>
              <a:buChar char="q"/>
              <a:defRPr/>
            </a:pPr>
            <a:r>
              <a:rPr lang="ru-RU" b="1" dirty="0"/>
              <a:t>повышение качества предоставления услуг населению на основе общих интересов и целей</a:t>
            </a:r>
            <a:endParaRPr lang="ru-RU" b="1" dirty="0">
              <a:latin typeface="+mn-lt"/>
              <a:ea typeface="-윤명조130" pitchFamily="18" charset="-127"/>
              <a:cs typeface="Arial" pitchFamily="34" charset="0"/>
            </a:endParaRPr>
          </a:p>
        </p:txBody>
      </p:sp>
      <p:pic>
        <p:nvPicPr>
          <p:cNvPr id="14" name="Рисунок 13" descr="corporate-social-responsibility_multi-stakeholder-forum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9753569" y="2905505"/>
            <a:ext cx="1854232" cy="1228128"/>
          </a:xfrm>
          <a:prstGeom prst="rect">
            <a:avLst/>
          </a:prstGeom>
        </p:spPr>
      </p:pic>
      <p:pic>
        <p:nvPicPr>
          <p:cNvPr id="15" name="Рисунок 14" descr="shaptala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9470854" y="4715932"/>
            <a:ext cx="2071328" cy="1553497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 smtClean="0"/>
              <a:t>Trieste, 13/12/2016</a:t>
            </a:r>
            <a:endParaRPr lang="it-IT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smtClean="0"/>
              <a:t>INTERNATIONAL PRACTICES IN INTER-MUNICIPAL COOPERATION</a:t>
            </a:r>
            <a:endParaRPr lang="it-IT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D1028-69C3-4FC6-8C6A-2696D319A159}" type="slidenum">
              <a:rPr lang="it-IT" smtClean="0"/>
              <a:pPr/>
              <a:t>5</a:t>
            </a:fld>
            <a:endParaRPr lang="it-IT"/>
          </a:p>
        </p:txBody>
      </p:sp>
      <p:sp>
        <p:nvSpPr>
          <p:cNvPr id="7" name="Прямоугольник 6"/>
          <p:cNvSpPr/>
          <p:nvPr/>
        </p:nvSpPr>
        <p:spPr>
          <a:xfrm>
            <a:off x="2668024" y="1535089"/>
            <a:ext cx="621510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b="1" dirty="0" smtClean="0"/>
              <a:t>Формы сотрудничества территориальных громад</a:t>
            </a:r>
            <a:endParaRPr lang="ru-RU" altLang="ru-RU" b="1" dirty="0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1964194776"/>
              </p:ext>
            </p:extLst>
          </p:nvPr>
        </p:nvGraphicFramePr>
        <p:xfrm>
          <a:off x="1358340" y="2116650"/>
          <a:ext cx="9286940" cy="38585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86940"/>
              </a:tblGrid>
              <a:tr h="642942">
                <a:tc>
                  <a:txBody>
                    <a:bodyPr/>
                    <a:lstStyle/>
                    <a:p>
                      <a:r>
                        <a:rPr lang="ru-RU" sz="2400" dirty="0" smtClean="0">
                          <a:effectLst/>
                        </a:rPr>
                        <a:t>Сотрудничество территориальных громад осуществляется в форме</a:t>
                      </a:r>
                      <a:r>
                        <a:rPr lang="uk-UA" sz="2400" b="0" baseline="0" dirty="0" smtClean="0"/>
                        <a:t>:</a:t>
                      </a:r>
                      <a:endParaRPr lang="uk-UA" sz="2400" dirty="0"/>
                    </a:p>
                  </a:txBody>
                  <a:tcPr marL="91433" marR="91433" anchor="ctr"/>
                </a:tc>
              </a:tr>
              <a:tr h="2734826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Wingdings" pitchFamily="2" charset="2"/>
                        <a:buChar char="Ø"/>
                      </a:pPr>
                      <a:endParaRPr lang="en-US" sz="800" dirty="0" smtClean="0"/>
                    </a:p>
                    <a:p>
                      <a:pPr rtl="0"/>
                      <a:r>
                        <a:rPr lang="ru-RU" sz="2400" dirty="0" smtClean="0">
                          <a:effectLst/>
                        </a:rPr>
                        <a:t>- делегирования выполнения отдельных задач;</a:t>
                      </a:r>
                      <a:br>
                        <a:rPr lang="ru-RU" sz="2400" dirty="0" smtClean="0">
                          <a:effectLst/>
                        </a:rPr>
                      </a:br>
                      <a:r>
                        <a:rPr lang="ru-RU" sz="2400" dirty="0" smtClean="0">
                          <a:effectLst/>
                        </a:rPr>
                        <a:t>- реализации совместных проектов;</a:t>
                      </a:r>
                      <a:br>
                        <a:rPr lang="ru-RU" sz="2400" dirty="0" smtClean="0">
                          <a:effectLst/>
                        </a:rPr>
                      </a:br>
                      <a:r>
                        <a:rPr lang="ru-RU" sz="2400" dirty="0" smtClean="0">
                          <a:effectLst/>
                        </a:rPr>
                        <a:t>- совместного финансирования (содержания) предприятий, учреждений и организаций коммунальной собственности;</a:t>
                      </a:r>
                      <a:br>
                        <a:rPr lang="ru-RU" sz="2400" dirty="0" smtClean="0">
                          <a:effectLst/>
                        </a:rPr>
                      </a:br>
                      <a:r>
                        <a:rPr lang="ru-RU" sz="2400" dirty="0" smtClean="0">
                          <a:effectLst/>
                        </a:rPr>
                        <a:t>- создания совместных коммунальных предприятий, учреждений и организаций;</a:t>
                      </a:r>
                      <a:br>
                        <a:rPr lang="ru-RU" sz="2400" dirty="0" smtClean="0">
                          <a:effectLst/>
                        </a:rPr>
                      </a:br>
                      <a:r>
                        <a:rPr lang="ru-RU" sz="2400" dirty="0" smtClean="0">
                          <a:effectLst/>
                        </a:rPr>
                        <a:t>- создания совместного органа управления</a:t>
                      </a:r>
                    </a:p>
                    <a:p>
                      <a:endParaRPr lang="uk-UA" sz="2400" dirty="0"/>
                    </a:p>
                  </a:txBody>
                  <a:tcPr marL="91433" marR="91433"/>
                </a:tc>
              </a:tr>
            </a:tbl>
          </a:graphicData>
        </a:graphic>
      </p:graphicFrame>
      <p:pic>
        <p:nvPicPr>
          <p:cNvPr id="9" name="Рисунок 8" descr="social1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9995445" y="4537084"/>
            <a:ext cx="2000264" cy="2000264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FINANCIAL FRAMEWORK FOR INTER-MUNICIPAL COOPERATION</a:t>
            </a:r>
            <a:endParaRPr lang="it-IT" dirty="0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 smtClean="0"/>
              <a:t>Trieste, 13/12/2016</a:t>
            </a:r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smtClean="0"/>
              <a:t>INTERNATIONAL PRACTICES IN INTER-MUNICIPAL COOPERATION</a:t>
            </a:r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D1028-69C3-4FC6-8C6A-2696D319A159}" type="slidenum">
              <a:rPr lang="it-IT" smtClean="0"/>
              <a:pPr/>
              <a:t>6</a:t>
            </a:fld>
            <a:endParaRPr lang="it-IT"/>
          </a:p>
        </p:txBody>
      </p:sp>
    </p:spTree>
    <p:extLst>
      <p:ext uri="{BB962C8B-B14F-4D97-AF65-F5344CB8AC3E}">
        <p14:creationId xmlns="" xmlns:p14="http://schemas.microsoft.com/office/powerpoint/2010/main" val="1957351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 smtClean="0"/>
              <a:t>Trieste, 13/12/2016</a:t>
            </a:r>
            <a:endParaRPr lang="it-IT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smtClean="0"/>
              <a:t>INTERNATIONAL PRACTICES IN INTER-MUNICIPAL COOPERATION</a:t>
            </a:r>
            <a:endParaRPr lang="it-IT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D1028-69C3-4FC6-8C6A-2696D319A159}" type="slidenum">
              <a:rPr lang="it-IT" smtClean="0"/>
              <a:pPr/>
              <a:t>7</a:t>
            </a:fld>
            <a:endParaRPr lang="it-IT"/>
          </a:p>
        </p:txBody>
      </p:sp>
      <p:sp>
        <p:nvSpPr>
          <p:cNvPr id="7" name="Прямокутник 1"/>
          <p:cNvSpPr/>
          <p:nvPr/>
        </p:nvSpPr>
        <p:spPr>
          <a:xfrm>
            <a:off x="381206" y="1412032"/>
            <a:ext cx="51836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/>
              <a:t>Финансирование проектов сотрудничества</a:t>
            </a:r>
            <a:endParaRPr lang="ru-RU" b="1" dirty="0"/>
          </a:p>
        </p:txBody>
      </p:sp>
      <p:sp>
        <p:nvSpPr>
          <p:cNvPr id="8" name="Округлений прямокутник 4"/>
          <p:cNvSpPr/>
          <p:nvPr/>
        </p:nvSpPr>
        <p:spPr>
          <a:xfrm>
            <a:off x="911589" y="1810627"/>
            <a:ext cx="3096344" cy="129614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м</a:t>
            </a:r>
            <a:r>
              <a:rPr lang="ru-RU" dirty="0" smtClean="0"/>
              <a:t>естные бюджеты субъектов сотрудничества</a:t>
            </a:r>
            <a:endParaRPr lang="ru-RU" dirty="0"/>
          </a:p>
        </p:txBody>
      </p:sp>
      <p:sp>
        <p:nvSpPr>
          <p:cNvPr id="9" name="Округлений прямокутник 6"/>
          <p:cNvSpPr/>
          <p:nvPr/>
        </p:nvSpPr>
        <p:spPr>
          <a:xfrm>
            <a:off x="6955822" y="1768294"/>
            <a:ext cx="3096344" cy="129614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государственный бюджет</a:t>
            </a:r>
          </a:p>
          <a:p>
            <a:pPr algn="ctr"/>
            <a:r>
              <a:rPr lang="ru-RU" sz="1100" dirty="0" smtClean="0"/>
              <a:t>(государственный фонд регионального развития)</a:t>
            </a:r>
            <a:endParaRPr lang="ru-RU" sz="1100" dirty="0"/>
          </a:p>
        </p:txBody>
      </p:sp>
      <p:sp>
        <p:nvSpPr>
          <p:cNvPr id="10" name="Овал 9"/>
          <p:cNvSpPr/>
          <p:nvPr/>
        </p:nvSpPr>
        <p:spPr>
          <a:xfrm>
            <a:off x="3965930" y="3098386"/>
            <a:ext cx="2736304" cy="141845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dirty="0" smtClean="0"/>
              <a:t>проект </a:t>
            </a:r>
            <a:r>
              <a:rPr lang="uk-UA" dirty="0" err="1" smtClean="0"/>
              <a:t>сотрудничества</a:t>
            </a:r>
            <a:endParaRPr lang="ru-RU" dirty="0"/>
          </a:p>
        </p:txBody>
      </p:sp>
      <p:sp>
        <p:nvSpPr>
          <p:cNvPr id="11" name="Округлений прямокутник 7"/>
          <p:cNvSpPr/>
          <p:nvPr/>
        </p:nvSpPr>
        <p:spPr>
          <a:xfrm>
            <a:off x="2085256" y="4746186"/>
            <a:ext cx="6840760" cy="129614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международная техническая и финансовая помощь 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 smtClean="0"/>
              <a:t>Trieste, 13/12/2016</a:t>
            </a:r>
            <a:endParaRPr lang="it-IT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smtClean="0"/>
              <a:t>INTERNATIONAL PRACTICES IN INTER-MUNICIPAL COOPERATION</a:t>
            </a:r>
            <a:endParaRPr lang="it-IT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D1028-69C3-4FC6-8C6A-2696D319A159}" type="slidenum">
              <a:rPr lang="it-IT" smtClean="0"/>
              <a:pPr/>
              <a:t>8</a:t>
            </a:fld>
            <a:endParaRPr lang="it-IT"/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286284" y="1370230"/>
            <a:ext cx="7763861" cy="50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260" tIns="44633" rIns="89260" bIns="44633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fontAlgn="base" hangingPunct="1">
              <a:spcBef>
                <a:spcPct val="20000"/>
              </a:spcBef>
              <a:spcAft>
                <a:spcPct val="0"/>
              </a:spcAft>
            </a:pPr>
            <a:r>
              <a:rPr lang="uk-UA" altLang="ru-RU" sz="2100" b="1" dirty="0">
                <a:solidFill>
                  <a:schemeClr val="accent1">
                    <a:lumMod val="75000"/>
                  </a:schemeClr>
                </a:solidFill>
                <a:latin typeface="Cambria" panose="02040503050406030204" pitchFamily="18" charset="0"/>
              </a:rPr>
              <a:t>СТАН ФОРМУВАННЯ ОБ'ЄДНАНИХ ТЕРИТОРІАЛЬНИХ ГРОМАД В УКРАЇНІ</a:t>
            </a:r>
          </a:p>
        </p:txBody>
      </p:sp>
      <p:grpSp>
        <p:nvGrpSpPr>
          <p:cNvPr id="8" name="Group 165"/>
          <p:cNvGrpSpPr>
            <a:grpSpLocks/>
          </p:cNvGrpSpPr>
          <p:nvPr/>
        </p:nvGrpSpPr>
        <p:grpSpPr bwMode="auto">
          <a:xfrm>
            <a:off x="846668" y="1676400"/>
            <a:ext cx="9550400" cy="4436533"/>
            <a:chOff x="1714663" y="980728"/>
            <a:chExt cx="7304904" cy="4752589"/>
          </a:xfrm>
        </p:grpSpPr>
        <p:grpSp>
          <p:nvGrpSpPr>
            <p:cNvPr id="9" name="Group 99"/>
            <p:cNvGrpSpPr>
              <a:grpSpLocks/>
            </p:cNvGrpSpPr>
            <p:nvPr/>
          </p:nvGrpSpPr>
          <p:grpSpPr bwMode="auto">
            <a:xfrm>
              <a:off x="1714663" y="980728"/>
              <a:ext cx="7304904" cy="4752589"/>
              <a:chOff x="179512" y="1788775"/>
              <a:chExt cx="6262359" cy="4016489"/>
            </a:xfrm>
          </p:grpSpPr>
          <p:sp>
            <p:nvSpPr>
              <p:cNvPr id="12" name="AutoShape 63"/>
              <p:cNvSpPr>
                <a:spLocks noChangeAspect="1" noChangeArrowheads="1"/>
              </p:cNvSpPr>
              <p:nvPr/>
            </p:nvSpPr>
            <p:spPr bwMode="auto">
              <a:xfrm>
                <a:off x="179512" y="1788775"/>
                <a:ext cx="6102876" cy="36558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100" dirty="0">
                  <a:solidFill>
                    <a:srgbClr val="000000"/>
                  </a:solidFill>
                  <a:latin typeface="Calibri" pitchFamily="34" charset="0"/>
                  <a:cs typeface="Arial" pitchFamily="34" charset="0"/>
                </a:endParaRPr>
              </a:p>
            </p:txBody>
          </p:sp>
          <p:sp>
            <p:nvSpPr>
              <p:cNvPr id="13" name="Freeform 62"/>
              <p:cNvSpPr>
                <a:spLocks/>
              </p:cNvSpPr>
              <p:nvPr/>
            </p:nvSpPr>
            <p:spPr bwMode="auto">
              <a:xfrm>
                <a:off x="4566701" y="4994990"/>
                <a:ext cx="84369" cy="73783"/>
              </a:xfrm>
              <a:custGeom>
                <a:avLst/>
                <a:gdLst/>
                <a:ahLst/>
                <a:cxnLst>
                  <a:cxn ang="0">
                    <a:pos x="7" y="28"/>
                  </a:cxn>
                  <a:cxn ang="0">
                    <a:pos x="7" y="15"/>
                  </a:cxn>
                  <a:cxn ang="0">
                    <a:pos x="20" y="4"/>
                  </a:cxn>
                  <a:cxn ang="0">
                    <a:pos x="25" y="18"/>
                  </a:cxn>
                  <a:cxn ang="0">
                    <a:pos x="26" y="29"/>
                  </a:cxn>
                  <a:cxn ang="0">
                    <a:pos x="7" y="28"/>
                  </a:cxn>
                  <a:cxn ang="0">
                    <a:pos x="7" y="28"/>
                  </a:cxn>
                </a:cxnLst>
                <a:rect l="0" t="0" r="r" b="b"/>
                <a:pathLst>
                  <a:path w="30" h="29">
                    <a:moveTo>
                      <a:pt x="7" y="28"/>
                    </a:moveTo>
                    <a:cubicBezTo>
                      <a:pt x="0" y="20"/>
                      <a:pt x="7" y="15"/>
                      <a:pt x="7" y="15"/>
                    </a:cubicBezTo>
                    <a:cubicBezTo>
                      <a:pt x="7" y="0"/>
                      <a:pt x="20" y="4"/>
                      <a:pt x="20" y="4"/>
                    </a:cubicBezTo>
                    <a:cubicBezTo>
                      <a:pt x="30" y="4"/>
                      <a:pt x="25" y="18"/>
                      <a:pt x="25" y="18"/>
                    </a:cubicBezTo>
                    <a:cubicBezTo>
                      <a:pt x="26" y="22"/>
                      <a:pt x="26" y="26"/>
                      <a:pt x="26" y="29"/>
                    </a:cubicBezTo>
                    <a:cubicBezTo>
                      <a:pt x="26" y="29"/>
                      <a:pt x="13" y="18"/>
                      <a:pt x="7" y="28"/>
                    </a:cubicBezTo>
                    <a:cubicBezTo>
                      <a:pt x="7" y="28"/>
                      <a:pt x="7" y="28"/>
                      <a:pt x="7" y="28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2770">
                  <a:defRPr/>
                </a:pPr>
                <a:endParaRPr lang="uk-UA" sz="1100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14" name="Freeform 61"/>
              <p:cNvSpPr>
                <a:spLocks/>
              </p:cNvSpPr>
              <p:nvPr/>
            </p:nvSpPr>
            <p:spPr bwMode="auto">
              <a:xfrm>
                <a:off x="3542026" y="4821935"/>
                <a:ext cx="107502" cy="46953"/>
              </a:xfrm>
              <a:custGeom>
                <a:avLst/>
                <a:gdLst/>
                <a:ahLst/>
                <a:cxnLst>
                  <a:cxn ang="0">
                    <a:pos x="37" y="3"/>
                  </a:cxn>
                  <a:cxn ang="0">
                    <a:pos x="33" y="15"/>
                  </a:cxn>
                  <a:cxn ang="0">
                    <a:pos x="17" y="18"/>
                  </a:cxn>
                  <a:cxn ang="0">
                    <a:pos x="0" y="0"/>
                  </a:cxn>
                  <a:cxn ang="0">
                    <a:pos x="22" y="0"/>
                  </a:cxn>
                  <a:cxn ang="0">
                    <a:pos x="37" y="3"/>
                  </a:cxn>
                  <a:cxn ang="0">
                    <a:pos x="37" y="3"/>
                  </a:cxn>
                </a:cxnLst>
                <a:rect l="0" t="0" r="r" b="b"/>
                <a:pathLst>
                  <a:path w="38" h="18">
                    <a:moveTo>
                      <a:pt x="37" y="3"/>
                    </a:moveTo>
                    <a:cubicBezTo>
                      <a:pt x="38" y="8"/>
                      <a:pt x="29" y="11"/>
                      <a:pt x="33" y="15"/>
                    </a:cubicBezTo>
                    <a:cubicBezTo>
                      <a:pt x="24" y="15"/>
                      <a:pt x="17" y="18"/>
                      <a:pt x="17" y="18"/>
                    </a:cubicBezTo>
                    <a:cubicBezTo>
                      <a:pt x="7" y="14"/>
                      <a:pt x="0" y="0"/>
                      <a:pt x="0" y="0"/>
                    </a:cubicBezTo>
                    <a:cubicBezTo>
                      <a:pt x="16" y="5"/>
                      <a:pt x="22" y="0"/>
                      <a:pt x="22" y="0"/>
                    </a:cubicBezTo>
                    <a:cubicBezTo>
                      <a:pt x="29" y="2"/>
                      <a:pt x="33" y="3"/>
                      <a:pt x="37" y="3"/>
                    </a:cubicBezTo>
                    <a:cubicBezTo>
                      <a:pt x="37" y="3"/>
                      <a:pt x="37" y="3"/>
                      <a:pt x="37" y="3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2770">
                  <a:defRPr/>
                </a:pPr>
                <a:endParaRPr lang="uk-UA" sz="1100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15" name="Freeform 60"/>
              <p:cNvSpPr>
                <a:spLocks/>
              </p:cNvSpPr>
              <p:nvPr/>
            </p:nvSpPr>
            <p:spPr bwMode="auto">
              <a:xfrm>
                <a:off x="4774903" y="4962794"/>
                <a:ext cx="72121" cy="52319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0" y="21"/>
                  </a:cxn>
                  <a:cxn ang="0">
                    <a:pos x="25" y="0"/>
                  </a:cxn>
                  <a:cxn ang="0">
                    <a:pos x="25" y="0"/>
                  </a:cxn>
                </a:cxnLst>
                <a:rect l="0" t="0" r="r" b="b"/>
                <a:pathLst>
                  <a:path w="25" h="21">
                    <a:moveTo>
                      <a:pt x="25" y="0"/>
                    </a:moveTo>
                    <a:cubicBezTo>
                      <a:pt x="25" y="10"/>
                      <a:pt x="0" y="21"/>
                      <a:pt x="0" y="21"/>
                    </a:cubicBezTo>
                    <a:cubicBezTo>
                      <a:pt x="1" y="6"/>
                      <a:pt x="16" y="8"/>
                      <a:pt x="25" y="0"/>
                    </a:cubicBezTo>
                    <a:cubicBezTo>
                      <a:pt x="25" y="0"/>
                      <a:pt x="25" y="0"/>
                      <a:pt x="25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2770">
                  <a:defRPr/>
                </a:pPr>
                <a:endParaRPr lang="uk-UA" sz="1100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16" name="Freeform 59"/>
              <p:cNvSpPr>
                <a:spLocks/>
              </p:cNvSpPr>
              <p:nvPr/>
            </p:nvSpPr>
            <p:spPr bwMode="auto">
              <a:xfrm>
                <a:off x="3938016" y="5037919"/>
                <a:ext cx="149687" cy="42928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35" y="13"/>
                  </a:cxn>
                  <a:cxn ang="0">
                    <a:pos x="50" y="8"/>
                  </a:cxn>
                  <a:cxn ang="0">
                    <a:pos x="35" y="3"/>
                  </a:cxn>
                  <a:cxn ang="0">
                    <a:pos x="0" y="2"/>
                  </a:cxn>
                  <a:cxn ang="0">
                    <a:pos x="0" y="2"/>
                  </a:cxn>
                </a:cxnLst>
                <a:rect l="0" t="0" r="r" b="b"/>
                <a:pathLst>
                  <a:path w="53" h="17">
                    <a:moveTo>
                      <a:pt x="0" y="2"/>
                    </a:moveTo>
                    <a:cubicBezTo>
                      <a:pt x="24" y="8"/>
                      <a:pt x="35" y="13"/>
                      <a:pt x="35" y="13"/>
                    </a:cubicBezTo>
                    <a:cubicBezTo>
                      <a:pt x="53" y="17"/>
                      <a:pt x="50" y="8"/>
                      <a:pt x="50" y="8"/>
                    </a:cubicBezTo>
                    <a:cubicBezTo>
                      <a:pt x="49" y="2"/>
                      <a:pt x="35" y="3"/>
                      <a:pt x="35" y="3"/>
                    </a:cubicBezTo>
                    <a:cubicBezTo>
                      <a:pt x="28" y="0"/>
                      <a:pt x="26" y="6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2770">
                  <a:defRPr/>
                </a:pPr>
                <a:endParaRPr lang="uk-UA" sz="1100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17" name="Freeform 105"/>
              <p:cNvSpPr>
                <a:spLocks/>
              </p:cNvSpPr>
              <p:nvPr/>
            </p:nvSpPr>
            <p:spPr bwMode="auto">
              <a:xfrm>
                <a:off x="822759" y="3385707"/>
                <a:ext cx="704382" cy="827340"/>
              </a:xfrm>
              <a:custGeom>
                <a:avLst/>
                <a:gdLst>
                  <a:gd name="T0" fmla="*/ 0 w 249"/>
                  <a:gd name="T1" fmla="*/ 2147483647 h 331"/>
                  <a:gd name="T2" fmla="*/ 2147483647 w 249"/>
                  <a:gd name="T3" fmla="*/ 2147483647 h 331"/>
                  <a:gd name="T4" fmla="*/ 2147483647 w 249"/>
                  <a:gd name="T5" fmla="*/ 2147483647 h 331"/>
                  <a:gd name="T6" fmla="*/ 2147483647 w 249"/>
                  <a:gd name="T7" fmla="*/ 2147483647 h 331"/>
                  <a:gd name="T8" fmla="*/ 2147483647 w 249"/>
                  <a:gd name="T9" fmla="*/ 2147483647 h 331"/>
                  <a:gd name="T10" fmla="*/ 2147483647 w 249"/>
                  <a:gd name="T11" fmla="*/ 2147483647 h 331"/>
                  <a:gd name="T12" fmla="*/ 2147483647 w 249"/>
                  <a:gd name="T13" fmla="*/ 2147483647 h 331"/>
                  <a:gd name="T14" fmla="*/ 2147483647 w 249"/>
                  <a:gd name="T15" fmla="*/ 2147483647 h 331"/>
                  <a:gd name="T16" fmla="*/ 2147483647 w 249"/>
                  <a:gd name="T17" fmla="*/ 2147483647 h 331"/>
                  <a:gd name="T18" fmla="*/ 2147483647 w 249"/>
                  <a:gd name="T19" fmla="*/ 2147483647 h 331"/>
                  <a:gd name="T20" fmla="*/ 2147483647 w 249"/>
                  <a:gd name="T21" fmla="*/ 2147483647 h 331"/>
                  <a:gd name="T22" fmla="*/ 2147483647 w 249"/>
                  <a:gd name="T23" fmla="*/ 2147483647 h 331"/>
                  <a:gd name="T24" fmla="*/ 2147483647 w 249"/>
                  <a:gd name="T25" fmla="*/ 2147483647 h 331"/>
                  <a:gd name="T26" fmla="*/ 2147483647 w 249"/>
                  <a:gd name="T27" fmla="*/ 2147483647 h 331"/>
                  <a:gd name="T28" fmla="*/ 2147483647 w 249"/>
                  <a:gd name="T29" fmla="*/ 2147483647 h 331"/>
                  <a:gd name="T30" fmla="*/ 2147483647 w 249"/>
                  <a:gd name="T31" fmla="*/ 2147483647 h 331"/>
                  <a:gd name="T32" fmla="*/ 2147483647 w 249"/>
                  <a:gd name="T33" fmla="*/ 2147483647 h 331"/>
                  <a:gd name="T34" fmla="*/ 2147483647 w 249"/>
                  <a:gd name="T35" fmla="*/ 2147483647 h 331"/>
                  <a:gd name="T36" fmla="*/ 2147483647 w 249"/>
                  <a:gd name="T37" fmla="*/ 2147483647 h 331"/>
                  <a:gd name="T38" fmla="*/ 2147483647 w 249"/>
                  <a:gd name="T39" fmla="*/ 2147483647 h 331"/>
                  <a:gd name="T40" fmla="*/ 2147483647 w 249"/>
                  <a:gd name="T41" fmla="*/ 2147483647 h 331"/>
                  <a:gd name="T42" fmla="*/ 2147483647 w 249"/>
                  <a:gd name="T43" fmla="*/ 2147483647 h 331"/>
                  <a:gd name="T44" fmla="*/ 2147483647 w 249"/>
                  <a:gd name="T45" fmla="*/ 2147483647 h 331"/>
                  <a:gd name="T46" fmla="*/ 2147483647 w 249"/>
                  <a:gd name="T47" fmla="*/ 2147483647 h 331"/>
                  <a:gd name="T48" fmla="*/ 2147483647 w 249"/>
                  <a:gd name="T49" fmla="*/ 2147483647 h 331"/>
                  <a:gd name="T50" fmla="*/ 2147483647 w 249"/>
                  <a:gd name="T51" fmla="*/ 2147483647 h 331"/>
                  <a:gd name="T52" fmla="*/ 2147483647 w 249"/>
                  <a:gd name="T53" fmla="*/ 2147483647 h 331"/>
                  <a:gd name="T54" fmla="*/ 2147483647 w 249"/>
                  <a:gd name="T55" fmla="*/ 2147483647 h 331"/>
                  <a:gd name="T56" fmla="*/ 2147483647 w 249"/>
                  <a:gd name="T57" fmla="*/ 2147483647 h 331"/>
                  <a:gd name="T58" fmla="*/ 2147483647 w 249"/>
                  <a:gd name="T59" fmla="*/ 2147483647 h 331"/>
                  <a:gd name="T60" fmla="*/ 2147483647 w 249"/>
                  <a:gd name="T61" fmla="*/ 2147483647 h 331"/>
                  <a:gd name="T62" fmla="*/ 2147483647 w 249"/>
                  <a:gd name="T63" fmla="*/ 2147483647 h 331"/>
                  <a:gd name="T64" fmla="*/ 2147483647 w 249"/>
                  <a:gd name="T65" fmla="*/ 2147483647 h 331"/>
                  <a:gd name="T66" fmla="*/ 2147483647 w 249"/>
                  <a:gd name="T67" fmla="*/ 2147483647 h 331"/>
                  <a:gd name="T68" fmla="*/ 2147483647 w 249"/>
                  <a:gd name="T69" fmla="*/ 2147483647 h 331"/>
                  <a:gd name="T70" fmla="*/ 2147483647 w 249"/>
                  <a:gd name="T71" fmla="*/ 2147483647 h 331"/>
                  <a:gd name="T72" fmla="*/ 2147483647 w 249"/>
                  <a:gd name="T73" fmla="*/ 2147483647 h 331"/>
                  <a:gd name="T74" fmla="*/ 2147483647 w 249"/>
                  <a:gd name="T75" fmla="*/ 2147483647 h 331"/>
                  <a:gd name="T76" fmla="*/ 2147483647 w 249"/>
                  <a:gd name="T77" fmla="*/ 2147483647 h 331"/>
                  <a:gd name="T78" fmla="*/ 2147483647 w 249"/>
                  <a:gd name="T79" fmla="*/ 2147483647 h 331"/>
                  <a:gd name="T80" fmla="*/ 2147483647 w 249"/>
                  <a:gd name="T81" fmla="*/ 2147483647 h 331"/>
                  <a:gd name="T82" fmla="*/ 2147483647 w 249"/>
                  <a:gd name="T83" fmla="*/ 2147483647 h 331"/>
                  <a:gd name="T84" fmla="*/ 2147483647 w 249"/>
                  <a:gd name="T85" fmla="*/ 2147483647 h 331"/>
                  <a:gd name="T86" fmla="*/ 2147483647 w 249"/>
                  <a:gd name="T87" fmla="*/ 2147483647 h 331"/>
                  <a:gd name="T88" fmla="*/ 2147483647 w 249"/>
                  <a:gd name="T89" fmla="*/ 2147483647 h 331"/>
                  <a:gd name="T90" fmla="*/ 2147483647 w 249"/>
                  <a:gd name="T91" fmla="*/ 2147483647 h 331"/>
                  <a:gd name="T92" fmla="*/ 0 w 249"/>
                  <a:gd name="T93" fmla="*/ 2147483647 h 331"/>
                  <a:gd name="T94" fmla="*/ 0 w 249"/>
                  <a:gd name="T95" fmla="*/ 2147483647 h 331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249"/>
                  <a:gd name="T145" fmla="*/ 0 h 331"/>
                  <a:gd name="T146" fmla="*/ 249 w 249"/>
                  <a:gd name="T147" fmla="*/ 331 h 331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249" h="331">
                    <a:moveTo>
                      <a:pt x="0" y="135"/>
                    </a:moveTo>
                    <a:cubicBezTo>
                      <a:pt x="7" y="119"/>
                      <a:pt x="3" y="108"/>
                      <a:pt x="3" y="108"/>
                    </a:cubicBezTo>
                    <a:cubicBezTo>
                      <a:pt x="2" y="93"/>
                      <a:pt x="11" y="90"/>
                      <a:pt x="11" y="90"/>
                    </a:cubicBezTo>
                    <a:cubicBezTo>
                      <a:pt x="20" y="87"/>
                      <a:pt x="22" y="80"/>
                      <a:pt x="22" y="80"/>
                    </a:cubicBezTo>
                    <a:cubicBezTo>
                      <a:pt x="19" y="64"/>
                      <a:pt x="39" y="71"/>
                      <a:pt x="39" y="71"/>
                    </a:cubicBezTo>
                    <a:cubicBezTo>
                      <a:pt x="59" y="75"/>
                      <a:pt x="63" y="69"/>
                      <a:pt x="63" y="69"/>
                    </a:cubicBezTo>
                    <a:cubicBezTo>
                      <a:pt x="72" y="65"/>
                      <a:pt x="93" y="66"/>
                      <a:pt x="93" y="66"/>
                    </a:cubicBezTo>
                    <a:cubicBezTo>
                      <a:pt x="116" y="67"/>
                      <a:pt x="116" y="59"/>
                      <a:pt x="116" y="59"/>
                    </a:cubicBezTo>
                    <a:cubicBezTo>
                      <a:pt x="115" y="55"/>
                      <a:pt x="103" y="56"/>
                      <a:pt x="103" y="56"/>
                    </a:cubicBezTo>
                    <a:cubicBezTo>
                      <a:pt x="100" y="50"/>
                      <a:pt x="102" y="40"/>
                      <a:pt x="102" y="40"/>
                    </a:cubicBezTo>
                    <a:cubicBezTo>
                      <a:pt x="116" y="39"/>
                      <a:pt x="113" y="21"/>
                      <a:pt x="113" y="21"/>
                    </a:cubicBezTo>
                    <a:cubicBezTo>
                      <a:pt x="110" y="4"/>
                      <a:pt x="123" y="7"/>
                      <a:pt x="123" y="7"/>
                    </a:cubicBezTo>
                    <a:cubicBezTo>
                      <a:pt x="129" y="0"/>
                      <a:pt x="140" y="6"/>
                      <a:pt x="140" y="6"/>
                    </a:cubicBezTo>
                    <a:cubicBezTo>
                      <a:pt x="142" y="14"/>
                      <a:pt x="151" y="11"/>
                      <a:pt x="151" y="11"/>
                    </a:cubicBezTo>
                    <a:cubicBezTo>
                      <a:pt x="151" y="11"/>
                      <a:pt x="162" y="31"/>
                      <a:pt x="162" y="53"/>
                    </a:cubicBezTo>
                    <a:cubicBezTo>
                      <a:pt x="162" y="53"/>
                      <a:pt x="168" y="63"/>
                      <a:pt x="163" y="66"/>
                    </a:cubicBezTo>
                    <a:cubicBezTo>
                      <a:pt x="163" y="66"/>
                      <a:pt x="158" y="73"/>
                      <a:pt x="160" y="81"/>
                    </a:cubicBezTo>
                    <a:cubicBezTo>
                      <a:pt x="160" y="81"/>
                      <a:pt x="175" y="80"/>
                      <a:pt x="176" y="87"/>
                    </a:cubicBezTo>
                    <a:cubicBezTo>
                      <a:pt x="176" y="87"/>
                      <a:pt x="179" y="94"/>
                      <a:pt x="165" y="95"/>
                    </a:cubicBezTo>
                    <a:cubicBezTo>
                      <a:pt x="182" y="98"/>
                      <a:pt x="173" y="109"/>
                      <a:pt x="179" y="111"/>
                    </a:cubicBezTo>
                    <a:cubicBezTo>
                      <a:pt x="179" y="111"/>
                      <a:pt x="190" y="102"/>
                      <a:pt x="188" y="117"/>
                    </a:cubicBezTo>
                    <a:cubicBezTo>
                      <a:pt x="188" y="117"/>
                      <a:pt x="186" y="139"/>
                      <a:pt x="196" y="126"/>
                    </a:cubicBezTo>
                    <a:cubicBezTo>
                      <a:pt x="196" y="126"/>
                      <a:pt x="203" y="111"/>
                      <a:pt x="204" y="135"/>
                    </a:cubicBezTo>
                    <a:cubicBezTo>
                      <a:pt x="204" y="135"/>
                      <a:pt x="196" y="154"/>
                      <a:pt x="219" y="135"/>
                    </a:cubicBezTo>
                    <a:cubicBezTo>
                      <a:pt x="219" y="135"/>
                      <a:pt x="230" y="129"/>
                      <a:pt x="233" y="143"/>
                    </a:cubicBezTo>
                    <a:cubicBezTo>
                      <a:pt x="233" y="143"/>
                      <a:pt x="249" y="147"/>
                      <a:pt x="246" y="168"/>
                    </a:cubicBezTo>
                    <a:cubicBezTo>
                      <a:pt x="246" y="168"/>
                      <a:pt x="234" y="172"/>
                      <a:pt x="241" y="189"/>
                    </a:cubicBezTo>
                    <a:cubicBezTo>
                      <a:pt x="241" y="189"/>
                      <a:pt x="245" y="194"/>
                      <a:pt x="241" y="205"/>
                    </a:cubicBezTo>
                    <a:cubicBezTo>
                      <a:pt x="241" y="205"/>
                      <a:pt x="243" y="220"/>
                      <a:pt x="225" y="217"/>
                    </a:cubicBezTo>
                    <a:cubicBezTo>
                      <a:pt x="225" y="217"/>
                      <a:pt x="208" y="213"/>
                      <a:pt x="189" y="240"/>
                    </a:cubicBezTo>
                    <a:cubicBezTo>
                      <a:pt x="189" y="240"/>
                      <a:pt x="186" y="247"/>
                      <a:pt x="182" y="245"/>
                    </a:cubicBezTo>
                    <a:cubicBezTo>
                      <a:pt x="182" y="245"/>
                      <a:pt x="177" y="260"/>
                      <a:pt x="161" y="264"/>
                    </a:cubicBezTo>
                    <a:cubicBezTo>
                      <a:pt x="161" y="264"/>
                      <a:pt x="148" y="282"/>
                      <a:pt x="153" y="302"/>
                    </a:cubicBezTo>
                    <a:cubicBezTo>
                      <a:pt x="153" y="302"/>
                      <a:pt x="162" y="311"/>
                      <a:pt x="148" y="331"/>
                    </a:cubicBezTo>
                    <a:cubicBezTo>
                      <a:pt x="148" y="331"/>
                      <a:pt x="138" y="304"/>
                      <a:pt x="124" y="306"/>
                    </a:cubicBezTo>
                    <a:cubicBezTo>
                      <a:pt x="124" y="306"/>
                      <a:pt x="125" y="291"/>
                      <a:pt x="113" y="285"/>
                    </a:cubicBezTo>
                    <a:cubicBezTo>
                      <a:pt x="125" y="264"/>
                      <a:pt x="111" y="256"/>
                      <a:pt x="111" y="256"/>
                    </a:cubicBezTo>
                    <a:cubicBezTo>
                      <a:pt x="102" y="252"/>
                      <a:pt x="113" y="242"/>
                      <a:pt x="106" y="238"/>
                    </a:cubicBezTo>
                    <a:cubicBezTo>
                      <a:pt x="100" y="219"/>
                      <a:pt x="91" y="217"/>
                      <a:pt x="91" y="217"/>
                    </a:cubicBezTo>
                    <a:cubicBezTo>
                      <a:pt x="84" y="201"/>
                      <a:pt x="78" y="213"/>
                      <a:pt x="78" y="213"/>
                    </a:cubicBezTo>
                    <a:cubicBezTo>
                      <a:pt x="53" y="216"/>
                      <a:pt x="62" y="201"/>
                      <a:pt x="62" y="201"/>
                    </a:cubicBezTo>
                    <a:cubicBezTo>
                      <a:pt x="67" y="172"/>
                      <a:pt x="60" y="180"/>
                      <a:pt x="60" y="180"/>
                    </a:cubicBezTo>
                    <a:cubicBezTo>
                      <a:pt x="49" y="179"/>
                      <a:pt x="45" y="186"/>
                      <a:pt x="45" y="186"/>
                    </a:cubicBezTo>
                    <a:cubicBezTo>
                      <a:pt x="32" y="188"/>
                      <a:pt x="40" y="177"/>
                      <a:pt x="40" y="177"/>
                    </a:cubicBezTo>
                    <a:cubicBezTo>
                      <a:pt x="39" y="170"/>
                      <a:pt x="32" y="169"/>
                      <a:pt x="32" y="169"/>
                    </a:cubicBezTo>
                    <a:cubicBezTo>
                      <a:pt x="23" y="167"/>
                      <a:pt x="29" y="152"/>
                      <a:pt x="12" y="153"/>
                    </a:cubicBezTo>
                    <a:cubicBezTo>
                      <a:pt x="13" y="144"/>
                      <a:pt x="0" y="135"/>
                      <a:pt x="0" y="135"/>
                    </a:cubicBezTo>
                    <a:cubicBezTo>
                      <a:pt x="0" y="135"/>
                      <a:pt x="0" y="135"/>
                      <a:pt x="0" y="135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18" name="Freeform 57"/>
              <p:cNvSpPr>
                <a:spLocks/>
              </p:cNvSpPr>
              <p:nvPr/>
            </p:nvSpPr>
            <p:spPr bwMode="auto">
              <a:xfrm>
                <a:off x="542335" y="2890717"/>
                <a:ext cx="971516" cy="833233"/>
              </a:xfrm>
              <a:custGeom>
                <a:avLst/>
                <a:gdLst>
                  <a:gd name="T0" fmla="*/ 2147483647 w 343"/>
                  <a:gd name="T1" fmla="*/ 2147483647 h 333"/>
                  <a:gd name="T2" fmla="*/ 2147483647 w 343"/>
                  <a:gd name="T3" fmla="*/ 2147483647 h 333"/>
                  <a:gd name="T4" fmla="*/ 2147483647 w 343"/>
                  <a:gd name="T5" fmla="*/ 2147483647 h 333"/>
                  <a:gd name="T6" fmla="*/ 2147483647 w 343"/>
                  <a:gd name="T7" fmla="*/ 2147483647 h 333"/>
                  <a:gd name="T8" fmla="*/ 2147483647 w 343"/>
                  <a:gd name="T9" fmla="*/ 2147483647 h 333"/>
                  <a:gd name="T10" fmla="*/ 2147483647 w 343"/>
                  <a:gd name="T11" fmla="*/ 2147483647 h 333"/>
                  <a:gd name="T12" fmla="*/ 2147483647 w 343"/>
                  <a:gd name="T13" fmla="*/ 2147483647 h 333"/>
                  <a:gd name="T14" fmla="*/ 2147483647 w 343"/>
                  <a:gd name="T15" fmla="*/ 2147483647 h 333"/>
                  <a:gd name="T16" fmla="*/ 2147483647 w 343"/>
                  <a:gd name="T17" fmla="*/ 2147483647 h 333"/>
                  <a:gd name="T18" fmla="*/ 2147483647 w 343"/>
                  <a:gd name="T19" fmla="*/ 2147483647 h 333"/>
                  <a:gd name="T20" fmla="*/ 2147483647 w 343"/>
                  <a:gd name="T21" fmla="*/ 0 h 333"/>
                  <a:gd name="T22" fmla="*/ 2147483647 w 343"/>
                  <a:gd name="T23" fmla="*/ 2147483647 h 333"/>
                  <a:gd name="T24" fmla="*/ 2147483647 w 343"/>
                  <a:gd name="T25" fmla="*/ 2147483647 h 333"/>
                  <a:gd name="T26" fmla="*/ 2147483647 w 343"/>
                  <a:gd name="T27" fmla="*/ 2147483647 h 333"/>
                  <a:gd name="T28" fmla="*/ 2147483647 w 343"/>
                  <a:gd name="T29" fmla="*/ 2147483647 h 333"/>
                  <a:gd name="T30" fmla="*/ 2147483647 w 343"/>
                  <a:gd name="T31" fmla="*/ 2147483647 h 333"/>
                  <a:gd name="T32" fmla="*/ 2147483647 w 343"/>
                  <a:gd name="T33" fmla="*/ 2147483647 h 333"/>
                  <a:gd name="T34" fmla="*/ 2147483647 w 343"/>
                  <a:gd name="T35" fmla="*/ 2147483647 h 333"/>
                  <a:gd name="T36" fmla="*/ 2147483647 w 343"/>
                  <a:gd name="T37" fmla="*/ 2147483647 h 333"/>
                  <a:gd name="T38" fmla="*/ 2147483647 w 343"/>
                  <a:gd name="T39" fmla="*/ 2147483647 h 333"/>
                  <a:gd name="T40" fmla="*/ 2147483647 w 343"/>
                  <a:gd name="T41" fmla="*/ 2147483647 h 333"/>
                  <a:gd name="T42" fmla="*/ 2147483647 w 343"/>
                  <a:gd name="T43" fmla="*/ 2147483647 h 333"/>
                  <a:gd name="T44" fmla="*/ 2147483647 w 343"/>
                  <a:gd name="T45" fmla="*/ 2147483647 h 333"/>
                  <a:gd name="T46" fmla="*/ 2147483647 w 343"/>
                  <a:gd name="T47" fmla="*/ 2147483647 h 333"/>
                  <a:gd name="T48" fmla="*/ 2147483647 w 343"/>
                  <a:gd name="T49" fmla="*/ 2147483647 h 333"/>
                  <a:gd name="T50" fmla="*/ 2147483647 w 343"/>
                  <a:gd name="T51" fmla="*/ 2147483647 h 333"/>
                  <a:gd name="T52" fmla="*/ 2147483647 w 343"/>
                  <a:gd name="T53" fmla="*/ 2147483647 h 333"/>
                  <a:gd name="T54" fmla="*/ 2147483647 w 343"/>
                  <a:gd name="T55" fmla="*/ 2147483647 h 333"/>
                  <a:gd name="T56" fmla="*/ 2147483647 w 343"/>
                  <a:gd name="T57" fmla="*/ 2147483647 h 333"/>
                  <a:gd name="T58" fmla="*/ 2147483647 w 343"/>
                  <a:gd name="T59" fmla="*/ 2147483647 h 333"/>
                  <a:gd name="T60" fmla="*/ 2147483647 w 343"/>
                  <a:gd name="T61" fmla="*/ 2147483647 h 333"/>
                  <a:gd name="T62" fmla="*/ 2147483647 w 343"/>
                  <a:gd name="T63" fmla="*/ 2147483647 h 333"/>
                  <a:gd name="T64" fmla="*/ 2147483647 w 343"/>
                  <a:gd name="T65" fmla="*/ 2147483647 h 333"/>
                  <a:gd name="T66" fmla="*/ 2147483647 w 343"/>
                  <a:gd name="T67" fmla="*/ 2147483647 h 333"/>
                  <a:gd name="T68" fmla="*/ 2147483647 w 343"/>
                  <a:gd name="T69" fmla="*/ 2147483647 h 333"/>
                  <a:gd name="T70" fmla="*/ 2147483647 w 343"/>
                  <a:gd name="T71" fmla="*/ 2147483647 h 333"/>
                  <a:gd name="T72" fmla="*/ 2147483647 w 343"/>
                  <a:gd name="T73" fmla="*/ 2147483647 h 333"/>
                  <a:gd name="T74" fmla="*/ 2147483647 w 343"/>
                  <a:gd name="T75" fmla="*/ 2147483647 h 333"/>
                  <a:gd name="T76" fmla="*/ 2147483647 w 343"/>
                  <a:gd name="T77" fmla="*/ 2147483647 h 333"/>
                  <a:gd name="T78" fmla="*/ 2147483647 w 343"/>
                  <a:gd name="T79" fmla="*/ 2147483647 h 333"/>
                  <a:gd name="T80" fmla="*/ 2147483647 w 343"/>
                  <a:gd name="T81" fmla="*/ 2147483647 h 333"/>
                  <a:gd name="T82" fmla="*/ 2147483647 w 343"/>
                  <a:gd name="T83" fmla="*/ 2147483647 h 333"/>
                  <a:gd name="T84" fmla="*/ 2147483647 w 343"/>
                  <a:gd name="T85" fmla="*/ 2147483647 h 333"/>
                  <a:gd name="T86" fmla="*/ 2147483647 w 343"/>
                  <a:gd name="T87" fmla="*/ 2147483647 h 333"/>
                  <a:gd name="T88" fmla="*/ 2147483647 w 343"/>
                  <a:gd name="T89" fmla="*/ 2147483647 h 333"/>
                  <a:gd name="T90" fmla="*/ 2147483647 w 343"/>
                  <a:gd name="T91" fmla="*/ 2147483647 h 333"/>
                  <a:gd name="T92" fmla="*/ 2147483647 w 343"/>
                  <a:gd name="T93" fmla="*/ 2147483647 h 333"/>
                  <a:gd name="T94" fmla="*/ 2147483647 w 343"/>
                  <a:gd name="T95" fmla="*/ 2147483647 h 333"/>
                  <a:gd name="T96" fmla="*/ 2147483647 w 343"/>
                  <a:gd name="T97" fmla="*/ 2147483647 h 333"/>
                  <a:gd name="T98" fmla="*/ 2147483647 w 343"/>
                  <a:gd name="T99" fmla="*/ 2147483647 h 333"/>
                  <a:gd name="T100" fmla="*/ 2147483647 w 343"/>
                  <a:gd name="T101" fmla="*/ 2147483647 h 333"/>
                  <a:gd name="T102" fmla="*/ 2147483647 w 343"/>
                  <a:gd name="T103" fmla="*/ 2147483647 h 333"/>
                  <a:gd name="T104" fmla="*/ 2147483647 w 343"/>
                  <a:gd name="T105" fmla="*/ 2147483647 h 333"/>
                  <a:gd name="T106" fmla="*/ 2147483647 w 343"/>
                  <a:gd name="T107" fmla="*/ 2147483647 h 333"/>
                  <a:gd name="T108" fmla="*/ 2147483647 w 343"/>
                  <a:gd name="T109" fmla="*/ 2147483647 h 33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43"/>
                  <a:gd name="T166" fmla="*/ 0 h 333"/>
                  <a:gd name="T167" fmla="*/ 343 w 343"/>
                  <a:gd name="T168" fmla="*/ 333 h 333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43" h="333">
                    <a:moveTo>
                      <a:pt x="28" y="267"/>
                    </a:moveTo>
                    <a:cubicBezTo>
                      <a:pt x="28" y="267"/>
                      <a:pt x="31" y="255"/>
                      <a:pt x="20" y="247"/>
                    </a:cubicBezTo>
                    <a:cubicBezTo>
                      <a:pt x="20" y="247"/>
                      <a:pt x="7" y="242"/>
                      <a:pt x="16" y="227"/>
                    </a:cubicBezTo>
                    <a:cubicBezTo>
                      <a:pt x="16" y="227"/>
                      <a:pt x="23" y="219"/>
                      <a:pt x="18" y="197"/>
                    </a:cubicBezTo>
                    <a:cubicBezTo>
                      <a:pt x="18" y="197"/>
                      <a:pt x="13" y="197"/>
                      <a:pt x="15" y="179"/>
                    </a:cubicBezTo>
                    <a:cubicBezTo>
                      <a:pt x="15" y="179"/>
                      <a:pt x="0" y="177"/>
                      <a:pt x="48" y="134"/>
                    </a:cubicBezTo>
                    <a:cubicBezTo>
                      <a:pt x="48" y="134"/>
                      <a:pt x="98" y="73"/>
                      <a:pt x="148" y="45"/>
                    </a:cubicBezTo>
                    <a:cubicBezTo>
                      <a:pt x="148" y="45"/>
                      <a:pt x="145" y="31"/>
                      <a:pt x="172" y="32"/>
                    </a:cubicBezTo>
                    <a:cubicBezTo>
                      <a:pt x="172" y="32"/>
                      <a:pt x="191" y="36"/>
                      <a:pt x="189" y="24"/>
                    </a:cubicBezTo>
                    <a:cubicBezTo>
                      <a:pt x="189" y="24"/>
                      <a:pt x="186" y="12"/>
                      <a:pt x="201" y="13"/>
                    </a:cubicBezTo>
                    <a:cubicBezTo>
                      <a:pt x="201" y="13"/>
                      <a:pt x="202" y="7"/>
                      <a:pt x="201" y="0"/>
                    </a:cubicBezTo>
                    <a:cubicBezTo>
                      <a:pt x="210" y="11"/>
                      <a:pt x="219" y="10"/>
                      <a:pt x="219" y="10"/>
                    </a:cubicBezTo>
                    <a:cubicBezTo>
                      <a:pt x="230" y="7"/>
                      <a:pt x="234" y="14"/>
                      <a:pt x="234" y="14"/>
                    </a:cubicBezTo>
                    <a:cubicBezTo>
                      <a:pt x="243" y="14"/>
                      <a:pt x="244" y="22"/>
                      <a:pt x="244" y="22"/>
                    </a:cubicBezTo>
                    <a:cubicBezTo>
                      <a:pt x="246" y="28"/>
                      <a:pt x="230" y="30"/>
                      <a:pt x="237" y="35"/>
                    </a:cubicBezTo>
                    <a:cubicBezTo>
                      <a:pt x="238" y="44"/>
                      <a:pt x="245" y="40"/>
                      <a:pt x="245" y="40"/>
                    </a:cubicBezTo>
                    <a:cubicBezTo>
                      <a:pt x="256" y="41"/>
                      <a:pt x="259" y="48"/>
                      <a:pt x="259" y="48"/>
                    </a:cubicBezTo>
                    <a:cubicBezTo>
                      <a:pt x="263" y="63"/>
                      <a:pt x="274" y="58"/>
                      <a:pt x="274" y="58"/>
                    </a:cubicBezTo>
                    <a:cubicBezTo>
                      <a:pt x="284" y="53"/>
                      <a:pt x="295" y="58"/>
                      <a:pt x="295" y="58"/>
                    </a:cubicBezTo>
                    <a:cubicBezTo>
                      <a:pt x="305" y="61"/>
                      <a:pt x="304" y="69"/>
                      <a:pt x="304" y="69"/>
                    </a:cubicBezTo>
                    <a:cubicBezTo>
                      <a:pt x="301" y="75"/>
                      <a:pt x="318" y="72"/>
                      <a:pt x="318" y="72"/>
                    </a:cubicBezTo>
                    <a:cubicBezTo>
                      <a:pt x="322" y="78"/>
                      <a:pt x="315" y="84"/>
                      <a:pt x="315" y="84"/>
                    </a:cubicBezTo>
                    <a:cubicBezTo>
                      <a:pt x="312" y="101"/>
                      <a:pt x="318" y="108"/>
                      <a:pt x="318" y="108"/>
                    </a:cubicBezTo>
                    <a:cubicBezTo>
                      <a:pt x="318" y="108"/>
                      <a:pt x="318" y="108"/>
                      <a:pt x="318" y="108"/>
                    </a:cubicBezTo>
                    <a:cubicBezTo>
                      <a:pt x="333" y="124"/>
                      <a:pt x="333" y="124"/>
                      <a:pt x="333" y="124"/>
                    </a:cubicBezTo>
                    <a:cubicBezTo>
                      <a:pt x="333" y="124"/>
                      <a:pt x="333" y="124"/>
                      <a:pt x="333" y="124"/>
                    </a:cubicBezTo>
                    <a:cubicBezTo>
                      <a:pt x="343" y="135"/>
                      <a:pt x="333" y="144"/>
                      <a:pt x="333" y="144"/>
                    </a:cubicBezTo>
                    <a:cubicBezTo>
                      <a:pt x="333" y="151"/>
                      <a:pt x="319" y="152"/>
                      <a:pt x="319" y="152"/>
                    </a:cubicBezTo>
                    <a:cubicBezTo>
                      <a:pt x="289" y="151"/>
                      <a:pt x="296" y="164"/>
                      <a:pt x="296" y="164"/>
                    </a:cubicBezTo>
                    <a:cubicBezTo>
                      <a:pt x="303" y="172"/>
                      <a:pt x="289" y="172"/>
                      <a:pt x="289" y="172"/>
                    </a:cubicBezTo>
                    <a:cubicBezTo>
                      <a:pt x="280" y="194"/>
                      <a:pt x="274" y="190"/>
                      <a:pt x="274" y="190"/>
                    </a:cubicBezTo>
                    <a:cubicBezTo>
                      <a:pt x="269" y="197"/>
                      <a:pt x="259" y="191"/>
                      <a:pt x="254" y="199"/>
                    </a:cubicBezTo>
                    <a:cubicBezTo>
                      <a:pt x="251" y="201"/>
                      <a:pt x="250" y="209"/>
                      <a:pt x="250" y="209"/>
                    </a:cubicBezTo>
                    <a:cubicBezTo>
                      <a:pt x="250" y="209"/>
                      <a:pt x="241" y="212"/>
                      <a:pt x="239" y="204"/>
                    </a:cubicBezTo>
                    <a:cubicBezTo>
                      <a:pt x="239" y="204"/>
                      <a:pt x="228" y="198"/>
                      <a:pt x="222" y="205"/>
                    </a:cubicBezTo>
                    <a:cubicBezTo>
                      <a:pt x="222" y="205"/>
                      <a:pt x="209" y="202"/>
                      <a:pt x="212" y="219"/>
                    </a:cubicBezTo>
                    <a:cubicBezTo>
                      <a:pt x="212" y="219"/>
                      <a:pt x="215" y="237"/>
                      <a:pt x="201" y="238"/>
                    </a:cubicBezTo>
                    <a:cubicBezTo>
                      <a:pt x="201" y="238"/>
                      <a:pt x="199" y="248"/>
                      <a:pt x="202" y="254"/>
                    </a:cubicBezTo>
                    <a:cubicBezTo>
                      <a:pt x="202" y="254"/>
                      <a:pt x="214" y="253"/>
                      <a:pt x="215" y="257"/>
                    </a:cubicBezTo>
                    <a:cubicBezTo>
                      <a:pt x="215" y="257"/>
                      <a:pt x="215" y="265"/>
                      <a:pt x="192" y="264"/>
                    </a:cubicBezTo>
                    <a:cubicBezTo>
                      <a:pt x="192" y="264"/>
                      <a:pt x="171" y="263"/>
                      <a:pt x="162" y="267"/>
                    </a:cubicBezTo>
                    <a:cubicBezTo>
                      <a:pt x="162" y="267"/>
                      <a:pt x="158" y="273"/>
                      <a:pt x="138" y="269"/>
                    </a:cubicBezTo>
                    <a:cubicBezTo>
                      <a:pt x="138" y="269"/>
                      <a:pt x="118" y="262"/>
                      <a:pt x="121" y="278"/>
                    </a:cubicBezTo>
                    <a:cubicBezTo>
                      <a:pt x="121" y="278"/>
                      <a:pt x="119" y="285"/>
                      <a:pt x="110" y="288"/>
                    </a:cubicBezTo>
                    <a:cubicBezTo>
                      <a:pt x="110" y="288"/>
                      <a:pt x="101" y="291"/>
                      <a:pt x="102" y="306"/>
                    </a:cubicBezTo>
                    <a:cubicBezTo>
                      <a:pt x="102" y="306"/>
                      <a:pt x="106" y="316"/>
                      <a:pt x="100" y="333"/>
                    </a:cubicBezTo>
                    <a:cubicBezTo>
                      <a:pt x="100" y="333"/>
                      <a:pt x="100" y="333"/>
                      <a:pt x="100" y="333"/>
                    </a:cubicBezTo>
                    <a:cubicBezTo>
                      <a:pt x="83" y="333"/>
                      <a:pt x="83" y="333"/>
                      <a:pt x="83" y="333"/>
                    </a:cubicBezTo>
                    <a:cubicBezTo>
                      <a:pt x="83" y="333"/>
                      <a:pt x="83" y="333"/>
                      <a:pt x="83" y="333"/>
                    </a:cubicBezTo>
                    <a:cubicBezTo>
                      <a:pt x="83" y="333"/>
                      <a:pt x="80" y="324"/>
                      <a:pt x="69" y="324"/>
                    </a:cubicBezTo>
                    <a:cubicBezTo>
                      <a:pt x="69" y="324"/>
                      <a:pt x="57" y="326"/>
                      <a:pt x="55" y="313"/>
                    </a:cubicBezTo>
                    <a:cubicBezTo>
                      <a:pt x="55" y="313"/>
                      <a:pt x="55" y="297"/>
                      <a:pt x="43" y="304"/>
                    </a:cubicBezTo>
                    <a:cubicBezTo>
                      <a:pt x="43" y="304"/>
                      <a:pt x="33" y="303"/>
                      <a:pt x="31" y="295"/>
                    </a:cubicBezTo>
                    <a:cubicBezTo>
                      <a:pt x="31" y="295"/>
                      <a:pt x="25" y="292"/>
                      <a:pt x="28" y="267"/>
                    </a:cubicBezTo>
                    <a:cubicBezTo>
                      <a:pt x="28" y="267"/>
                      <a:pt x="28" y="267"/>
                      <a:pt x="28" y="267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19" name="Freeform 56"/>
              <p:cNvSpPr>
                <a:spLocks/>
              </p:cNvSpPr>
              <p:nvPr/>
            </p:nvSpPr>
            <p:spPr bwMode="auto">
              <a:xfrm>
                <a:off x="1250705" y="3088713"/>
                <a:ext cx="538255" cy="799055"/>
              </a:xfrm>
              <a:custGeom>
                <a:avLst/>
                <a:gdLst>
                  <a:gd name="T0" fmla="*/ 2147483647 w 190"/>
                  <a:gd name="T1" fmla="*/ 2147483647 h 320"/>
                  <a:gd name="T2" fmla="*/ 2147483647 w 190"/>
                  <a:gd name="T3" fmla="*/ 2147483647 h 320"/>
                  <a:gd name="T4" fmla="*/ 2147483647 w 190"/>
                  <a:gd name="T5" fmla="*/ 2147483647 h 320"/>
                  <a:gd name="T6" fmla="*/ 2147483647 w 190"/>
                  <a:gd name="T7" fmla="*/ 2147483647 h 320"/>
                  <a:gd name="T8" fmla="*/ 2147483647 w 190"/>
                  <a:gd name="T9" fmla="*/ 2147483647 h 320"/>
                  <a:gd name="T10" fmla="*/ 2147483647 w 190"/>
                  <a:gd name="T11" fmla="*/ 2147483647 h 320"/>
                  <a:gd name="T12" fmla="*/ 2147483647 w 190"/>
                  <a:gd name="T13" fmla="*/ 2147483647 h 320"/>
                  <a:gd name="T14" fmla="*/ 2147483647 w 190"/>
                  <a:gd name="T15" fmla="*/ 2147483647 h 320"/>
                  <a:gd name="T16" fmla="*/ 2147483647 w 190"/>
                  <a:gd name="T17" fmla="*/ 2147483647 h 320"/>
                  <a:gd name="T18" fmla="*/ 2147483647 w 190"/>
                  <a:gd name="T19" fmla="*/ 2147483647 h 320"/>
                  <a:gd name="T20" fmla="*/ 2147483647 w 190"/>
                  <a:gd name="T21" fmla="*/ 2147483647 h 320"/>
                  <a:gd name="T22" fmla="*/ 2147483647 w 190"/>
                  <a:gd name="T23" fmla="*/ 2147483647 h 320"/>
                  <a:gd name="T24" fmla="*/ 2147483647 w 190"/>
                  <a:gd name="T25" fmla="*/ 2147483647 h 320"/>
                  <a:gd name="T26" fmla="*/ 2147483647 w 190"/>
                  <a:gd name="T27" fmla="*/ 2147483647 h 320"/>
                  <a:gd name="T28" fmla="*/ 2147483647 w 190"/>
                  <a:gd name="T29" fmla="*/ 2147483647 h 320"/>
                  <a:gd name="T30" fmla="*/ 2147483647 w 190"/>
                  <a:gd name="T31" fmla="*/ 2147483647 h 320"/>
                  <a:gd name="T32" fmla="*/ 2147483647 w 190"/>
                  <a:gd name="T33" fmla="*/ 2147483647 h 320"/>
                  <a:gd name="T34" fmla="*/ 2147483647 w 190"/>
                  <a:gd name="T35" fmla="*/ 2147483647 h 320"/>
                  <a:gd name="T36" fmla="*/ 2147483647 w 190"/>
                  <a:gd name="T37" fmla="*/ 2147483647 h 320"/>
                  <a:gd name="T38" fmla="*/ 2147483647 w 190"/>
                  <a:gd name="T39" fmla="*/ 2147483647 h 320"/>
                  <a:gd name="T40" fmla="*/ 2147483647 w 190"/>
                  <a:gd name="T41" fmla="*/ 2147483647 h 320"/>
                  <a:gd name="T42" fmla="*/ 2147483647 w 190"/>
                  <a:gd name="T43" fmla="*/ 2147483647 h 320"/>
                  <a:gd name="T44" fmla="*/ 2147483647 w 190"/>
                  <a:gd name="T45" fmla="*/ 2147483647 h 320"/>
                  <a:gd name="T46" fmla="*/ 2147483647 w 190"/>
                  <a:gd name="T47" fmla="*/ 2147483647 h 320"/>
                  <a:gd name="T48" fmla="*/ 2147483647 w 190"/>
                  <a:gd name="T49" fmla="*/ 2147483647 h 320"/>
                  <a:gd name="T50" fmla="*/ 2147483647 w 190"/>
                  <a:gd name="T51" fmla="*/ 2147483647 h 320"/>
                  <a:gd name="T52" fmla="*/ 2147483647 w 190"/>
                  <a:gd name="T53" fmla="*/ 2147483647 h 320"/>
                  <a:gd name="T54" fmla="*/ 2147483647 w 190"/>
                  <a:gd name="T55" fmla="*/ 2147483647 h 320"/>
                  <a:gd name="T56" fmla="*/ 2147483647 w 190"/>
                  <a:gd name="T57" fmla="*/ 2147483647 h 320"/>
                  <a:gd name="T58" fmla="*/ 2147483647 w 190"/>
                  <a:gd name="T59" fmla="*/ 2147483647 h 320"/>
                  <a:gd name="T60" fmla="*/ 2147483647 w 190"/>
                  <a:gd name="T61" fmla="*/ 2147483647 h 320"/>
                  <a:gd name="T62" fmla="*/ 0 w 190"/>
                  <a:gd name="T63" fmla="*/ 2147483647 h 320"/>
                  <a:gd name="T64" fmla="*/ 2147483647 w 190"/>
                  <a:gd name="T65" fmla="*/ 2147483647 h 320"/>
                  <a:gd name="T66" fmla="*/ 2147483647 w 190"/>
                  <a:gd name="T67" fmla="*/ 2147483647 h 320"/>
                  <a:gd name="T68" fmla="*/ 2147483647 w 190"/>
                  <a:gd name="T69" fmla="*/ 2147483647 h 320"/>
                  <a:gd name="T70" fmla="*/ 2147483647 w 190"/>
                  <a:gd name="T71" fmla="*/ 2147483647 h 320"/>
                  <a:gd name="T72" fmla="*/ 2147483647 w 190"/>
                  <a:gd name="T73" fmla="*/ 2147483647 h 320"/>
                  <a:gd name="T74" fmla="*/ 2147483647 w 190"/>
                  <a:gd name="T75" fmla="*/ 2147483647 h 320"/>
                  <a:gd name="T76" fmla="*/ 2147483647 w 190"/>
                  <a:gd name="T77" fmla="*/ 2147483647 h 320"/>
                  <a:gd name="T78" fmla="*/ 2147483647 w 190"/>
                  <a:gd name="T79" fmla="*/ 2147483647 h 320"/>
                  <a:gd name="T80" fmla="*/ 2147483647 w 190"/>
                  <a:gd name="T81" fmla="*/ 2147483647 h 320"/>
                  <a:gd name="T82" fmla="*/ 2147483647 w 190"/>
                  <a:gd name="T83" fmla="*/ 2147483647 h 320"/>
                  <a:gd name="T84" fmla="*/ 2147483647 w 190"/>
                  <a:gd name="T85" fmla="*/ 2147483647 h 320"/>
                  <a:gd name="T86" fmla="*/ 2147483647 w 190"/>
                  <a:gd name="T87" fmla="*/ 2147483647 h 320"/>
                  <a:gd name="T88" fmla="*/ 2147483647 w 190"/>
                  <a:gd name="T89" fmla="*/ 2147483647 h 320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90"/>
                  <a:gd name="T136" fmla="*/ 0 h 320"/>
                  <a:gd name="T137" fmla="*/ 190 w 190"/>
                  <a:gd name="T138" fmla="*/ 320 h 320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90" h="320">
                    <a:moveTo>
                      <a:pt x="96" y="288"/>
                    </a:moveTo>
                    <a:cubicBezTo>
                      <a:pt x="96" y="288"/>
                      <a:pt x="104" y="286"/>
                      <a:pt x="104" y="292"/>
                    </a:cubicBezTo>
                    <a:cubicBezTo>
                      <a:pt x="104" y="292"/>
                      <a:pt x="107" y="302"/>
                      <a:pt x="114" y="294"/>
                    </a:cubicBezTo>
                    <a:cubicBezTo>
                      <a:pt x="114" y="294"/>
                      <a:pt x="122" y="284"/>
                      <a:pt x="126" y="302"/>
                    </a:cubicBezTo>
                    <a:cubicBezTo>
                      <a:pt x="126" y="302"/>
                      <a:pt x="120" y="319"/>
                      <a:pt x="134" y="304"/>
                    </a:cubicBezTo>
                    <a:cubicBezTo>
                      <a:pt x="134" y="304"/>
                      <a:pt x="148" y="291"/>
                      <a:pt x="151" y="309"/>
                    </a:cubicBezTo>
                    <a:cubicBezTo>
                      <a:pt x="151" y="309"/>
                      <a:pt x="155" y="320"/>
                      <a:pt x="165" y="318"/>
                    </a:cubicBezTo>
                    <a:cubicBezTo>
                      <a:pt x="165" y="318"/>
                      <a:pt x="174" y="316"/>
                      <a:pt x="180" y="320"/>
                    </a:cubicBezTo>
                    <a:cubicBezTo>
                      <a:pt x="182" y="309"/>
                      <a:pt x="175" y="303"/>
                      <a:pt x="175" y="303"/>
                    </a:cubicBezTo>
                    <a:cubicBezTo>
                      <a:pt x="166" y="294"/>
                      <a:pt x="169" y="266"/>
                      <a:pt x="169" y="266"/>
                    </a:cubicBezTo>
                    <a:cubicBezTo>
                      <a:pt x="165" y="249"/>
                      <a:pt x="169" y="223"/>
                      <a:pt x="169" y="223"/>
                    </a:cubicBezTo>
                    <a:cubicBezTo>
                      <a:pt x="175" y="216"/>
                      <a:pt x="166" y="201"/>
                      <a:pt x="173" y="188"/>
                    </a:cubicBezTo>
                    <a:cubicBezTo>
                      <a:pt x="179" y="170"/>
                      <a:pt x="171" y="153"/>
                      <a:pt x="171" y="153"/>
                    </a:cubicBezTo>
                    <a:cubicBezTo>
                      <a:pt x="166" y="139"/>
                      <a:pt x="172" y="134"/>
                      <a:pt x="172" y="134"/>
                    </a:cubicBezTo>
                    <a:cubicBezTo>
                      <a:pt x="172" y="134"/>
                      <a:pt x="178" y="128"/>
                      <a:pt x="178" y="111"/>
                    </a:cubicBezTo>
                    <a:cubicBezTo>
                      <a:pt x="175" y="109"/>
                      <a:pt x="179" y="100"/>
                      <a:pt x="179" y="100"/>
                    </a:cubicBezTo>
                    <a:cubicBezTo>
                      <a:pt x="184" y="93"/>
                      <a:pt x="178" y="89"/>
                      <a:pt x="178" y="89"/>
                    </a:cubicBezTo>
                    <a:cubicBezTo>
                      <a:pt x="168" y="65"/>
                      <a:pt x="182" y="55"/>
                      <a:pt x="182" y="55"/>
                    </a:cubicBezTo>
                    <a:cubicBezTo>
                      <a:pt x="182" y="32"/>
                      <a:pt x="190" y="42"/>
                      <a:pt x="189" y="24"/>
                    </a:cubicBezTo>
                    <a:cubicBezTo>
                      <a:pt x="182" y="22"/>
                      <a:pt x="188" y="0"/>
                      <a:pt x="178" y="10"/>
                    </a:cubicBezTo>
                    <a:cubicBezTo>
                      <a:pt x="170" y="2"/>
                      <a:pt x="159" y="5"/>
                      <a:pt x="159" y="5"/>
                    </a:cubicBezTo>
                    <a:cubicBezTo>
                      <a:pt x="150" y="3"/>
                      <a:pt x="144" y="12"/>
                      <a:pt x="144" y="12"/>
                    </a:cubicBezTo>
                    <a:cubicBezTo>
                      <a:pt x="137" y="20"/>
                      <a:pt x="120" y="20"/>
                      <a:pt x="120" y="20"/>
                    </a:cubicBezTo>
                    <a:cubicBezTo>
                      <a:pt x="110" y="26"/>
                      <a:pt x="98" y="7"/>
                      <a:pt x="96" y="23"/>
                    </a:cubicBezTo>
                    <a:cubicBezTo>
                      <a:pt x="98" y="31"/>
                      <a:pt x="83" y="45"/>
                      <a:pt x="83" y="45"/>
                    </a:cubicBezTo>
                    <a:cubicBezTo>
                      <a:pt x="94" y="56"/>
                      <a:pt x="83" y="65"/>
                      <a:pt x="83" y="65"/>
                    </a:cubicBezTo>
                    <a:cubicBezTo>
                      <a:pt x="83" y="72"/>
                      <a:pt x="69" y="73"/>
                      <a:pt x="69" y="73"/>
                    </a:cubicBezTo>
                    <a:cubicBezTo>
                      <a:pt x="39" y="72"/>
                      <a:pt x="46" y="85"/>
                      <a:pt x="46" y="85"/>
                    </a:cubicBezTo>
                    <a:cubicBezTo>
                      <a:pt x="53" y="93"/>
                      <a:pt x="39" y="93"/>
                      <a:pt x="39" y="93"/>
                    </a:cubicBezTo>
                    <a:cubicBezTo>
                      <a:pt x="30" y="115"/>
                      <a:pt x="24" y="111"/>
                      <a:pt x="24" y="111"/>
                    </a:cubicBezTo>
                    <a:cubicBezTo>
                      <a:pt x="19" y="118"/>
                      <a:pt x="9" y="112"/>
                      <a:pt x="4" y="120"/>
                    </a:cubicBezTo>
                    <a:cubicBezTo>
                      <a:pt x="1" y="122"/>
                      <a:pt x="0" y="130"/>
                      <a:pt x="0" y="130"/>
                    </a:cubicBezTo>
                    <a:cubicBezTo>
                      <a:pt x="0" y="130"/>
                      <a:pt x="11" y="150"/>
                      <a:pt x="11" y="172"/>
                    </a:cubicBezTo>
                    <a:cubicBezTo>
                      <a:pt x="11" y="172"/>
                      <a:pt x="17" y="182"/>
                      <a:pt x="12" y="185"/>
                    </a:cubicBezTo>
                    <a:cubicBezTo>
                      <a:pt x="12" y="185"/>
                      <a:pt x="7" y="192"/>
                      <a:pt x="9" y="200"/>
                    </a:cubicBezTo>
                    <a:cubicBezTo>
                      <a:pt x="9" y="200"/>
                      <a:pt x="24" y="199"/>
                      <a:pt x="25" y="206"/>
                    </a:cubicBezTo>
                    <a:cubicBezTo>
                      <a:pt x="25" y="206"/>
                      <a:pt x="28" y="213"/>
                      <a:pt x="14" y="214"/>
                    </a:cubicBezTo>
                    <a:cubicBezTo>
                      <a:pt x="31" y="217"/>
                      <a:pt x="22" y="228"/>
                      <a:pt x="28" y="230"/>
                    </a:cubicBezTo>
                    <a:cubicBezTo>
                      <a:pt x="28" y="230"/>
                      <a:pt x="39" y="221"/>
                      <a:pt x="37" y="236"/>
                    </a:cubicBezTo>
                    <a:cubicBezTo>
                      <a:pt x="37" y="236"/>
                      <a:pt x="35" y="258"/>
                      <a:pt x="45" y="245"/>
                    </a:cubicBezTo>
                    <a:cubicBezTo>
                      <a:pt x="45" y="245"/>
                      <a:pt x="52" y="230"/>
                      <a:pt x="53" y="254"/>
                    </a:cubicBezTo>
                    <a:cubicBezTo>
                      <a:pt x="53" y="254"/>
                      <a:pt x="45" y="273"/>
                      <a:pt x="68" y="254"/>
                    </a:cubicBezTo>
                    <a:cubicBezTo>
                      <a:pt x="68" y="254"/>
                      <a:pt x="79" y="248"/>
                      <a:pt x="82" y="262"/>
                    </a:cubicBezTo>
                    <a:cubicBezTo>
                      <a:pt x="82" y="262"/>
                      <a:pt x="99" y="267"/>
                      <a:pt x="96" y="288"/>
                    </a:cubicBezTo>
                    <a:cubicBezTo>
                      <a:pt x="96" y="288"/>
                      <a:pt x="96" y="288"/>
                      <a:pt x="96" y="288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20" name="Freeform 55"/>
              <p:cNvSpPr>
                <a:spLocks/>
              </p:cNvSpPr>
              <p:nvPr/>
            </p:nvSpPr>
            <p:spPr bwMode="auto">
              <a:xfrm>
                <a:off x="984900" y="2301443"/>
                <a:ext cx="796085" cy="760163"/>
              </a:xfrm>
              <a:custGeom>
                <a:avLst/>
                <a:gdLst>
                  <a:gd name="T0" fmla="*/ 2147483647 w 281"/>
                  <a:gd name="T1" fmla="*/ 2147483647 h 304"/>
                  <a:gd name="T2" fmla="*/ 2147483647 w 281"/>
                  <a:gd name="T3" fmla="*/ 2147483647 h 304"/>
                  <a:gd name="T4" fmla="*/ 2147483647 w 281"/>
                  <a:gd name="T5" fmla="*/ 2147483647 h 304"/>
                  <a:gd name="T6" fmla="*/ 2147483647 w 281"/>
                  <a:gd name="T7" fmla="*/ 2147483647 h 304"/>
                  <a:gd name="T8" fmla="*/ 2147483647 w 281"/>
                  <a:gd name="T9" fmla="*/ 2147483647 h 304"/>
                  <a:gd name="T10" fmla="*/ 2147483647 w 281"/>
                  <a:gd name="T11" fmla="*/ 2147483647 h 304"/>
                  <a:gd name="T12" fmla="*/ 2147483647 w 281"/>
                  <a:gd name="T13" fmla="*/ 2147483647 h 304"/>
                  <a:gd name="T14" fmla="*/ 2147483647 w 281"/>
                  <a:gd name="T15" fmla="*/ 2147483647 h 304"/>
                  <a:gd name="T16" fmla="*/ 2147483647 w 281"/>
                  <a:gd name="T17" fmla="*/ 2147483647 h 304"/>
                  <a:gd name="T18" fmla="*/ 2147483647 w 281"/>
                  <a:gd name="T19" fmla="*/ 2147483647 h 304"/>
                  <a:gd name="T20" fmla="*/ 2147483647 w 281"/>
                  <a:gd name="T21" fmla="*/ 2147483647 h 304"/>
                  <a:gd name="T22" fmla="*/ 2147483647 w 281"/>
                  <a:gd name="T23" fmla="*/ 2147483647 h 304"/>
                  <a:gd name="T24" fmla="*/ 2147483647 w 281"/>
                  <a:gd name="T25" fmla="*/ 2147483647 h 304"/>
                  <a:gd name="T26" fmla="*/ 2147483647 w 281"/>
                  <a:gd name="T27" fmla="*/ 2147483647 h 304"/>
                  <a:gd name="T28" fmla="*/ 2147483647 w 281"/>
                  <a:gd name="T29" fmla="*/ 2147483647 h 304"/>
                  <a:gd name="T30" fmla="*/ 2147483647 w 281"/>
                  <a:gd name="T31" fmla="*/ 2147483647 h 304"/>
                  <a:gd name="T32" fmla="*/ 2147483647 w 281"/>
                  <a:gd name="T33" fmla="*/ 2147483647 h 304"/>
                  <a:gd name="T34" fmla="*/ 2147483647 w 281"/>
                  <a:gd name="T35" fmla="*/ 2147483647 h 304"/>
                  <a:gd name="T36" fmla="*/ 2147483647 w 281"/>
                  <a:gd name="T37" fmla="*/ 2147483647 h 304"/>
                  <a:gd name="T38" fmla="*/ 2147483647 w 281"/>
                  <a:gd name="T39" fmla="*/ 2147483647 h 304"/>
                  <a:gd name="T40" fmla="*/ 2147483647 w 281"/>
                  <a:gd name="T41" fmla="*/ 2147483647 h 304"/>
                  <a:gd name="T42" fmla="*/ 2147483647 w 281"/>
                  <a:gd name="T43" fmla="*/ 2147483647 h 304"/>
                  <a:gd name="T44" fmla="*/ 2147483647 w 281"/>
                  <a:gd name="T45" fmla="*/ 2147483647 h 304"/>
                  <a:gd name="T46" fmla="*/ 2147483647 w 281"/>
                  <a:gd name="T47" fmla="*/ 2147483647 h 304"/>
                  <a:gd name="T48" fmla="*/ 2147483647 w 281"/>
                  <a:gd name="T49" fmla="*/ 2147483647 h 304"/>
                  <a:gd name="T50" fmla="*/ 2147483647 w 281"/>
                  <a:gd name="T51" fmla="*/ 2147483647 h 304"/>
                  <a:gd name="T52" fmla="*/ 2147483647 w 281"/>
                  <a:gd name="T53" fmla="*/ 2147483647 h 304"/>
                  <a:gd name="T54" fmla="*/ 2147483647 w 281"/>
                  <a:gd name="T55" fmla="*/ 2147483647 h 304"/>
                  <a:gd name="T56" fmla="*/ 2147483647 w 281"/>
                  <a:gd name="T57" fmla="*/ 2147483647 h 304"/>
                  <a:gd name="T58" fmla="*/ 2147483647 w 281"/>
                  <a:gd name="T59" fmla="*/ 2147483647 h 304"/>
                  <a:gd name="T60" fmla="*/ 2147483647 w 281"/>
                  <a:gd name="T61" fmla="*/ 2147483647 h 304"/>
                  <a:gd name="T62" fmla="*/ 2147483647 w 281"/>
                  <a:gd name="T63" fmla="*/ 2147483647 h 304"/>
                  <a:gd name="T64" fmla="*/ 2147483647 w 281"/>
                  <a:gd name="T65" fmla="*/ 2147483647 h 304"/>
                  <a:gd name="T66" fmla="*/ 2147483647 w 281"/>
                  <a:gd name="T67" fmla="*/ 2147483647 h 304"/>
                  <a:gd name="T68" fmla="*/ 2147483647 w 281"/>
                  <a:gd name="T69" fmla="*/ 2147483647 h 304"/>
                  <a:gd name="T70" fmla="*/ 2147483647 w 281"/>
                  <a:gd name="T71" fmla="*/ 2147483647 h 304"/>
                  <a:gd name="T72" fmla="*/ 2147483647 w 281"/>
                  <a:gd name="T73" fmla="*/ 2147483647 h 304"/>
                  <a:gd name="T74" fmla="*/ 2147483647 w 281"/>
                  <a:gd name="T75" fmla="*/ 2147483647 h 304"/>
                  <a:gd name="T76" fmla="*/ 2147483647 w 281"/>
                  <a:gd name="T77" fmla="*/ 2147483647 h 304"/>
                  <a:gd name="T78" fmla="*/ 2147483647 w 281"/>
                  <a:gd name="T79" fmla="*/ 2147483647 h 304"/>
                  <a:gd name="T80" fmla="*/ 2147483647 w 281"/>
                  <a:gd name="T81" fmla="*/ 2147483647 h 304"/>
                  <a:gd name="T82" fmla="*/ 2147483647 w 281"/>
                  <a:gd name="T83" fmla="*/ 2147483647 h 304"/>
                  <a:gd name="T84" fmla="*/ 2147483647 w 281"/>
                  <a:gd name="T85" fmla="*/ 2147483647 h 304"/>
                  <a:gd name="T86" fmla="*/ 2147483647 w 281"/>
                  <a:gd name="T87" fmla="*/ 2147483647 h 304"/>
                  <a:gd name="T88" fmla="*/ 2147483647 w 281"/>
                  <a:gd name="T89" fmla="*/ 2147483647 h 304"/>
                  <a:gd name="T90" fmla="*/ 2147483647 w 281"/>
                  <a:gd name="T91" fmla="*/ 2147483647 h 304"/>
                  <a:gd name="T92" fmla="*/ 2147483647 w 281"/>
                  <a:gd name="T93" fmla="*/ 2147483647 h 304"/>
                  <a:gd name="T94" fmla="*/ 2147483647 w 281"/>
                  <a:gd name="T95" fmla="*/ 2147483647 h 304"/>
                  <a:gd name="T96" fmla="*/ 2147483647 w 281"/>
                  <a:gd name="T97" fmla="*/ 2147483647 h 304"/>
                  <a:gd name="T98" fmla="*/ 2147483647 w 281"/>
                  <a:gd name="T99" fmla="*/ 2147483647 h 304"/>
                  <a:gd name="T100" fmla="*/ 2147483647 w 281"/>
                  <a:gd name="T101" fmla="*/ 2147483647 h 304"/>
                  <a:gd name="T102" fmla="*/ 2147483647 w 281"/>
                  <a:gd name="T103" fmla="*/ 2147483647 h 304"/>
                  <a:gd name="T104" fmla="*/ 2147483647 w 281"/>
                  <a:gd name="T105" fmla="*/ 2147483647 h 304"/>
                  <a:gd name="T106" fmla="*/ 2147483647 w 281"/>
                  <a:gd name="T107" fmla="*/ 2147483647 h 304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81"/>
                  <a:gd name="T163" fmla="*/ 0 h 304"/>
                  <a:gd name="T164" fmla="*/ 281 w 281"/>
                  <a:gd name="T165" fmla="*/ 304 h 304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81" h="304">
                    <a:moveTo>
                      <a:pt x="45" y="236"/>
                    </a:moveTo>
                    <a:cubicBezTo>
                      <a:pt x="45" y="227"/>
                      <a:pt x="42" y="216"/>
                      <a:pt x="36" y="206"/>
                    </a:cubicBezTo>
                    <a:cubicBezTo>
                      <a:pt x="36" y="206"/>
                      <a:pt x="24" y="198"/>
                      <a:pt x="37" y="194"/>
                    </a:cubicBezTo>
                    <a:cubicBezTo>
                      <a:pt x="37" y="194"/>
                      <a:pt x="43" y="192"/>
                      <a:pt x="53" y="194"/>
                    </a:cubicBezTo>
                    <a:cubicBezTo>
                      <a:pt x="53" y="184"/>
                      <a:pt x="32" y="184"/>
                      <a:pt x="29" y="149"/>
                    </a:cubicBezTo>
                    <a:cubicBezTo>
                      <a:pt x="23" y="143"/>
                      <a:pt x="31" y="128"/>
                      <a:pt x="20" y="126"/>
                    </a:cubicBezTo>
                    <a:cubicBezTo>
                      <a:pt x="8" y="124"/>
                      <a:pt x="14" y="108"/>
                      <a:pt x="9" y="107"/>
                    </a:cubicBezTo>
                    <a:cubicBezTo>
                      <a:pt x="9" y="107"/>
                      <a:pt x="0" y="103"/>
                      <a:pt x="12" y="87"/>
                    </a:cubicBezTo>
                    <a:cubicBezTo>
                      <a:pt x="12" y="87"/>
                      <a:pt x="12" y="87"/>
                      <a:pt x="12" y="87"/>
                    </a:cubicBezTo>
                    <a:cubicBezTo>
                      <a:pt x="5" y="63"/>
                      <a:pt x="5" y="63"/>
                      <a:pt x="5" y="63"/>
                    </a:cubicBezTo>
                    <a:cubicBezTo>
                      <a:pt x="5" y="63"/>
                      <a:pt x="5" y="63"/>
                      <a:pt x="5" y="63"/>
                    </a:cubicBezTo>
                    <a:cubicBezTo>
                      <a:pt x="5" y="63"/>
                      <a:pt x="6" y="45"/>
                      <a:pt x="18" y="46"/>
                    </a:cubicBezTo>
                    <a:cubicBezTo>
                      <a:pt x="18" y="46"/>
                      <a:pt x="38" y="44"/>
                      <a:pt x="42" y="52"/>
                    </a:cubicBezTo>
                    <a:cubicBezTo>
                      <a:pt x="42" y="52"/>
                      <a:pt x="37" y="68"/>
                      <a:pt x="60" y="50"/>
                    </a:cubicBezTo>
                    <a:cubicBezTo>
                      <a:pt x="60" y="50"/>
                      <a:pt x="75" y="43"/>
                      <a:pt x="84" y="32"/>
                    </a:cubicBezTo>
                    <a:cubicBezTo>
                      <a:pt x="84" y="32"/>
                      <a:pt x="86" y="22"/>
                      <a:pt x="93" y="15"/>
                    </a:cubicBezTo>
                    <a:cubicBezTo>
                      <a:pt x="93" y="15"/>
                      <a:pt x="96" y="3"/>
                      <a:pt x="129" y="10"/>
                    </a:cubicBezTo>
                    <a:cubicBezTo>
                      <a:pt x="129" y="10"/>
                      <a:pt x="163" y="15"/>
                      <a:pt x="178" y="7"/>
                    </a:cubicBezTo>
                    <a:cubicBezTo>
                      <a:pt x="204" y="0"/>
                      <a:pt x="196" y="8"/>
                      <a:pt x="206" y="12"/>
                    </a:cubicBezTo>
                    <a:cubicBezTo>
                      <a:pt x="206" y="12"/>
                      <a:pt x="213" y="13"/>
                      <a:pt x="225" y="14"/>
                    </a:cubicBezTo>
                    <a:cubicBezTo>
                      <a:pt x="224" y="23"/>
                      <a:pt x="228" y="26"/>
                      <a:pt x="228" y="26"/>
                    </a:cubicBezTo>
                    <a:cubicBezTo>
                      <a:pt x="236" y="25"/>
                      <a:pt x="233" y="41"/>
                      <a:pt x="225" y="39"/>
                    </a:cubicBezTo>
                    <a:cubicBezTo>
                      <a:pt x="221" y="45"/>
                      <a:pt x="218" y="54"/>
                      <a:pt x="218" y="54"/>
                    </a:cubicBezTo>
                    <a:cubicBezTo>
                      <a:pt x="214" y="68"/>
                      <a:pt x="221" y="74"/>
                      <a:pt x="221" y="74"/>
                    </a:cubicBezTo>
                    <a:cubicBezTo>
                      <a:pt x="228" y="80"/>
                      <a:pt x="222" y="85"/>
                      <a:pt x="222" y="85"/>
                    </a:cubicBezTo>
                    <a:cubicBezTo>
                      <a:pt x="223" y="107"/>
                      <a:pt x="218" y="114"/>
                      <a:pt x="218" y="114"/>
                    </a:cubicBezTo>
                    <a:cubicBezTo>
                      <a:pt x="221" y="130"/>
                      <a:pt x="229" y="116"/>
                      <a:pt x="229" y="116"/>
                    </a:cubicBezTo>
                    <a:cubicBezTo>
                      <a:pt x="246" y="110"/>
                      <a:pt x="248" y="126"/>
                      <a:pt x="248" y="126"/>
                    </a:cubicBezTo>
                    <a:cubicBezTo>
                      <a:pt x="252" y="141"/>
                      <a:pt x="259" y="143"/>
                      <a:pt x="259" y="143"/>
                    </a:cubicBezTo>
                    <a:cubicBezTo>
                      <a:pt x="281" y="162"/>
                      <a:pt x="267" y="162"/>
                      <a:pt x="267" y="162"/>
                    </a:cubicBezTo>
                    <a:cubicBezTo>
                      <a:pt x="258" y="165"/>
                      <a:pt x="258" y="174"/>
                      <a:pt x="258" y="174"/>
                    </a:cubicBezTo>
                    <a:cubicBezTo>
                      <a:pt x="276" y="173"/>
                      <a:pt x="272" y="186"/>
                      <a:pt x="272" y="186"/>
                    </a:cubicBezTo>
                    <a:cubicBezTo>
                      <a:pt x="273" y="196"/>
                      <a:pt x="257" y="192"/>
                      <a:pt x="257" y="195"/>
                    </a:cubicBezTo>
                    <a:cubicBezTo>
                      <a:pt x="271" y="205"/>
                      <a:pt x="259" y="210"/>
                      <a:pt x="259" y="210"/>
                    </a:cubicBezTo>
                    <a:cubicBezTo>
                      <a:pt x="260" y="217"/>
                      <a:pt x="249" y="221"/>
                      <a:pt x="249" y="221"/>
                    </a:cubicBezTo>
                    <a:cubicBezTo>
                      <a:pt x="242" y="225"/>
                      <a:pt x="245" y="235"/>
                      <a:pt x="245" y="235"/>
                    </a:cubicBezTo>
                    <a:cubicBezTo>
                      <a:pt x="246" y="258"/>
                      <a:pt x="232" y="247"/>
                      <a:pt x="232" y="247"/>
                    </a:cubicBezTo>
                    <a:cubicBezTo>
                      <a:pt x="224" y="247"/>
                      <a:pt x="225" y="237"/>
                      <a:pt x="217" y="238"/>
                    </a:cubicBezTo>
                    <a:cubicBezTo>
                      <a:pt x="210" y="236"/>
                      <a:pt x="210" y="243"/>
                      <a:pt x="199" y="243"/>
                    </a:cubicBezTo>
                    <a:cubicBezTo>
                      <a:pt x="184" y="239"/>
                      <a:pt x="182" y="247"/>
                      <a:pt x="182" y="247"/>
                    </a:cubicBezTo>
                    <a:cubicBezTo>
                      <a:pt x="177" y="252"/>
                      <a:pt x="181" y="265"/>
                      <a:pt x="170" y="260"/>
                    </a:cubicBezTo>
                    <a:cubicBezTo>
                      <a:pt x="153" y="257"/>
                      <a:pt x="157" y="280"/>
                      <a:pt x="157" y="280"/>
                    </a:cubicBezTo>
                    <a:cubicBezTo>
                      <a:pt x="168" y="291"/>
                      <a:pt x="157" y="295"/>
                      <a:pt x="157" y="295"/>
                    </a:cubicBezTo>
                    <a:cubicBezTo>
                      <a:pt x="155" y="301"/>
                      <a:pt x="148" y="304"/>
                      <a:pt x="148" y="304"/>
                    </a:cubicBezTo>
                    <a:cubicBezTo>
                      <a:pt x="148" y="304"/>
                      <a:pt x="149" y="297"/>
                      <a:pt x="139" y="294"/>
                    </a:cubicBezTo>
                    <a:cubicBezTo>
                      <a:pt x="139" y="294"/>
                      <a:pt x="128" y="289"/>
                      <a:pt x="118" y="294"/>
                    </a:cubicBezTo>
                    <a:cubicBezTo>
                      <a:pt x="118" y="294"/>
                      <a:pt x="107" y="299"/>
                      <a:pt x="103" y="284"/>
                    </a:cubicBezTo>
                    <a:cubicBezTo>
                      <a:pt x="103" y="284"/>
                      <a:pt x="100" y="277"/>
                      <a:pt x="89" y="276"/>
                    </a:cubicBezTo>
                    <a:cubicBezTo>
                      <a:pt x="89" y="276"/>
                      <a:pt x="82" y="280"/>
                      <a:pt x="81" y="271"/>
                    </a:cubicBezTo>
                    <a:cubicBezTo>
                      <a:pt x="74" y="266"/>
                      <a:pt x="90" y="264"/>
                      <a:pt x="88" y="258"/>
                    </a:cubicBezTo>
                    <a:cubicBezTo>
                      <a:pt x="88" y="258"/>
                      <a:pt x="87" y="250"/>
                      <a:pt x="78" y="250"/>
                    </a:cubicBezTo>
                    <a:cubicBezTo>
                      <a:pt x="78" y="250"/>
                      <a:pt x="74" y="243"/>
                      <a:pt x="63" y="246"/>
                    </a:cubicBezTo>
                    <a:cubicBezTo>
                      <a:pt x="63" y="246"/>
                      <a:pt x="54" y="247"/>
                      <a:pt x="45" y="236"/>
                    </a:cubicBezTo>
                    <a:cubicBezTo>
                      <a:pt x="45" y="236"/>
                      <a:pt x="45" y="236"/>
                      <a:pt x="45" y="236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21" name="Freeform 54"/>
              <p:cNvSpPr>
                <a:spLocks/>
              </p:cNvSpPr>
              <p:nvPr/>
            </p:nvSpPr>
            <p:spPr bwMode="auto">
              <a:xfrm>
                <a:off x="1394240" y="2323835"/>
                <a:ext cx="915697" cy="878018"/>
              </a:xfrm>
              <a:custGeom>
                <a:avLst/>
                <a:gdLst>
                  <a:gd name="T0" fmla="*/ 2147483647 w 323"/>
                  <a:gd name="T1" fmla="*/ 2147483647 h 351"/>
                  <a:gd name="T2" fmla="*/ 2147483647 w 323"/>
                  <a:gd name="T3" fmla="*/ 2147483647 h 351"/>
                  <a:gd name="T4" fmla="*/ 2147483647 w 323"/>
                  <a:gd name="T5" fmla="*/ 2147483647 h 351"/>
                  <a:gd name="T6" fmla="*/ 2147483647 w 323"/>
                  <a:gd name="T7" fmla="*/ 2147483647 h 351"/>
                  <a:gd name="T8" fmla="*/ 2147483647 w 323"/>
                  <a:gd name="T9" fmla="*/ 2147483647 h 351"/>
                  <a:gd name="T10" fmla="*/ 2147483647 w 323"/>
                  <a:gd name="T11" fmla="*/ 2147483647 h 351"/>
                  <a:gd name="T12" fmla="*/ 2147483647 w 323"/>
                  <a:gd name="T13" fmla="*/ 2147483647 h 351"/>
                  <a:gd name="T14" fmla="*/ 2147483647 w 323"/>
                  <a:gd name="T15" fmla="*/ 2147483647 h 351"/>
                  <a:gd name="T16" fmla="*/ 2147483647 w 323"/>
                  <a:gd name="T17" fmla="*/ 2147483647 h 351"/>
                  <a:gd name="T18" fmla="*/ 2147483647 w 323"/>
                  <a:gd name="T19" fmla="*/ 2147483647 h 351"/>
                  <a:gd name="T20" fmla="*/ 2147483647 w 323"/>
                  <a:gd name="T21" fmla="*/ 2147483647 h 351"/>
                  <a:gd name="T22" fmla="*/ 2147483647 w 323"/>
                  <a:gd name="T23" fmla="*/ 2147483647 h 351"/>
                  <a:gd name="T24" fmla="*/ 2147483647 w 323"/>
                  <a:gd name="T25" fmla="*/ 2147483647 h 351"/>
                  <a:gd name="T26" fmla="*/ 2147483647 w 323"/>
                  <a:gd name="T27" fmla="*/ 2147483647 h 351"/>
                  <a:gd name="T28" fmla="*/ 2147483647 w 323"/>
                  <a:gd name="T29" fmla="*/ 2147483647 h 351"/>
                  <a:gd name="T30" fmla="*/ 2147483647 w 323"/>
                  <a:gd name="T31" fmla="*/ 2147483647 h 351"/>
                  <a:gd name="T32" fmla="*/ 2147483647 w 323"/>
                  <a:gd name="T33" fmla="*/ 2147483647 h 351"/>
                  <a:gd name="T34" fmla="*/ 2147483647 w 323"/>
                  <a:gd name="T35" fmla="*/ 2147483647 h 351"/>
                  <a:gd name="T36" fmla="*/ 2147483647 w 323"/>
                  <a:gd name="T37" fmla="*/ 2147483647 h 351"/>
                  <a:gd name="T38" fmla="*/ 2147483647 w 323"/>
                  <a:gd name="T39" fmla="*/ 2147483647 h 351"/>
                  <a:gd name="T40" fmla="*/ 2147483647 w 323"/>
                  <a:gd name="T41" fmla="*/ 2147483647 h 351"/>
                  <a:gd name="T42" fmla="*/ 2147483647 w 323"/>
                  <a:gd name="T43" fmla="*/ 2147483647 h 351"/>
                  <a:gd name="T44" fmla="*/ 2147483647 w 323"/>
                  <a:gd name="T45" fmla="*/ 2147483647 h 351"/>
                  <a:gd name="T46" fmla="*/ 2147483647 w 323"/>
                  <a:gd name="T47" fmla="*/ 2147483647 h 351"/>
                  <a:gd name="T48" fmla="*/ 2147483647 w 323"/>
                  <a:gd name="T49" fmla="*/ 2147483647 h 351"/>
                  <a:gd name="T50" fmla="*/ 2147483647 w 323"/>
                  <a:gd name="T51" fmla="*/ 2147483647 h 351"/>
                  <a:gd name="T52" fmla="*/ 2147483647 w 323"/>
                  <a:gd name="T53" fmla="*/ 2147483647 h 351"/>
                  <a:gd name="T54" fmla="*/ 2147483647 w 323"/>
                  <a:gd name="T55" fmla="*/ 2147483647 h 351"/>
                  <a:gd name="T56" fmla="*/ 2147483647 w 323"/>
                  <a:gd name="T57" fmla="*/ 2147483647 h 351"/>
                  <a:gd name="T58" fmla="*/ 2147483647 w 323"/>
                  <a:gd name="T59" fmla="*/ 2147483647 h 351"/>
                  <a:gd name="T60" fmla="*/ 2147483647 w 323"/>
                  <a:gd name="T61" fmla="*/ 2147483647 h 351"/>
                  <a:gd name="T62" fmla="*/ 2147483647 w 323"/>
                  <a:gd name="T63" fmla="*/ 2147483647 h 351"/>
                  <a:gd name="T64" fmla="*/ 2147483647 w 323"/>
                  <a:gd name="T65" fmla="*/ 2147483647 h 351"/>
                  <a:gd name="T66" fmla="*/ 2147483647 w 323"/>
                  <a:gd name="T67" fmla="*/ 2147483647 h 351"/>
                  <a:gd name="T68" fmla="*/ 2147483647 w 323"/>
                  <a:gd name="T69" fmla="*/ 2147483647 h 351"/>
                  <a:gd name="T70" fmla="*/ 2147483647 w 323"/>
                  <a:gd name="T71" fmla="*/ 2147483647 h 351"/>
                  <a:gd name="T72" fmla="*/ 2147483647 w 323"/>
                  <a:gd name="T73" fmla="*/ 2147483647 h 351"/>
                  <a:gd name="T74" fmla="*/ 2147483647 w 323"/>
                  <a:gd name="T75" fmla="*/ 2147483647 h 351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323"/>
                  <a:gd name="T115" fmla="*/ 0 h 351"/>
                  <a:gd name="T116" fmla="*/ 323 w 323"/>
                  <a:gd name="T117" fmla="*/ 351 h 351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323" h="351">
                    <a:moveTo>
                      <a:pt x="80" y="4"/>
                    </a:moveTo>
                    <a:cubicBezTo>
                      <a:pt x="79" y="13"/>
                      <a:pt x="83" y="17"/>
                      <a:pt x="83" y="17"/>
                    </a:cubicBezTo>
                    <a:cubicBezTo>
                      <a:pt x="91" y="16"/>
                      <a:pt x="88" y="32"/>
                      <a:pt x="80" y="30"/>
                    </a:cubicBezTo>
                    <a:cubicBezTo>
                      <a:pt x="76" y="36"/>
                      <a:pt x="73" y="45"/>
                      <a:pt x="73" y="45"/>
                    </a:cubicBezTo>
                    <a:cubicBezTo>
                      <a:pt x="69" y="59"/>
                      <a:pt x="76" y="65"/>
                      <a:pt x="76" y="65"/>
                    </a:cubicBezTo>
                    <a:cubicBezTo>
                      <a:pt x="83" y="71"/>
                      <a:pt x="77" y="76"/>
                      <a:pt x="77" y="76"/>
                    </a:cubicBezTo>
                    <a:cubicBezTo>
                      <a:pt x="78" y="98"/>
                      <a:pt x="73" y="105"/>
                      <a:pt x="73" y="105"/>
                    </a:cubicBezTo>
                    <a:cubicBezTo>
                      <a:pt x="76" y="121"/>
                      <a:pt x="84" y="107"/>
                      <a:pt x="84" y="107"/>
                    </a:cubicBezTo>
                    <a:cubicBezTo>
                      <a:pt x="101" y="101"/>
                      <a:pt x="103" y="117"/>
                      <a:pt x="103" y="117"/>
                    </a:cubicBezTo>
                    <a:cubicBezTo>
                      <a:pt x="107" y="132"/>
                      <a:pt x="114" y="134"/>
                      <a:pt x="114" y="134"/>
                    </a:cubicBezTo>
                    <a:cubicBezTo>
                      <a:pt x="136" y="153"/>
                      <a:pt x="122" y="153"/>
                      <a:pt x="122" y="153"/>
                    </a:cubicBezTo>
                    <a:cubicBezTo>
                      <a:pt x="113" y="156"/>
                      <a:pt x="113" y="165"/>
                      <a:pt x="113" y="165"/>
                    </a:cubicBezTo>
                    <a:cubicBezTo>
                      <a:pt x="131" y="164"/>
                      <a:pt x="127" y="177"/>
                      <a:pt x="127" y="177"/>
                    </a:cubicBezTo>
                    <a:cubicBezTo>
                      <a:pt x="128" y="187"/>
                      <a:pt x="112" y="183"/>
                      <a:pt x="112" y="186"/>
                    </a:cubicBezTo>
                    <a:cubicBezTo>
                      <a:pt x="126" y="196"/>
                      <a:pt x="114" y="201"/>
                      <a:pt x="114" y="201"/>
                    </a:cubicBezTo>
                    <a:cubicBezTo>
                      <a:pt x="115" y="208"/>
                      <a:pt x="104" y="212"/>
                      <a:pt x="104" y="212"/>
                    </a:cubicBezTo>
                    <a:cubicBezTo>
                      <a:pt x="97" y="216"/>
                      <a:pt x="100" y="226"/>
                      <a:pt x="100" y="226"/>
                    </a:cubicBezTo>
                    <a:cubicBezTo>
                      <a:pt x="101" y="249"/>
                      <a:pt x="87" y="238"/>
                      <a:pt x="87" y="238"/>
                    </a:cubicBezTo>
                    <a:cubicBezTo>
                      <a:pt x="79" y="238"/>
                      <a:pt x="80" y="228"/>
                      <a:pt x="72" y="229"/>
                    </a:cubicBezTo>
                    <a:cubicBezTo>
                      <a:pt x="65" y="227"/>
                      <a:pt x="65" y="234"/>
                      <a:pt x="54" y="234"/>
                    </a:cubicBezTo>
                    <a:cubicBezTo>
                      <a:pt x="39" y="230"/>
                      <a:pt x="37" y="238"/>
                      <a:pt x="37" y="238"/>
                    </a:cubicBezTo>
                    <a:cubicBezTo>
                      <a:pt x="32" y="243"/>
                      <a:pt x="36" y="256"/>
                      <a:pt x="25" y="251"/>
                    </a:cubicBezTo>
                    <a:cubicBezTo>
                      <a:pt x="8" y="248"/>
                      <a:pt x="12" y="271"/>
                      <a:pt x="12" y="271"/>
                    </a:cubicBezTo>
                    <a:cubicBezTo>
                      <a:pt x="23" y="282"/>
                      <a:pt x="12" y="286"/>
                      <a:pt x="12" y="286"/>
                    </a:cubicBezTo>
                    <a:cubicBezTo>
                      <a:pt x="10" y="292"/>
                      <a:pt x="3" y="295"/>
                      <a:pt x="3" y="295"/>
                    </a:cubicBezTo>
                    <a:cubicBezTo>
                      <a:pt x="0" y="302"/>
                      <a:pt x="17" y="299"/>
                      <a:pt x="17" y="299"/>
                    </a:cubicBezTo>
                    <a:cubicBezTo>
                      <a:pt x="21" y="304"/>
                      <a:pt x="14" y="311"/>
                      <a:pt x="14" y="311"/>
                    </a:cubicBezTo>
                    <a:cubicBezTo>
                      <a:pt x="11" y="328"/>
                      <a:pt x="17" y="335"/>
                      <a:pt x="17" y="335"/>
                    </a:cubicBezTo>
                    <a:cubicBezTo>
                      <a:pt x="17" y="335"/>
                      <a:pt x="17" y="335"/>
                      <a:pt x="17" y="335"/>
                    </a:cubicBezTo>
                    <a:cubicBezTo>
                      <a:pt x="32" y="351"/>
                      <a:pt x="32" y="351"/>
                      <a:pt x="32" y="351"/>
                    </a:cubicBezTo>
                    <a:cubicBezTo>
                      <a:pt x="32" y="351"/>
                      <a:pt x="32" y="351"/>
                      <a:pt x="32" y="351"/>
                    </a:cubicBezTo>
                    <a:cubicBezTo>
                      <a:pt x="32" y="351"/>
                      <a:pt x="47" y="337"/>
                      <a:pt x="45" y="329"/>
                    </a:cubicBezTo>
                    <a:cubicBezTo>
                      <a:pt x="47" y="313"/>
                      <a:pt x="59" y="332"/>
                      <a:pt x="69" y="326"/>
                    </a:cubicBezTo>
                    <a:cubicBezTo>
                      <a:pt x="69" y="326"/>
                      <a:pt x="86" y="326"/>
                      <a:pt x="93" y="318"/>
                    </a:cubicBezTo>
                    <a:cubicBezTo>
                      <a:pt x="93" y="318"/>
                      <a:pt x="99" y="309"/>
                      <a:pt x="108" y="311"/>
                    </a:cubicBezTo>
                    <a:cubicBezTo>
                      <a:pt x="108" y="311"/>
                      <a:pt x="119" y="308"/>
                      <a:pt x="127" y="316"/>
                    </a:cubicBezTo>
                    <a:cubicBezTo>
                      <a:pt x="137" y="306"/>
                      <a:pt x="131" y="329"/>
                      <a:pt x="137" y="330"/>
                    </a:cubicBezTo>
                    <a:cubicBezTo>
                      <a:pt x="142" y="330"/>
                      <a:pt x="146" y="326"/>
                      <a:pt x="146" y="326"/>
                    </a:cubicBezTo>
                    <a:cubicBezTo>
                      <a:pt x="153" y="309"/>
                      <a:pt x="158" y="318"/>
                      <a:pt x="158" y="318"/>
                    </a:cubicBezTo>
                    <a:cubicBezTo>
                      <a:pt x="166" y="320"/>
                      <a:pt x="176" y="306"/>
                      <a:pt x="176" y="306"/>
                    </a:cubicBezTo>
                    <a:cubicBezTo>
                      <a:pt x="193" y="295"/>
                      <a:pt x="195" y="285"/>
                      <a:pt x="195" y="285"/>
                    </a:cubicBezTo>
                    <a:cubicBezTo>
                      <a:pt x="205" y="270"/>
                      <a:pt x="216" y="272"/>
                      <a:pt x="216" y="272"/>
                    </a:cubicBezTo>
                    <a:cubicBezTo>
                      <a:pt x="226" y="273"/>
                      <a:pt x="230" y="266"/>
                      <a:pt x="230" y="266"/>
                    </a:cubicBezTo>
                    <a:cubicBezTo>
                      <a:pt x="238" y="257"/>
                      <a:pt x="241" y="271"/>
                      <a:pt x="251" y="268"/>
                    </a:cubicBezTo>
                    <a:cubicBezTo>
                      <a:pt x="258" y="267"/>
                      <a:pt x="253" y="260"/>
                      <a:pt x="253" y="260"/>
                    </a:cubicBezTo>
                    <a:cubicBezTo>
                      <a:pt x="245" y="249"/>
                      <a:pt x="256" y="245"/>
                      <a:pt x="256" y="245"/>
                    </a:cubicBezTo>
                    <a:cubicBezTo>
                      <a:pt x="262" y="233"/>
                      <a:pt x="256" y="227"/>
                      <a:pt x="256" y="227"/>
                    </a:cubicBezTo>
                    <a:cubicBezTo>
                      <a:pt x="252" y="219"/>
                      <a:pt x="260" y="218"/>
                      <a:pt x="256" y="207"/>
                    </a:cubicBezTo>
                    <a:cubicBezTo>
                      <a:pt x="258" y="193"/>
                      <a:pt x="249" y="183"/>
                      <a:pt x="259" y="181"/>
                    </a:cubicBezTo>
                    <a:cubicBezTo>
                      <a:pt x="268" y="179"/>
                      <a:pt x="272" y="168"/>
                      <a:pt x="272" y="168"/>
                    </a:cubicBezTo>
                    <a:cubicBezTo>
                      <a:pt x="272" y="168"/>
                      <a:pt x="272" y="168"/>
                      <a:pt x="272" y="168"/>
                    </a:cubicBezTo>
                    <a:cubicBezTo>
                      <a:pt x="280" y="151"/>
                      <a:pt x="280" y="151"/>
                      <a:pt x="280" y="151"/>
                    </a:cubicBezTo>
                    <a:cubicBezTo>
                      <a:pt x="280" y="151"/>
                      <a:pt x="280" y="151"/>
                      <a:pt x="280" y="151"/>
                    </a:cubicBezTo>
                    <a:cubicBezTo>
                      <a:pt x="289" y="151"/>
                      <a:pt x="286" y="132"/>
                      <a:pt x="286" y="132"/>
                    </a:cubicBezTo>
                    <a:cubicBezTo>
                      <a:pt x="298" y="125"/>
                      <a:pt x="290" y="122"/>
                      <a:pt x="290" y="122"/>
                    </a:cubicBezTo>
                    <a:cubicBezTo>
                      <a:pt x="285" y="111"/>
                      <a:pt x="292" y="107"/>
                      <a:pt x="292" y="107"/>
                    </a:cubicBezTo>
                    <a:cubicBezTo>
                      <a:pt x="293" y="114"/>
                      <a:pt x="292" y="116"/>
                      <a:pt x="302" y="119"/>
                    </a:cubicBezTo>
                    <a:cubicBezTo>
                      <a:pt x="299" y="108"/>
                      <a:pt x="306" y="101"/>
                      <a:pt x="306" y="101"/>
                    </a:cubicBezTo>
                    <a:cubicBezTo>
                      <a:pt x="311" y="93"/>
                      <a:pt x="317" y="98"/>
                      <a:pt x="317" y="98"/>
                    </a:cubicBezTo>
                    <a:cubicBezTo>
                      <a:pt x="314" y="91"/>
                      <a:pt x="322" y="85"/>
                      <a:pt x="322" y="85"/>
                    </a:cubicBezTo>
                    <a:cubicBezTo>
                      <a:pt x="323" y="69"/>
                      <a:pt x="292" y="68"/>
                      <a:pt x="292" y="76"/>
                    </a:cubicBezTo>
                    <a:cubicBezTo>
                      <a:pt x="266" y="79"/>
                      <a:pt x="270" y="70"/>
                      <a:pt x="270" y="70"/>
                    </a:cubicBezTo>
                    <a:cubicBezTo>
                      <a:pt x="278" y="63"/>
                      <a:pt x="266" y="63"/>
                      <a:pt x="266" y="63"/>
                    </a:cubicBezTo>
                    <a:cubicBezTo>
                      <a:pt x="259" y="59"/>
                      <a:pt x="263" y="52"/>
                      <a:pt x="263" y="52"/>
                    </a:cubicBezTo>
                    <a:cubicBezTo>
                      <a:pt x="265" y="45"/>
                      <a:pt x="253" y="45"/>
                      <a:pt x="253" y="45"/>
                    </a:cubicBezTo>
                    <a:cubicBezTo>
                      <a:pt x="253" y="45"/>
                      <a:pt x="253" y="45"/>
                      <a:pt x="253" y="45"/>
                    </a:cubicBezTo>
                    <a:cubicBezTo>
                      <a:pt x="234" y="46"/>
                      <a:pt x="234" y="46"/>
                      <a:pt x="234" y="46"/>
                    </a:cubicBezTo>
                    <a:cubicBezTo>
                      <a:pt x="234" y="46"/>
                      <a:pt x="234" y="46"/>
                      <a:pt x="234" y="46"/>
                    </a:cubicBezTo>
                    <a:cubicBezTo>
                      <a:pt x="220" y="44"/>
                      <a:pt x="216" y="31"/>
                      <a:pt x="191" y="32"/>
                    </a:cubicBezTo>
                    <a:cubicBezTo>
                      <a:pt x="179" y="33"/>
                      <a:pt x="181" y="28"/>
                      <a:pt x="181" y="28"/>
                    </a:cubicBezTo>
                    <a:cubicBezTo>
                      <a:pt x="179" y="20"/>
                      <a:pt x="162" y="21"/>
                      <a:pt x="162" y="21"/>
                    </a:cubicBezTo>
                    <a:cubicBezTo>
                      <a:pt x="148" y="24"/>
                      <a:pt x="148" y="17"/>
                      <a:pt x="148" y="17"/>
                    </a:cubicBezTo>
                    <a:cubicBezTo>
                      <a:pt x="145" y="7"/>
                      <a:pt x="128" y="10"/>
                      <a:pt x="128" y="10"/>
                    </a:cubicBezTo>
                    <a:cubicBezTo>
                      <a:pt x="111" y="10"/>
                      <a:pt x="113" y="0"/>
                      <a:pt x="105" y="5"/>
                    </a:cubicBezTo>
                    <a:cubicBezTo>
                      <a:pt x="95" y="6"/>
                      <a:pt x="87" y="4"/>
                      <a:pt x="80" y="4"/>
                    </a:cubicBezTo>
                    <a:cubicBezTo>
                      <a:pt x="80" y="4"/>
                      <a:pt x="80" y="4"/>
                      <a:pt x="80" y="4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22" name="Freeform 53"/>
              <p:cNvSpPr>
                <a:spLocks/>
              </p:cNvSpPr>
              <p:nvPr/>
            </p:nvSpPr>
            <p:spPr bwMode="auto">
              <a:xfrm>
                <a:off x="1718521" y="2966144"/>
                <a:ext cx="596732" cy="974659"/>
              </a:xfrm>
              <a:custGeom>
                <a:avLst/>
                <a:gdLst>
                  <a:gd name="T0" fmla="*/ 2147483647 w 211"/>
                  <a:gd name="T1" fmla="*/ 2147483647 h 390"/>
                  <a:gd name="T2" fmla="*/ 2147483647 w 211"/>
                  <a:gd name="T3" fmla="*/ 2147483647 h 390"/>
                  <a:gd name="T4" fmla="*/ 2147483647 w 211"/>
                  <a:gd name="T5" fmla="*/ 2147483647 h 390"/>
                  <a:gd name="T6" fmla="*/ 2147483647 w 211"/>
                  <a:gd name="T7" fmla="*/ 2147483647 h 390"/>
                  <a:gd name="T8" fmla="*/ 2147483647 w 211"/>
                  <a:gd name="T9" fmla="*/ 2147483647 h 390"/>
                  <a:gd name="T10" fmla="*/ 2147483647 w 211"/>
                  <a:gd name="T11" fmla="*/ 2147483647 h 390"/>
                  <a:gd name="T12" fmla="*/ 2147483647 w 211"/>
                  <a:gd name="T13" fmla="*/ 2147483647 h 390"/>
                  <a:gd name="T14" fmla="*/ 2147483647 w 211"/>
                  <a:gd name="T15" fmla="*/ 2147483647 h 390"/>
                  <a:gd name="T16" fmla="*/ 2147483647 w 211"/>
                  <a:gd name="T17" fmla="*/ 2147483647 h 390"/>
                  <a:gd name="T18" fmla="*/ 2147483647 w 211"/>
                  <a:gd name="T19" fmla="*/ 2147483647 h 390"/>
                  <a:gd name="T20" fmla="*/ 2147483647 w 211"/>
                  <a:gd name="T21" fmla="*/ 2147483647 h 390"/>
                  <a:gd name="T22" fmla="*/ 2147483647 w 211"/>
                  <a:gd name="T23" fmla="*/ 2147483647 h 390"/>
                  <a:gd name="T24" fmla="*/ 2147483647 w 211"/>
                  <a:gd name="T25" fmla="*/ 2147483647 h 390"/>
                  <a:gd name="T26" fmla="*/ 2147483647 w 211"/>
                  <a:gd name="T27" fmla="*/ 2147483647 h 390"/>
                  <a:gd name="T28" fmla="*/ 2147483647 w 211"/>
                  <a:gd name="T29" fmla="*/ 2147483647 h 390"/>
                  <a:gd name="T30" fmla="*/ 2147483647 w 211"/>
                  <a:gd name="T31" fmla="*/ 2147483647 h 390"/>
                  <a:gd name="T32" fmla="*/ 2147483647 w 211"/>
                  <a:gd name="T33" fmla="*/ 2147483647 h 390"/>
                  <a:gd name="T34" fmla="*/ 2147483647 w 211"/>
                  <a:gd name="T35" fmla="*/ 2147483647 h 390"/>
                  <a:gd name="T36" fmla="*/ 2147483647 w 211"/>
                  <a:gd name="T37" fmla="*/ 2147483647 h 390"/>
                  <a:gd name="T38" fmla="*/ 2147483647 w 211"/>
                  <a:gd name="T39" fmla="*/ 2147483647 h 390"/>
                  <a:gd name="T40" fmla="*/ 2147483647 w 211"/>
                  <a:gd name="T41" fmla="*/ 2147483647 h 390"/>
                  <a:gd name="T42" fmla="*/ 2147483647 w 211"/>
                  <a:gd name="T43" fmla="*/ 2147483647 h 390"/>
                  <a:gd name="T44" fmla="*/ 2147483647 w 211"/>
                  <a:gd name="T45" fmla="*/ 2147483647 h 390"/>
                  <a:gd name="T46" fmla="*/ 2147483647 w 211"/>
                  <a:gd name="T47" fmla="*/ 2147483647 h 390"/>
                  <a:gd name="T48" fmla="*/ 2147483647 w 211"/>
                  <a:gd name="T49" fmla="*/ 2147483647 h 390"/>
                  <a:gd name="T50" fmla="*/ 2147483647 w 211"/>
                  <a:gd name="T51" fmla="*/ 2147483647 h 390"/>
                  <a:gd name="T52" fmla="*/ 2147483647 w 211"/>
                  <a:gd name="T53" fmla="*/ 2147483647 h 390"/>
                  <a:gd name="T54" fmla="*/ 2147483647 w 211"/>
                  <a:gd name="T55" fmla="*/ 2147483647 h 390"/>
                  <a:gd name="T56" fmla="*/ 2147483647 w 211"/>
                  <a:gd name="T57" fmla="*/ 2147483647 h 390"/>
                  <a:gd name="T58" fmla="*/ 2147483647 w 211"/>
                  <a:gd name="T59" fmla="*/ 2147483647 h 390"/>
                  <a:gd name="T60" fmla="*/ 2147483647 w 211"/>
                  <a:gd name="T61" fmla="*/ 2147483647 h 390"/>
                  <a:gd name="T62" fmla="*/ 2147483647 w 211"/>
                  <a:gd name="T63" fmla="*/ 2147483647 h 390"/>
                  <a:gd name="T64" fmla="*/ 2147483647 w 211"/>
                  <a:gd name="T65" fmla="*/ 2147483647 h 390"/>
                  <a:gd name="T66" fmla="*/ 2147483647 w 211"/>
                  <a:gd name="T67" fmla="*/ 2147483647 h 390"/>
                  <a:gd name="T68" fmla="*/ 2147483647 w 211"/>
                  <a:gd name="T69" fmla="*/ 2147483647 h 390"/>
                  <a:gd name="T70" fmla="*/ 2147483647 w 211"/>
                  <a:gd name="T71" fmla="*/ 2147483647 h 390"/>
                  <a:gd name="T72" fmla="*/ 2147483647 w 211"/>
                  <a:gd name="T73" fmla="*/ 2147483647 h 390"/>
                  <a:gd name="T74" fmla="*/ 2147483647 w 211"/>
                  <a:gd name="T75" fmla="*/ 2147483647 h 390"/>
                  <a:gd name="T76" fmla="*/ 2147483647 w 211"/>
                  <a:gd name="T77" fmla="*/ 2147483647 h 390"/>
                  <a:gd name="T78" fmla="*/ 2147483647 w 211"/>
                  <a:gd name="T79" fmla="*/ 2147483647 h 390"/>
                  <a:gd name="T80" fmla="*/ 2147483647 w 211"/>
                  <a:gd name="T81" fmla="*/ 2147483647 h 390"/>
                  <a:gd name="T82" fmla="*/ 2147483647 w 211"/>
                  <a:gd name="T83" fmla="*/ 2147483647 h 390"/>
                  <a:gd name="T84" fmla="*/ 2147483647 w 211"/>
                  <a:gd name="T85" fmla="*/ 2147483647 h 390"/>
                  <a:gd name="T86" fmla="*/ 2147483647 w 211"/>
                  <a:gd name="T87" fmla="*/ 2147483647 h 390"/>
                  <a:gd name="T88" fmla="*/ 2147483647 w 211"/>
                  <a:gd name="T89" fmla="*/ 2147483647 h 390"/>
                  <a:gd name="T90" fmla="*/ 2147483647 w 211"/>
                  <a:gd name="T91" fmla="*/ 2147483647 h 390"/>
                  <a:gd name="T92" fmla="*/ 2147483647 w 211"/>
                  <a:gd name="T93" fmla="*/ 2147483647 h 390"/>
                  <a:gd name="T94" fmla="*/ 2147483647 w 211"/>
                  <a:gd name="T95" fmla="*/ 2147483647 h 390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211"/>
                  <a:gd name="T145" fmla="*/ 0 h 390"/>
                  <a:gd name="T146" fmla="*/ 211 w 211"/>
                  <a:gd name="T147" fmla="*/ 390 h 390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211" h="390">
                    <a:moveTo>
                      <a:pt x="138" y="12"/>
                    </a:moveTo>
                    <a:cubicBezTo>
                      <a:pt x="138" y="21"/>
                      <a:pt x="149" y="19"/>
                      <a:pt x="142" y="32"/>
                    </a:cubicBezTo>
                    <a:cubicBezTo>
                      <a:pt x="142" y="32"/>
                      <a:pt x="134" y="38"/>
                      <a:pt x="146" y="45"/>
                    </a:cubicBezTo>
                    <a:cubicBezTo>
                      <a:pt x="156" y="55"/>
                      <a:pt x="156" y="63"/>
                      <a:pt x="161" y="63"/>
                    </a:cubicBezTo>
                    <a:cubicBezTo>
                      <a:pt x="161" y="63"/>
                      <a:pt x="171" y="78"/>
                      <a:pt x="178" y="68"/>
                    </a:cubicBezTo>
                    <a:cubicBezTo>
                      <a:pt x="178" y="68"/>
                      <a:pt x="182" y="72"/>
                      <a:pt x="182" y="91"/>
                    </a:cubicBezTo>
                    <a:cubicBezTo>
                      <a:pt x="175" y="102"/>
                      <a:pt x="190" y="105"/>
                      <a:pt x="178" y="111"/>
                    </a:cubicBezTo>
                    <a:cubicBezTo>
                      <a:pt x="178" y="111"/>
                      <a:pt x="168" y="110"/>
                      <a:pt x="171" y="128"/>
                    </a:cubicBezTo>
                    <a:cubicBezTo>
                      <a:pt x="171" y="128"/>
                      <a:pt x="171" y="138"/>
                      <a:pt x="183" y="149"/>
                    </a:cubicBezTo>
                    <a:cubicBezTo>
                      <a:pt x="183" y="149"/>
                      <a:pt x="199" y="149"/>
                      <a:pt x="204" y="155"/>
                    </a:cubicBezTo>
                    <a:cubicBezTo>
                      <a:pt x="211" y="162"/>
                      <a:pt x="199" y="166"/>
                      <a:pt x="199" y="166"/>
                    </a:cubicBezTo>
                    <a:cubicBezTo>
                      <a:pt x="188" y="169"/>
                      <a:pt x="199" y="179"/>
                      <a:pt x="199" y="179"/>
                    </a:cubicBezTo>
                    <a:cubicBezTo>
                      <a:pt x="201" y="186"/>
                      <a:pt x="195" y="191"/>
                      <a:pt x="195" y="191"/>
                    </a:cubicBezTo>
                    <a:cubicBezTo>
                      <a:pt x="182" y="204"/>
                      <a:pt x="196" y="217"/>
                      <a:pt x="196" y="217"/>
                    </a:cubicBezTo>
                    <a:cubicBezTo>
                      <a:pt x="205" y="230"/>
                      <a:pt x="203" y="251"/>
                      <a:pt x="203" y="251"/>
                    </a:cubicBezTo>
                    <a:cubicBezTo>
                      <a:pt x="210" y="282"/>
                      <a:pt x="182" y="268"/>
                      <a:pt x="182" y="268"/>
                    </a:cubicBezTo>
                    <a:cubicBezTo>
                      <a:pt x="176" y="259"/>
                      <a:pt x="153" y="267"/>
                      <a:pt x="153" y="274"/>
                    </a:cubicBezTo>
                    <a:cubicBezTo>
                      <a:pt x="156" y="279"/>
                      <a:pt x="141" y="285"/>
                      <a:pt x="142" y="302"/>
                    </a:cubicBezTo>
                    <a:cubicBezTo>
                      <a:pt x="149" y="343"/>
                      <a:pt x="140" y="358"/>
                      <a:pt x="140" y="358"/>
                    </a:cubicBezTo>
                    <a:cubicBezTo>
                      <a:pt x="134" y="364"/>
                      <a:pt x="125" y="360"/>
                      <a:pt x="125" y="360"/>
                    </a:cubicBezTo>
                    <a:cubicBezTo>
                      <a:pt x="112" y="370"/>
                      <a:pt x="98" y="368"/>
                      <a:pt x="98" y="368"/>
                    </a:cubicBezTo>
                    <a:cubicBezTo>
                      <a:pt x="93" y="361"/>
                      <a:pt x="83" y="367"/>
                      <a:pt x="83" y="367"/>
                    </a:cubicBezTo>
                    <a:cubicBezTo>
                      <a:pt x="73" y="375"/>
                      <a:pt x="70" y="361"/>
                      <a:pt x="70" y="361"/>
                    </a:cubicBezTo>
                    <a:cubicBezTo>
                      <a:pt x="57" y="361"/>
                      <a:pt x="48" y="366"/>
                      <a:pt x="48" y="366"/>
                    </a:cubicBezTo>
                    <a:cubicBezTo>
                      <a:pt x="56" y="374"/>
                      <a:pt x="48" y="381"/>
                      <a:pt x="48" y="381"/>
                    </a:cubicBezTo>
                    <a:cubicBezTo>
                      <a:pt x="36" y="390"/>
                      <a:pt x="32" y="369"/>
                      <a:pt x="32" y="369"/>
                    </a:cubicBezTo>
                    <a:cubicBezTo>
                      <a:pt x="32" y="369"/>
                      <a:pt x="32" y="369"/>
                      <a:pt x="32" y="369"/>
                    </a:cubicBezTo>
                    <a:cubicBezTo>
                      <a:pt x="15" y="369"/>
                      <a:pt x="15" y="369"/>
                      <a:pt x="15" y="369"/>
                    </a:cubicBezTo>
                    <a:cubicBezTo>
                      <a:pt x="15" y="369"/>
                      <a:pt x="15" y="369"/>
                      <a:pt x="15" y="369"/>
                    </a:cubicBezTo>
                    <a:cubicBezTo>
                      <a:pt x="17" y="358"/>
                      <a:pt x="10" y="352"/>
                      <a:pt x="10" y="352"/>
                    </a:cubicBezTo>
                    <a:cubicBezTo>
                      <a:pt x="1" y="343"/>
                      <a:pt x="4" y="315"/>
                      <a:pt x="4" y="315"/>
                    </a:cubicBezTo>
                    <a:cubicBezTo>
                      <a:pt x="0" y="298"/>
                      <a:pt x="4" y="272"/>
                      <a:pt x="4" y="272"/>
                    </a:cubicBezTo>
                    <a:cubicBezTo>
                      <a:pt x="10" y="265"/>
                      <a:pt x="1" y="250"/>
                      <a:pt x="8" y="237"/>
                    </a:cubicBezTo>
                    <a:cubicBezTo>
                      <a:pt x="14" y="219"/>
                      <a:pt x="6" y="202"/>
                      <a:pt x="6" y="202"/>
                    </a:cubicBezTo>
                    <a:cubicBezTo>
                      <a:pt x="1" y="188"/>
                      <a:pt x="7" y="183"/>
                      <a:pt x="7" y="183"/>
                    </a:cubicBezTo>
                    <a:cubicBezTo>
                      <a:pt x="7" y="183"/>
                      <a:pt x="13" y="177"/>
                      <a:pt x="13" y="160"/>
                    </a:cubicBezTo>
                    <a:cubicBezTo>
                      <a:pt x="10" y="158"/>
                      <a:pt x="14" y="149"/>
                      <a:pt x="14" y="149"/>
                    </a:cubicBezTo>
                    <a:cubicBezTo>
                      <a:pt x="19" y="142"/>
                      <a:pt x="13" y="138"/>
                      <a:pt x="13" y="138"/>
                    </a:cubicBezTo>
                    <a:cubicBezTo>
                      <a:pt x="3" y="114"/>
                      <a:pt x="17" y="104"/>
                      <a:pt x="17" y="104"/>
                    </a:cubicBezTo>
                    <a:cubicBezTo>
                      <a:pt x="17" y="81"/>
                      <a:pt x="25" y="91"/>
                      <a:pt x="24" y="73"/>
                    </a:cubicBezTo>
                    <a:cubicBezTo>
                      <a:pt x="29" y="73"/>
                      <a:pt x="32" y="69"/>
                      <a:pt x="32" y="69"/>
                    </a:cubicBezTo>
                    <a:cubicBezTo>
                      <a:pt x="39" y="52"/>
                      <a:pt x="44" y="61"/>
                      <a:pt x="44" y="61"/>
                    </a:cubicBezTo>
                    <a:cubicBezTo>
                      <a:pt x="52" y="63"/>
                      <a:pt x="62" y="49"/>
                      <a:pt x="62" y="49"/>
                    </a:cubicBezTo>
                    <a:cubicBezTo>
                      <a:pt x="79" y="38"/>
                      <a:pt x="81" y="28"/>
                      <a:pt x="81" y="28"/>
                    </a:cubicBezTo>
                    <a:cubicBezTo>
                      <a:pt x="91" y="13"/>
                      <a:pt x="102" y="15"/>
                      <a:pt x="102" y="15"/>
                    </a:cubicBezTo>
                    <a:cubicBezTo>
                      <a:pt x="112" y="16"/>
                      <a:pt x="116" y="9"/>
                      <a:pt x="116" y="9"/>
                    </a:cubicBezTo>
                    <a:cubicBezTo>
                      <a:pt x="124" y="0"/>
                      <a:pt x="129" y="14"/>
                      <a:pt x="138" y="12"/>
                    </a:cubicBezTo>
                    <a:cubicBezTo>
                      <a:pt x="138" y="12"/>
                      <a:pt x="138" y="12"/>
                      <a:pt x="138" y="12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23" name="Freeform 52"/>
              <p:cNvSpPr>
                <a:spLocks/>
              </p:cNvSpPr>
              <p:nvPr/>
            </p:nvSpPr>
            <p:spPr bwMode="auto">
              <a:xfrm>
                <a:off x="1242731" y="3798198"/>
                <a:ext cx="922342" cy="414849"/>
              </a:xfrm>
              <a:custGeom>
                <a:avLst/>
                <a:gdLst>
                  <a:gd name="T0" fmla="*/ 2147483647 w 326"/>
                  <a:gd name="T1" fmla="*/ 2147483647 h 166"/>
                  <a:gd name="T2" fmla="*/ 2147483647 w 326"/>
                  <a:gd name="T3" fmla="*/ 2147483647 h 166"/>
                  <a:gd name="T4" fmla="*/ 2147483647 w 326"/>
                  <a:gd name="T5" fmla="*/ 2147483647 h 166"/>
                  <a:gd name="T6" fmla="*/ 2147483647 w 326"/>
                  <a:gd name="T7" fmla="*/ 2147483647 h 166"/>
                  <a:gd name="T8" fmla="*/ 2147483647 w 326"/>
                  <a:gd name="T9" fmla="*/ 2147483647 h 166"/>
                  <a:gd name="T10" fmla="*/ 2147483647 w 326"/>
                  <a:gd name="T11" fmla="*/ 2147483647 h 166"/>
                  <a:gd name="T12" fmla="*/ 2147483647 w 326"/>
                  <a:gd name="T13" fmla="*/ 2147483647 h 166"/>
                  <a:gd name="T14" fmla="*/ 2147483647 w 326"/>
                  <a:gd name="T15" fmla="*/ 2147483647 h 166"/>
                  <a:gd name="T16" fmla="*/ 2147483647 w 326"/>
                  <a:gd name="T17" fmla="*/ 2147483647 h 166"/>
                  <a:gd name="T18" fmla="*/ 2147483647 w 326"/>
                  <a:gd name="T19" fmla="*/ 2147483647 h 166"/>
                  <a:gd name="T20" fmla="*/ 2147483647 w 326"/>
                  <a:gd name="T21" fmla="*/ 2147483647 h 166"/>
                  <a:gd name="T22" fmla="*/ 2147483647 w 326"/>
                  <a:gd name="T23" fmla="*/ 2147483647 h 166"/>
                  <a:gd name="T24" fmla="*/ 2147483647 w 326"/>
                  <a:gd name="T25" fmla="*/ 2147483647 h 166"/>
                  <a:gd name="T26" fmla="*/ 2147483647 w 326"/>
                  <a:gd name="T27" fmla="*/ 2147483647 h 166"/>
                  <a:gd name="T28" fmla="*/ 2147483647 w 326"/>
                  <a:gd name="T29" fmla="*/ 2147483647 h 166"/>
                  <a:gd name="T30" fmla="*/ 2147483647 w 326"/>
                  <a:gd name="T31" fmla="*/ 2147483647 h 166"/>
                  <a:gd name="T32" fmla="*/ 2147483647 w 326"/>
                  <a:gd name="T33" fmla="*/ 2147483647 h 166"/>
                  <a:gd name="T34" fmla="*/ 0 w 326"/>
                  <a:gd name="T35" fmla="*/ 2147483647 h 166"/>
                  <a:gd name="T36" fmla="*/ 2147483647 w 326"/>
                  <a:gd name="T37" fmla="*/ 2147483647 h 166"/>
                  <a:gd name="T38" fmla="*/ 2147483647 w 326"/>
                  <a:gd name="T39" fmla="*/ 2147483647 h 166"/>
                  <a:gd name="T40" fmla="*/ 2147483647 w 326"/>
                  <a:gd name="T41" fmla="*/ 2147483647 h 166"/>
                  <a:gd name="T42" fmla="*/ 2147483647 w 326"/>
                  <a:gd name="T43" fmla="*/ 2147483647 h 166"/>
                  <a:gd name="T44" fmla="*/ 2147483647 w 326"/>
                  <a:gd name="T45" fmla="*/ 2147483647 h 166"/>
                  <a:gd name="T46" fmla="*/ 2147483647 w 326"/>
                  <a:gd name="T47" fmla="*/ 2147483647 h 166"/>
                  <a:gd name="T48" fmla="*/ 2147483647 w 326"/>
                  <a:gd name="T49" fmla="*/ 2147483647 h 166"/>
                  <a:gd name="T50" fmla="*/ 2147483647 w 326"/>
                  <a:gd name="T51" fmla="*/ 2147483647 h 166"/>
                  <a:gd name="T52" fmla="*/ 2147483647 w 326"/>
                  <a:gd name="T53" fmla="*/ 2147483647 h 166"/>
                  <a:gd name="T54" fmla="*/ 2147483647 w 326"/>
                  <a:gd name="T55" fmla="*/ 2147483647 h 166"/>
                  <a:gd name="T56" fmla="*/ 2147483647 w 326"/>
                  <a:gd name="T57" fmla="*/ 2147483647 h 166"/>
                  <a:gd name="T58" fmla="*/ 2147483647 w 326"/>
                  <a:gd name="T59" fmla="*/ 2147483647 h 166"/>
                  <a:gd name="T60" fmla="*/ 2147483647 w 326"/>
                  <a:gd name="T61" fmla="*/ 2147483647 h 166"/>
                  <a:gd name="T62" fmla="*/ 2147483647 w 326"/>
                  <a:gd name="T63" fmla="*/ 2147483647 h 166"/>
                  <a:gd name="T64" fmla="*/ 2147483647 w 326"/>
                  <a:gd name="T65" fmla="*/ 2147483647 h 166"/>
                  <a:gd name="T66" fmla="*/ 2147483647 w 326"/>
                  <a:gd name="T67" fmla="*/ 2147483647 h 166"/>
                  <a:gd name="T68" fmla="*/ 2147483647 w 326"/>
                  <a:gd name="T69" fmla="*/ 2147483647 h 166"/>
                  <a:gd name="T70" fmla="*/ 2147483647 w 326"/>
                  <a:gd name="T71" fmla="*/ 2147483647 h 166"/>
                  <a:gd name="T72" fmla="*/ 2147483647 w 326"/>
                  <a:gd name="T73" fmla="*/ 2147483647 h 166"/>
                  <a:gd name="T74" fmla="*/ 2147483647 w 326"/>
                  <a:gd name="T75" fmla="*/ 2147483647 h 166"/>
                  <a:gd name="T76" fmla="*/ 2147483647 w 326"/>
                  <a:gd name="T77" fmla="*/ 2147483647 h 166"/>
                  <a:gd name="T78" fmla="*/ 2147483647 w 326"/>
                  <a:gd name="T79" fmla="*/ 2147483647 h 166"/>
                  <a:gd name="T80" fmla="*/ 2147483647 w 326"/>
                  <a:gd name="T81" fmla="*/ 2147483647 h 166"/>
                  <a:gd name="T82" fmla="*/ 2147483647 w 326"/>
                  <a:gd name="T83" fmla="*/ 2147483647 h 166"/>
                  <a:gd name="T84" fmla="*/ 2147483647 w 326"/>
                  <a:gd name="T85" fmla="*/ 2147483647 h 166"/>
                  <a:gd name="T86" fmla="*/ 2147483647 w 326"/>
                  <a:gd name="T87" fmla="*/ 2147483647 h 16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326"/>
                  <a:gd name="T133" fmla="*/ 0 h 166"/>
                  <a:gd name="T134" fmla="*/ 326 w 326"/>
                  <a:gd name="T135" fmla="*/ 166 h 16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326" h="166">
                    <a:moveTo>
                      <a:pt x="307" y="25"/>
                    </a:moveTo>
                    <a:cubicBezTo>
                      <a:pt x="307" y="25"/>
                      <a:pt x="321" y="19"/>
                      <a:pt x="319" y="40"/>
                    </a:cubicBezTo>
                    <a:cubicBezTo>
                      <a:pt x="319" y="40"/>
                      <a:pt x="326" y="48"/>
                      <a:pt x="313" y="62"/>
                    </a:cubicBezTo>
                    <a:cubicBezTo>
                      <a:pt x="313" y="62"/>
                      <a:pt x="310" y="51"/>
                      <a:pt x="295" y="60"/>
                    </a:cubicBezTo>
                    <a:cubicBezTo>
                      <a:pt x="295" y="60"/>
                      <a:pt x="289" y="74"/>
                      <a:pt x="277" y="64"/>
                    </a:cubicBezTo>
                    <a:cubicBezTo>
                      <a:pt x="266" y="54"/>
                      <a:pt x="255" y="73"/>
                      <a:pt x="251" y="65"/>
                    </a:cubicBezTo>
                    <a:cubicBezTo>
                      <a:pt x="251" y="65"/>
                      <a:pt x="236" y="56"/>
                      <a:pt x="236" y="69"/>
                    </a:cubicBezTo>
                    <a:cubicBezTo>
                      <a:pt x="236" y="69"/>
                      <a:pt x="233" y="80"/>
                      <a:pt x="227" y="76"/>
                    </a:cubicBezTo>
                    <a:cubicBezTo>
                      <a:pt x="227" y="76"/>
                      <a:pt x="225" y="64"/>
                      <a:pt x="216" y="85"/>
                    </a:cubicBezTo>
                    <a:cubicBezTo>
                      <a:pt x="216" y="85"/>
                      <a:pt x="217" y="81"/>
                      <a:pt x="209" y="87"/>
                    </a:cubicBezTo>
                    <a:cubicBezTo>
                      <a:pt x="209" y="87"/>
                      <a:pt x="194" y="87"/>
                      <a:pt x="179" y="94"/>
                    </a:cubicBezTo>
                    <a:cubicBezTo>
                      <a:pt x="179" y="94"/>
                      <a:pt x="178" y="102"/>
                      <a:pt x="170" y="113"/>
                    </a:cubicBezTo>
                    <a:cubicBezTo>
                      <a:pt x="157" y="133"/>
                      <a:pt x="156" y="128"/>
                      <a:pt x="131" y="130"/>
                    </a:cubicBezTo>
                    <a:cubicBezTo>
                      <a:pt x="131" y="130"/>
                      <a:pt x="131" y="130"/>
                      <a:pt x="131" y="130"/>
                    </a:cubicBezTo>
                    <a:cubicBezTo>
                      <a:pt x="76" y="134"/>
                      <a:pt x="76" y="134"/>
                      <a:pt x="76" y="134"/>
                    </a:cubicBezTo>
                    <a:cubicBezTo>
                      <a:pt x="76" y="134"/>
                      <a:pt x="76" y="134"/>
                      <a:pt x="76" y="134"/>
                    </a:cubicBezTo>
                    <a:cubicBezTo>
                      <a:pt x="76" y="134"/>
                      <a:pt x="46" y="124"/>
                      <a:pt x="35" y="150"/>
                    </a:cubicBezTo>
                    <a:cubicBezTo>
                      <a:pt x="35" y="150"/>
                      <a:pt x="27" y="164"/>
                      <a:pt x="0" y="166"/>
                    </a:cubicBezTo>
                    <a:cubicBezTo>
                      <a:pt x="14" y="146"/>
                      <a:pt x="5" y="137"/>
                      <a:pt x="5" y="137"/>
                    </a:cubicBezTo>
                    <a:cubicBezTo>
                      <a:pt x="0" y="117"/>
                      <a:pt x="13" y="99"/>
                      <a:pt x="13" y="99"/>
                    </a:cubicBezTo>
                    <a:cubicBezTo>
                      <a:pt x="29" y="95"/>
                      <a:pt x="34" y="80"/>
                      <a:pt x="34" y="80"/>
                    </a:cubicBezTo>
                    <a:cubicBezTo>
                      <a:pt x="38" y="82"/>
                      <a:pt x="41" y="75"/>
                      <a:pt x="41" y="75"/>
                    </a:cubicBezTo>
                    <a:cubicBezTo>
                      <a:pt x="60" y="48"/>
                      <a:pt x="77" y="52"/>
                      <a:pt x="77" y="52"/>
                    </a:cubicBezTo>
                    <a:cubicBezTo>
                      <a:pt x="95" y="55"/>
                      <a:pt x="93" y="40"/>
                      <a:pt x="93" y="40"/>
                    </a:cubicBezTo>
                    <a:cubicBezTo>
                      <a:pt x="97" y="29"/>
                      <a:pt x="93" y="24"/>
                      <a:pt x="93" y="24"/>
                    </a:cubicBezTo>
                    <a:cubicBezTo>
                      <a:pt x="86" y="7"/>
                      <a:pt x="98" y="3"/>
                      <a:pt x="98" y="3"/>
                    </a:cubicBezTo>
                    <a:cubicBezTo>
                      <a:pt x="98" y="3"/>
                      <a:pt x="107" y="2"/>
                      <a:pt x="107" y="8"/>
                    </a:cubicBezTo>
                    <a:cubicBezTo>
                      <a:pt x="107" y="8"/>
                      <a:pt x="110" y="18"/>
                      <a:pt x="117" y="10"/>
                    </a:cubicBezTo>
                    <a:cubicBezTo>
                      <a:pt x="117" y="10"/>
                      <a:pt x="125" y="0"/>
                      <a:pt x="129" y="18"/>
                    </a:cubicBezTo>
                    <a:cubicBezTo>
                      <a:pt x="129" y="18"/>
                      <a:pt x="123" y="35"/>
                      <a:pt x="137" y="20"/>
                    </a:cubicBezTo>
                    <a:cubicBezTo>
                      <a:pt x="137" y="20"/>
                      <a:pt x="151" y="7"/>
                      <a:pt x="154" y="25"/>
                    </a:cubicBezTo>
                    <a:cubicBezTo>
                      <a:pt x="154" y="25"/>
                      <a:pt x="158" y="36"/>
                      <a:pt x="168" y="34"/>
                    </a:cubicBezTo>
                    <a:cubicBezTo>
                      <a:pt x="168" y="34"/>
                      <a:pt x="177" y="32"/>
                      <a:pt x="183" y="36"/>
                    </a:cubicBezTo>
                    <a:cubicBezTo>
                      <a:pt x="183" y="36"/>
                      <a:pt x="183" y="36"/>
                      <a:pt x="183" y="36"/>
                    </a:cubicBezTo>
                    <a:cubicBezTo>
                      <a:pt x="200" y="36"/>
                      <a:pt x="200" y="36"/>
                      <a:pt x="200" y="36"/>
                    </a:cubicBezTo>
                    <a:cubicBezTo>
                      <a:pt x="200" y="36"/>
                      <a:pt x="200" y="36"/>
                      <a:pt x="200" y="36"/>
                    </a:cubicBezTo>
                    <a:cubicBezTo>
                      <a:pt x="200" y="36"/>
                      <a:pt x="204" y="57"/>
                      <a:pt x="216" y="48"/>
                    </a:cubicBezTo>
                    <a:cubicBezTo>
                      <a:pt x="216" y="48"/>
                      <a:pt x="224" y="41"/>
                      <a:pt x="216" y="33"/>
                    </a:cubicBezTo>
                    <a:cubicBezTo>
                      <a:pt x="216" y="33"/>
                      <a:pt x="225" y="28"/>
                      <a:pt x="238" y="28"/>
                    </a:cubicBezTo>
                    <a:cubicBezTo>
                      <a:pt x="238" y="28"/>
                      <a:pt x="241" y="42"/>
                      <a:pt x="251" y="34"/>
                    </a:cubicBezTo>
                    <a:cubicBezTo>
                      <a:pt x="251" y="34"/>
                      <a:pt x="261" y="28"/>
                      <a:pt x="266" y="35"/>
                    </a:cubicBezTo>
                    <a:cubicBezTo>
                      <a:pt x="266" y="35"/>
                      <a:pt x="280" y="37"/>
                      <a:pt x="293" y="27"/>
                    </a:cubicBezTo>
                    <a:cubicBezTo>
                      <a:pt x="293" y="27"/>
                      <a:pt x="302" y="32"/>
                      <a:pt x="307" y="25"/>
                    </a:cubicBezTo>
                    <a:cubicBezTo>
                      <a:pt x="307" y="25"/>
                      <a:pt x="307" y="25"/>
                      <a:pt x="307" y="25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24" name="Freeform 112"/>
              <p:cNvSpPr>
                <a:spLocks/>
              </p:cNvSpPr>
              <p:nvPr/>
            </p:nvSpPr>
            <p:spPr bwMode="auto">
              <a:xfrm>
                <a:off x="2114570" y="3304387"/>
                <a:ext cx="906394" cy="853268"/>
              </a:xfrm>
              <a:custGeom>
                <a:avLst/>
                <a:gdLst>
                  <a:gd name="T0" fmla="*/ 2147483647 w 320"/>
                  <a:gd name="T1" fmla="*/ 2147483647 h 342"/>
                  <a:gd name="T2" fmla="*/ 2147483647 w 320"/>
                  <a:gd name="T3" fmla="*/ 2147483647 h 342"/>
                  <a:gd name="T4" fmla="*/ 2147483647 w 320"/>
                  <a:gd name="T5" fmla="*/ 2147483647 h 342"/>
                  <a:gd name="T6" fmla="*/ 2147483647 w 320"/>
                  <a:gd name="T7" fmla="*/ 2147483647 h 342"/>
                  <a:gd name="T8" fmla="*/ 2147483647 w 320"/>
                  <a:gd name="T9" fmla="*/ 2147483647 h 342"/>
                  <a:gd name="T10" fmla="*/ 2147483647 w 320"/>
                  <a:gd name="T11" fmla="*/ 2147483647 h 342"/>
                  <a:gd name="T12" fmla="*/ 2147483647 w 320"/>
                  <a:gd name="T13" fmla="*/ 2147483647 h 342"/>
                  <a:gd name="T14" fmla="*/ 2147483647 w 320"/>
                  <a:gd name="T15" fmla="*/ 2147483647 h 342"/>
                  <a:gd name="T16" fmla="*/ 2147483647 w 320"/>
                  <a:gd name="T17" fmla="*/ 2147483647 h 342"/>
                  <a:gd name="T18" fmla="*/ 2147483647 w 320"/>
                  <a:gd name="T19" fmla="*/ 2147483647 h 342"/>
                  <a:gd name="T20" fmla="*/ 2147483647 w 320"/>
                  <a:gd name="T21" fmla="*/ 2147483647 h 342"/>
                  <a:gd name="T22" fmla="*/ 2147483647 w 320"/>
                  <a:gd name="T23" fmla="*/ 2147483647 h 342"/>
                  <a:gd name="T24" fmla="*/ 2147483647 w 320"/>
                  <a:gd name="T25" fmla="*/ 2147483647 h 342"/>
                  <a:gd name="T26" fmla="*/ 2147483647 w 320"/>
                  <a:gd name="T27" fmla="*/ 2147483647 h 342"/>
                  <a:gd name="T28" fmla="*/ 2147483647 w 320"/>
                  <a:gd name="T29" fmla="*/ 2147483647 h 342"/>
                  <a:gd name="T30" fmla="*/ 2147483647 w 320"/>
                  <a:gd name="T31" fmla="*/ 2147483647 h 342"/>
                  <a:gd name="T32" fmla="*/ 2147483647 w 320"/>
                  <a:gd name="T33" fmla="*/ 2147483647 h 342"/>
                  <a:gd name="T34" fmla="*/ 2147483647 w 320"/>
                  <a:gd name="T35" fmla="*/ 2147483647 h 342"/>
                  <a:gd name="T36" fmla="*/ 2147483647 w 320"/>
                  <a:gd name="T37" fmla="*/ 2147483647 h 342"/>
                  <a:gd name="T38" fmla="*/ 2147483647 w 320"/>
                  <a:gd name="T39" fmla="*/ 2147483647 h 342"/>
                  <a:gd name="T40" fmla="*/ 2147483647 w 320"/>
                  <a:gd name="T41" fmla="*/ 2147483647 h 342"/>
                  <a:gd name="T42" fmla="*/ 0 w 320"/>
                  <a:gd name="T43" fmla="*/ 2147483647 h 342"/>
                  <a:gd name="T44" fmla="*/ 2147483647 w 320"/>
                  <a:gd name="T45" fmla="*/ 2147483647 h 342"/>
                  <a:gd name="T46" fmla="*/ 2147483647 w 320"/>
                  <a:gd name="T47" fmla="*/ 2147483647 h 342"/>
                  <a:gd name="T48" fmla="*/ 2147483647 w 320"/>
                  <a:gd name="T49" fmla="*/ 2147483647 h 342"/>
                  <a:gd name="T50" fmla="*/ 2147483647 w 320"/>
                  <a:gd name="T51" fmla="*/ 2147483647 h 342"/>
                  <a:gd name="T52" fmla="*/ 2147483647 w 320"/>
                  <a:gd name="T53" fmla="*/ 2147483647 h 342"/>
                  <a:gd name="T54" fmla="*/ 2147483647 w 320"/>
                  <a:gd name="T55" fmla="*/ 2147483647 h 342"/>
                  <a:gd name="T56" fmla="*/ 2147483647 w 320"/>
                  <a:gd name="T57" fmla="*/ 2147483647 h 342"/>
                  <a:gd name="T58" fmla="*/ 2147483647 w 320"/>
                  <a:gd name="T59" fmla="*/ 2147483647 h 342"/>
                  <a:gd name="T60" fmla="*/ 2147483647 w 320"/>
                  <a:gd name="T61" fmla="*/ 2147483647 h 342"/>
                  <a:gd name="T62" fmla="*/ 2147483647 w 320"/>
                  <a:gd name="T63" fmla="*/ 2147483647 h 342"/>
                  <a:gd name="T64" fmla="*/ 2147483647 w 320"/>
                  <a:gd name="T65" fmla="*/ 2147483647 h 342"/>
                  <a:gd name="T66" fmla="*/ 2147483647 w 320"/>
                  <a:gd name="T67" fmla="*/ 2147483647 h 342"/>
                  <a:gd name="T68" fmla="*/ 2147483647 w 320"/>
                  <a:gd name="T69" fmla="*/ 2147483647 h 342"/>
                  <a:gd name="T70" fmla="*/ 2147483647 w 320"/>
                  <a:gd name="T71" fmla="*/ 2147483647 h 342"/>
                  <a:gd name="T72" fmla="*/ 2147483647 w 320"/>
                  <a:gd name="T73" fmla="*/ 2147483647 h 342"/>
                  <a:gd name="T74" fmla="*/ 2147483647 w 320"/>
                  <a:gd name="T75" fmla="*/ 2147483647 h 342"/>
                  <a:gd name="T76" fmla="*/ 2147483647 w 320"/>
                  <a:gd name="T77" fmla="*/ 2147483647 h 342"/>
                  <a:gd name="T78" fmla="*/ 2147483647 w 320"/>
                  <a:gd name="T79" fmla="*/ 2147483647 h 342"/>
                  <a:gd name="T80" fmla="*/ 2147483647 w 320"/>
                  <a:gd name="T81" fmla="*/ 2147483647 h 342"/>
                  <a:gd name="T82" fmla="*/ 2147483647 w 320"/>
                  <a:gd name="T83" fmla="*/ 2147483647 h 342"/>
                  <a:gd name="T84" fmla="*/ 2147483647 w 320"/>
                  <a:gd name="T85" fmla="*/ 2147483647 h 342"/>
                  <a:gd name="T86" fmla="*/ 2147483647 w 320"/>
                  <a:gd name="T87" fmla="*/ 2147483647 h 342"/>
                  <a:gd name="T88" fmla="*/ 2147483647 w 320"/>
                  <a:gd name="T89" fmla="*/ 2147483647 h 342"/>
                  <a:gd name="T90" fmla="*/ 2147483647 w 320"/>
                  <a:gd name="T91" fmla="*/ 2147483647 h 342"/>
                  <a:gd name="T92" fmla="*/ 2147483647 w 320"/>
                  <a:gd name="T93" fmla="*/ 2147483647 h 342"/>
                  <a:gd name="T94" fmla="*/ 2147483647 w 320"/>
                  <a:gd name="T95" fmla="*/ 2147483647 h 342"/>
                  <a:gd name="T96" fmla="*/ 2147483647 w 320"/>
                  <a:gd name="T97" fmla="*/ 2147483647 h 342"/>
                  <a:gd name="T98" fmla="*/ 2147483647 w 320"/>
                  <a:gd name="T99" fmla="*/ 2147483647 h 342"/>
                  <a:gd name="T100" fmla="*/ 2147483647 w 320"/>
                  <a:gd name="T101" fmla="*/ 2147483647 h 342"/>
                  <a:gd name="T102" fmla="*/ 2147483647 w 320"/>
                  <a:gd name="T103" fmla="*/ 2147483647 h 342"/>
                  <a:gd name="T104" fmla="*/ 2147483647 w 320"/>
                  <a:gd name="T105" fmla="*/ 2147483647 h 342"/>
                  <a:gd name="T106" fmla="*/ 2147483647 w 320"/>
                  <a:gd name="T107" fmla="*/ 2147483647 h 342"/>
                  <a:gd name="T108" fmla="*/ 2147483647 w 320"/>
                  <a:gd name="T109" fmla="*/ 2147483647 h 342"/>
                  <a:gd name="T110" fmla="*/ 2147483647 w 320"/>
                  <a:gd name="T111" fmla="*/ 2147483647 h 342"/>
                  <a:gd name="T112" fmla="*/ 2147483647 w 320"/>
                  <a:gd name="T113" fmla="*/ 2147483647 h 342"/>
                  <a:gd name="T114" fmla="*/ 2147483647 w 320"/>
                  <a:gd name="T115" fmla="*/ 2147483647 h 342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320"/>
                  <a:gd name="T175" fmla="*/ 0 h 342"/>
                  <a:gd name="T176" fmla="*/ 320 w 320"/>
                  <a:gd name="T177" fmla="*/ 342 h 342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320" h="342">
                    <a:moveTo>
                      <a:pt x="288" y="311"/>
                    </a:moveTo>
                    <a:cubicBezTo>
                      <a:pt x="288" y="311"/>
                      <a:pt x="272" y="311"/>
                      <a:pt x="274" y="322"/>
                    </a:cubicBezTo>
                    <a:cubicBezTo>
                      <a:pt x="274" y="322"/>
                      <a:pt x="274" y="333"/>
                      <a:pt x="253" y="330"/>
                    </a:cubicBezTo>
                    <a:cubicBezTo>
                      <a:pt x="253" y="330"/>
                      <a:pt x="246" y="319"/>
                      <a:pt x="235" y="329"/>
                    </a:cubicBezTo>
                    <a:cubicBezTo>
                      <a:pt x="235" y="329"/>
                      <a:pt x="217" y="333"/>
                      <a:pt x="207" y="323"/>
                    </a:cubicBezTo>
                    <a:cubicBezTo>
                      <a:pt x="207" y="323"/>
                      <a:pt x="199" y="306"/>
                      <a:pt x="196" y="325"/>
                    </a:cubicBezTo>
                    <a:cubicBezTo>
                      <a:pt x="196" y="325"/>
                      <a:pt x="192" y="339"/>
                      <a:pt x="180" y="342"/>
                    </a:cubicBezTo>
                    <a:cubicBezTo>
                      <a:pt x="170" y="339"/>
                      <a:pt x="176" y="314"/>
                      <a:pt x="157" y="315"/>
                    </a:cubicBezTo>
                    <a:cubicBezTo>
                      <a:pt x="157" y="315"/>
                      <a:pt x="137" y="306"/>
                      <a:pt x="130" y="318"/>
                    </a:cubicBezTo>
                    <a:cubicBezTo>
                      <a:pt x="130" y="318"/>
                      <a:pt x="133" y="330"/>
                      <a:pt x="123" y="322"/>
                    </a:cubicBezTo>
                    <a:cubicBezTo>
                      <a:pt x="123" y="322"/>
                      <a:pt x="127" y="315"/>
                      <a:pt x="124" y="312"/>
                    </a:cubicBezTo>
                    <a:cubicBezTo>
                      <a:pt x="124" y="312"/>
                      <a:pt x="118" y="310"/>
                      <a:pt x="111" y="315"/>
                    </a:cubicBezTo>
                    <a:cubicBezTo>
                      <a:pt x="111" y="315"/>
                      <a:pt x="117" y="311"/>
                      <a:pt x="118" y="304"/>
                    </a:cubicBezTo>
                    <a:cubicBezTo>
                      <a:pt x="118" y="304"/>
                      <a:pt x="121" y="292"/>
                      <a:pt x="111" y="296"/>
                    </a:cubicBezTo>
                    <a:cubicBezTo>
                      <a:pt x="111" y="296"/>
                      <a:pt x="103" y="293"/>
                      <a:pt x="100" y="297"/>
                    </a:cubicBezTo>
                    <a:cubicBezTo>
                      <a:pt x="100" y="297"/>
                      <a:pt x="94" y="286"/>
                      <a:pt x="84" y="294"/>
                    </a:cubicBezTo>
                    <a:cubicBezTo>
                      <a:pt x="84" y="294"/>
                      <a:pt x="86" y="278"/>
                      <a:pt x="76" y="280"/>
                    </a:cubicBezTo>
                    <a:cubicBezTo>
                      <a:pt x="60" y="280"/>
                      <a:pt x="59" y="262"/>
                      <a:pt x="52" y="261"/>
                    </a:cubicBezTo>
                    <a:cubicBezTo>
                      <a:pt x="52" y="261"/>
                      <a:pt x="48" y="250"/>
                      <a:pt x="31" y="256"/>
                    </a:cubicBezTo>
                    <a:cubicBezTo>
                      <a:pt x="24" y="249"/>
                      <a:pt x="30" y="263"/>
                      <a:pt x="5" y="260"/>
                    </a:cubicBezTo>
                    <a:cubicBezTo>
                      <a:pt x="18" y="246"/>
                      <a:pt x="11" y="238"/>
                      <a:pt x="11" y="238"/>
                    </a:cubicBezTo>
                    <a:cubicBezTo>
                      <a:pt x="13" y="217"/>
                      <a:pt x="0" y="223"/>
                      <a:pt x="0" y="223"/>
                    </a:cubicBezTo>
                    <a:cubicBezTo>
                      <a:pt x="0" y="223"/>
                      <a:pt x="9" y="208"/>
                      <a:pt x="2" y="167"/>
                    </a:cubicBezTo>
                    <a:cubicBezTo>
                      <a:pt x="1" y="150"/>
                      <a:pt x="16" y="144"/>
                      <a:pt x="13" y="139"/>
                    </a:cubicBezTo>
                    <a:cubicBezTo>
                      <a:pt x="13" y="132"/>
                      <a:pt x="36" y="124"/>
                      <a:pt x="42" y="133"/>
                    </a:cubicBezTo>
                    <a:cubicBezTo>
                      <a:pt x="42" y="133"/>
                      <a:pt x="70" y="147"/>
                      <a:pt x="63" y="116"/>
                    </a:cubicBezTo>
                    <a:cubicBezTo>
                      <a:pt x="63" y="116"/>
                      <a:pt x="65" y="95"/>
                      <a:pt x="56" y="82"/>
                    </a:cubicBezTo>
                    <a:cubicBezTo>
                      <a:pt x="56" y="82"/>
                      <a:pt x="42" y="69"/>
                      <a:pt x="55" y="56"/>
                    </a:cubicBezTo>
                    <a:cubicBezTo>
                      <a:pt x="55" y="56"/>
                      <a:pt x="61" y="51"/>
                      <a:pt x="59" y="44"/>
                    </a:cubicBezTo>
                    <a:cubicBezTo>
                      <a:pt x="59" y="44"/>
                      <a:pt x="48" y="34"/>
                      <a:pt x="59" y="31"/>
                    </a:cubicBezTo>
                    <a:cubicBezTo>
                      <a:pt x="59" y="31"/>
                      <a:pt x="71" y="27"/>
                      <a:pt x="64" y="20"/>
                    </a:cubicBezTo>
                    <a:cubicBezTo>
                      <a:pt x="82" y="15"/>
                      <a:pt x="90" y="27"/>
                      <a:pt x="101" y="21"/>
                    </a:cubicBezTo>
                    <a:cubicBezTo>
                      <a:pt x="122" y="14"/>
                      <a:pt x="126" y="27"/>
                      <a:pt x="129" y="20"/>
                    </a:cubicBezTo>
                    <a:cubicBezTo>
                      <a:pt x="134" y="11"/>
                      <a:pt x="146" y="18"/>
                      <a:pt x="146" y="18"/>
                    </a:cubicBezTo>
                    <a:cubicBezTo>
                      <a:pt x="146" y="18"/>
                      <a:pt x="157" y="22"/>
                      <a:pt x="168" y="17"/>
                    </a:cubicBezTo>
                    <a:cubicBezTo>
                      <a:pt x="167" y="6"/>
                      <a:pt x="172" y="7"/>
                      <a:pt x="179" y="7"/>
                    </a:cubicBezTo>
                    <a:cubicBezTo>
                      <a:pt x="199" y="0"/>
                      <a:pt x="188" y="21"/>
                      <a:pt x="196" y="22"/>
                    </a:cubicBezTo>
                    <a:cubicBezTo>
                      <a:pt x="196" y="22"/>
                      <a:pt x="202" y="34"/>
                      <a:pt x="196" y="39"/>
                    </a:cubicBezTo>
                    <a:cubicBezTo>
                      <a:pt x="196" y="39"/>
                      <a:pt x="189" y="51"/>
                      <a:pt x="200" y="58"/>
                    </a:cubicBezTo>
                    <a:cubicBezTo>
                      <a:pt x="200" y="58"/>
                      <a:pt x="225" y="62"/>
                      <a:pt x="229" y="56"/>
                    </a:cubicBezTo>
                    <a:cubicBezTo>
                      <a:pt x="234" y="46"/>
                      <a:pt x="244" y="54"/>
                      <a:pt x="253" y="46"/>
                    </a:cubicBezTo>
                    <a:cubicBezTo>
                      <a:pt x="263" y="46"/>
                      <a:pt x="254" y="62"/>
                      <a:pt x="259" y="66"/>
                    </a:cubicBezTo>
                    <a:cubicBezTo>
                      <a:pt x="259" y="66"/>
                      <a:pt x="268" y="80"/>
                      <a:pt x="261" y="95"/>
                    </a:cubicBezTo>
                    <a:cubicBezTo>
                      <a:pt x="261" y="95"/>
                      <a:pt x="252" y="98"/>
                      <a:pt x="258" y="109"/>
                    </a:cubicBezTo>
                    <a:cubicBezTo>
                      <a:pt x="258" y="109"/>
                      <a:pt x="269" y="109"/>
                      <a:pt x="278" y="127"/>
                    </a:cubicBezTo>
                    <a:cubicBezTo>
                      <a:pt x="278" y="127"/>
                      <a:pt x="284" y="139"/>
                      <a:pt x="273" y="153"/>
                    </a:cubicBezTo>
                    <a:cubicBezTo>
                      <a:pt x="269" y="151"/>
                      <a:pt x="258" y="164"/>
                      <a:pt x="274" y="164"/>
                    </a:cubicBezTo>
                    <a:cubicBezTo>
                      <a:pt x="274" y="164"/>
                      <a:pt x="268" y="179"/>
                      <a:pt x="279" y="181"/>
                    </a:cubicBezTo>
                    <a:cubicBezTo>
                      <a:pt x="279" y="181"/>
                      <a:pt x="275" y="192"/>
                      <a:pt x="281" y="193"/>
                    </a:cubicBezTo>
                    <a:cubicBezTo>
                      <a:pt x="289" y="190"/>
                      <a:pt x="279" y="203"/>
                      <a:pt x="291" y="205"/>
                    </a:cubicBezTo>
                    <a:cubicBezTo>
                      <a:pt x="303" y="214"/>
                      <a:pt x="293" y="223"/>
                      <a:pt x="302" y="226"/>
                    </a:cubicBezTo>
                    <a:cubicBezTo>
                      <a:pt x="316" y="225"/>
                      <a:pt x="304" y="240"/>
                      <a:pt x="309" y="241"/>
                    </a:cubicBezTo>
                    <a:cubicBezTo>
                      <a:pt x="309" y="241"/>
                      <a:pt x="320" y="243"/>
                      <a:pt x="314" y="258"/>
                    </a:cubicBezTo>
                    <a:cubicBezTo>
                      <a:pt x="314" y="258"/>
                      <a:pt x="301" y="265"/>
                      <a:pt x="317" y="270"/>
                    </a:cubicBezTo>
                    <a:cubicBezTo>
                      <a:pt x="317" y="270"/>
                      <a:pt x="307" y="286"/>
                      <a:pt x="299" y="273"/>
                    </a:cubicBezTo>
                    <a:cubicBezTo>
                      <a:pt x="299" y="273"/>
                      <a:pt x="292" y="267"/>
                      <a:pt x="286" y="283"/>
                    </a:cubicBezTo>
                    <a:cubicBezTo>
                      <a:pt x="286" y="283"/>
                      <a:pt x="276" y="298"/>
                      <a:pt x="288" y="311"/>
                    </a:cubicBezTo>
                    <a:cubicBezTo>
                      <a:pt x="288" y="311"/>
                      <a:pt x="288" y="311"/>
                      <a:pt x="288" y="311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25" name="Freeform 50"/>
              <p:cNvSpPr>
                <a:spLocks/>
              </p:cNvSpPr>
              <p:nvPr/>
            </p:nvSpPr>
            <p:spPr bwMode="auto">
              <a:xfrm>
                <a:off x="2089319" y="2490011"/>
                <a:ext cx="843930" cy="968766"/>
              </a:xfrm>
              <a:custGeom>
                <a:avLst/>
                <a:gdLst>
                  <a:gd name="T0" fmla="*/ 2147483647 w 298"/>
                  <a:gd name="T1" fmla="*/ 2147483647 h 388"/>
                  <a:gd name="T2" fmla="*/ 2147483647 w 298"/>
                  <a:gd name="T3" fmla="*/ 2147483647 h 388"/>
                  <a:gd name="T4" fmla="*/ 2147483647 w 298"/>
                  <a:gd name="T5" fmla="*/ 2147483647 h 388"/>
                  <a:gd name="T6" fmla="*/ 2147483647 w 298"/>
                  <a:gd name="T7" fmla="*/ 2147483647 h 388"/>
                  <a:gd name="T8" fmla="*/ 2147483647 w 298"/>
                  <a:gd name="T9" fmla="*/ 2147483647 h 388"/>
                  <a:gd name="T10" fmla="*/ 2147483647 w 298"/>
                  <a:gd name="T11" fmla="*/ 2147483647 h 388"/>
                  <a:gd name="T12" fmla="*/ 2147483647 w 298"/>
                  <a:gd name="T13" fmla="*/ 2147483647 h 388"/>
                  <a:gd name="T14" fmla="*/ 2147483647 w 298"/>
                  <a:gd name="T15" fmla="*/ 2147483647 h 388"/>
                  <a:gd name="T16" fmla="*/ 2147483647 w 298"/>
                  <a:gd name="T17" fmla="*/ 2147483647 h 388"/>
                  <a:gd name="T18" fmla="*/ 2147483647 w 298"/>
                  <a:gd name="T19" fmla="*/ 2147483647 h 388"/>
                  <a:gd name="T20" fmla="*/ 2147483647 w 298"/>
                  <a:gd name="T21" fmla="*/ 2147483647 h 388"/>
                  <a:gd name="T22" fmla="*/ 2147483647 w 298"/>
                  <a:gd name="T23" fmla="*/ 2147483647 h 388"/>
                  <a:gd name="T24" fmla="*/ 2147483647 w 298"/>
                  <a:gd name="T25" fmla="*/ 2147483647 h 388"/>
                  <a:gd name="T26" fmla="*/ 2147483647 w 298"/>
                  <a:gd name="T27" fmla="*/ 2147483647 h 388"/>
                  <a:gd name="T28" fmla="*/ 2147483647 w 298"/>
                  <a:gd name="T29" fmla="*/ 2147483647 h 388"/>
                  <a:gd name="T30" fmla="*/ 2147483647 w 298"/>
                  <a:gd name="T31" fmla="*/ 2147483647 h 388"/>
                  <a:gd name="T32" fmla="*/ 2147483647 w 298"/>
                  <a:gd name="T33" fmla="*/ 2147483647 h 388"/>
                  <a:gd name="T34" fmla="*/ 2147483647 w 298"/>
                  <a:gd name="T35" fmla="*/ 2147483647 h 388"/>
                  <a:gd name="T36" fmla="*/ 2147483647 w 298"/>
                  <a:gd name="T37" fmla="*/ 2147483647 h 388"/>
                  <a:gd name="T38" fmla="*/ 2147483647 w 298"/>
                  <a:gd name="T39" fmla="*/ 2147483647 h 388"/>
                  <a:gd name="T40" fmla="*/ 2147483647 w 298"/>
                  <a:gd name="T41" fmla="*/ 2147483647 h 388"/>
                  <a:gd name="T42" fmla="*/ 2147483647 w 298"/>
                  <a:gd name="T43" fmla="*/ 2147483647 h 388"/>
                  <a:gd name="T44" fmla="*/ 2147483647 w 298"/>
                  <a:gd name="T45" fmla="*/ 2147483647 h 388"/>
                  <a:gd name="T46" fmla="*/ 2147483647 w 298"/>
                  <a:gd name="T47" fmla="*/ 2147483647 h 388"/>
                  <a:gd name="T48" fmla="*/ 2147483647 w 298"/>
                  <a:gd name="T49" fmla="*/ 2147483647 h 388"/>
                  <a:gd name="T50" fmla="*/ 2147483647 w 298"/>
                  <a:gd name="T51" fmla="*/ 2147483647 h 388"/>
                  <a:gd name="T52" fmla="*/ 2147483647 w 298"/>
                  <a:gd name="T53" fmla="*/ 2147483647 h 388"/>
                  <a:gd name="T54" fmla="*/ 2147483647 w 298"/>
                  <a:gd name="T55" fmla="*/ 2147483647 h 388"/>
                  <a:gd name="T56" fmla="*/ 2147483647 w 298"/>
                  <a:gd name="T57" fmla="*/ 2147483647 h 388"/>
                  <a:gd name="T58" fmla="*/ 2147483647 w 298"/>
                  <a:gd name="T59" fmla="*/ 2147483647 h 388"/>
                  <a:gd name="T60" fmla="*/ 2147483647 w 298"/>
                  <a:gd name="T61" fmla="*/ 2147483647 h 388"/>
                  <a:gd name="T62" fmla="*/ 2147483647 w 298"/>
                  <a:gd name="T63" fmla="*/ 2147483647 h 388"/>
                  <a:gd name="T64" fmla="*/ 2147483647 w 298"/>
                  <a:gd name="T65" fmla="*/ 2147483647 h 388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98"/>
                  <a:gd name="T100" fmla="*/ 0 h 388"/>
                  <a:gd name="T101" fmla="*/ 298 w 298"/>
                  <a:gd name="T102" fmla="*/ 388 h 388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98" h="388">
                    <a:moveTo>
                      <a:pt x="72" y="32"/>
                    </a:moveTo>
                    <a:cubicBezTo>
                      <a:pt x="72" y="32"/>
                      <a:pt x="85" y="40"/>
                      <a:pt x="85" y="18"/>
                    </a:cubicBezTo>
                    <a:cubicBezTo>
                      <a:pt x="85" y="18"/>
                      <a:pt x="88" y="0"/>
                      <a:pt x="99" y="14"/>
                    </a:cubicBezTo>
                    <a:cubicBezTo>
                      <a:pt x="99" y="14"/>
                      <a:pt x="110" y="27"/>
                      <a:pt x="125" y="13"/>
                    </a:cubicBezTo>
                    <a:cubicBezTo>
                      <a:pt x="125" y="13"/>
                      <a:pt x="124" y="7"/>
                      <a:pt x="137" y="1"/>
                    </a:cubicBezTo>
                    <a:cubicBezTo>
                      <a:pt x="142" y="5"/>
                      <a:pt x="135" y="16"/>
                      <a:pt x="143" y="19"/>
                    </a:cubicBezTo>
                    <a:cubicBezTo>
                      <a:pt x="143" y="19"/>
                      <a:pt x="143" y="29"/>
                      <a:pt x="153" y="23"/>
                    </a:cubicBezTo>
                    <a:cubicBezTo>
                      <a:pt x="153" y="23"/>
                      <a:pt x="157" y="14"/>
                      <a:pt x="169" y="21"/>
                    </a:cubicBezTo>
                    <a:cubicBezTo>
                      <a:pt x="169" y="21"/>
                      <a:pt x="178" y="20"/>
                      <a:pt x="177" y="31"/>
                    </a:cubicBezTo>
                    <a:cubicBezTo>
                      <a:pt x="177" y="31"/>
                      <a:pt x="173" y="43"/>
                      <a:pt x="191" y="50"/>
                    </a:cubicBezTo>
                    <a:cubicBezTo>
                      <a:pt x="191" y="50"/>
                      <a:pt x="191" y="21"/>
                      <a:pt x="216" y="21"/>
                    </a:cubicBezTo>
                    <a:cubicBezTo>
                      <a:pt x="216" y="21"/>
                      <a:pt x="229" y="4"/>
                      <a:pt x="236" y="14"/>
                    </a:cubicBezTo>
                    <a:cubicBezTo>
                      <a:pt x="236" y="14"/>
                      <a:pt x="246" y="24"/>
                      <a:pt x="246" y="36"/>
                    </a:cubicBezTo>
                    <a:cubicBezTo>
                      <a:pt x="246" y="36"/>
                      <a:pt x="247" y="56"/>
                      <a:pt x="257" y="59"/>
                    </a:cubicBezTo>
                    <a:cubicBezTo>
                      <a:pt x="257" y="59"/>
                      <a:pt x="270" y="80"/>
                      <a:pt x="246" y="86"/>
                    </a:cubicBezTo>
                    <a:cubicBezTo>
                      <a:pt x="246" y="86"/>
                      <a:pt x="246" y="86"/>
                      <a:pt x="246" y="86"/>
                    </a:cubicBezTo>
                    <a:cubicBezTo>
                      <a:pt x="247" y="106"/>
                      <a:pt x="247" y="106"/>
                      <a:pt x="247" y="106"/>
                    </a:cubicBezTo>
                    <a:cubicBezTo>
                      <a:pt x="247" y="106"/>
                      <a:pt x="247" y="106"/>
                      <a:pt x="247" y="106"/>
                    </a:cubicBezTo>
                    <a:cubicBezTo>
                      <a:pt x="247" y="106"/>
                      <a:pt x="260" y="100"/>
                      <a:pt x="268" y="119"/>
                    </a:cubicBezTo>
                    <a:cubicBezTo>
                      <a:pt x="267" y="134"/>
                      <a:pt x="257" y="135"/>
                      <a:pt x="260" y="139"/>
                    </a:cubicBezTo>
                    <a:cubicBezTo>
                      <a:pt x="260" y="139"/>
                      <a:pt x="273" y="147"/>
                      <a:pt x="271" y="170"/>
                    </a:cubicBezTo>
                    <a:cubicBezTo>
                      <a:pt x="271" y="170"/>
                      <a:pt x="284" y="175"/>
                      <a:pt x="272" y="193"/>
                    </a:cubicBezTo>
                    <a:cubicBezTo>
                      <a:pt x="272" y="193"/>
                      <a:pt x="265" y="197"/>
                      <a:pt x="268" y="218"/>
                    </a:cubicBezTo>
                    <a:cubicBezTo>
                      <a:pt x="267" y="230"/>
                      <a:pt x="256" y="231"/>
                      <a:pt x="271" y="237"/>
                    </a:cubicBezTo>
                    <a:cubicBezTo>
                      <a:pt x="271" y="237"/>
                      <a:pt x="280" y="237"/>
                      <a:pt x="280" y="254"/>
                    </a:cubicBezTo>
                    <a:cubicBezTo>
                      <a:pt x="280" y="254"/>
                      <a:pt x="292" y="257"/>
                      <a:pt x="290" y="278"/>
                    </a:cubicBezTo>
                    <a:cubicBezTo>
                      <a:pt x="290" y="278"/>
                      <a:pt x="298" y="287"/>
                      <a:pt x="288" y="294"/>
                    </a:cubicBezTo>
                    <a:cubicBezTo>
                      <a:pt x="288" y="294"/>
                      <a:pt x="283" y="311"/>
                      <a:pt x="293" y="318"/>
                    </a:cubicBezTo>
                    <a:cubicBezTo>
                      <a:pt x="293" y="318"/>
                      <a:pt x="298" y="324"/>
                      <a:pt x="278" y="337"/>
                    </a:cubicBezTo>
                    <a:cubicBezTo>
                      <a:pt x="278" y="337"/>
                      <a:pt x="271" y="345"/>
                      <a:pt x="260" y="346"/>
                    </a:cubicBezTo>
                    <a:cubicBezTo>
                      <a:pt x="260" y="346"/>
                      <a:pt x="257" y="352"/>
                      <a:pt x="260" y="360"/>
                    </a:cubicBezTo>
                    <a:cubicBezTo>
                      <a:pt x="260" y="360"/>
                      <a:pt x="266" y="365"/>
                      <a:pt x="263" y="372"/>
                    </a:cubicBezTo>
                    <a:cubicBezTo>
                      <a:pt x="255" y="380"/>
                      <a:pt x="243" y="372"/>
                      <a:pt x="238" y="382"/>
                    </a:cubicBezTo>
                    <a:cubicBezTo>
                      <a:pt x="234" y="388"/>
                      <a:pt x="209" y="385"/>
                      <a:pt x="209" y="385"/>
                    </a:cubicBezTo>
                    <a:cubicBezTo>
                      <a:pt x="198" y="377"/>
                      <a:pt x="205" y="365"/>
                      <a:pt x="205" y="365"/>
                    </a:cubicBezTo>
                    <a:cubicBezTo>
                      <a:pt x="211" y="360"/>
                      <a:pt x="205" y="348"/>
                      <a:pt x="205" y="348"/>
                    </a:cubicBezTo>
                    <a:cubicBezTo>
                      <a:pt x="197" y="347"/>
                      <a:pt x="208" y="326"/>
                      <a:pt x="188" y="333"/>
                    </a:cubicBezTo>
                    <a:cubicBezTo>
                      <a:pt x="181" y="333"/>
                      <a:pt x="176" y="332"/>
                      <a:pt x="177" y="343"/>
                    </a:cubicBezTo>
                    <a:cubicBezTo>
                      <a:pt x="166" y="348"/>
                      <a:pt x="155" y="344"/>
                      <a:pt x="155" y="344"/>
                    </a:cubicBezTo>
                    <a:cubicBezTo>
                      <a:pt x="155" y="344"/>
                      <a:pt x="143" y="337"/>
                      <a:pt x="138" y="346"/>
                    </a:cubicBezTo>
                    <a:cubicBezTo>
                      <a:pt x="135" y="353"/>
                      <a:pt x="131" y="340"/>
                      <a:pt x="110" y="347"/>
                    </a:cubicBezTo>
                    <a:cubicBezTo>
                      <a:pt x="99" y="353"/>
                      <a:pt x="91" y="341"/>
                      <a:pt x="73" y="346"/>
                    </a:cubicBezTo>
                    <a:cubicBezTo>
                      <a:pt x="68" y="340"/>
                      <a:pt x="52" y="340"/>
                      <a:pt x="52" y="340"/>
                    </a:cubicBezTo>
                    <a:cubicBezTo>
                      <a:pt x="40" y="329"/>
                      <a:pt x="40" y="319"/>
                      <a:pt x="40" y="319"/>
                    </a:cubicBezTo>
                    <a:cubicBezTo>
                      <a:pt x="37" y="301"/>
                      <a:pt x="47" y="302"/>
                      <a:pt x="47" y="302"/>
                    </a:cubicBezTo>
                    <a:cubicBezTo>
                      <a:pt x="59" y="296"/>
                      <a:pt x="44" y="293"/>
                      <a:pt x="51" y="282"/>
                    </a:cubicBezTo>
                    <a:cubicBezTo>
                      <a:pt x="51" y="263"/>
                      <a:pt x="47" y="259"/>
                      <a:pt x="47" y="259"/>
                    </a:cubicBezTo>
                    <a:cubicBezTo>
                      <a:pt x="40" y="269"/>
                      <a:pt x="30" y="254"/>
                      <a:pt x="30" y="254"/>
                    </a:cubicBezTo>
                    <a:cubicBezTo>
                      <a:pt x="25" y="254"/>
                      <a:pt x="25" y="246"/>
                      <a:pt x="15" y="236"/>
                    </a:cubicBezTo>
                    <a:cubicBezTo>
                      <a:pt x="3" y="229"/>
                      <a:pt x="11" y="223"/>
                      <a:pt x="11" y="223"/>
                    </a:cubicBezTo>
                    <a:cubicBezTo>
                      <a:pt x="18" y="210"/>
                      <a:pt x="7" y="212"/>
                      <a:pt x="7" y="202"/>
                    </a:cubicBezTo>
                    <a:cubicBezTo>
                      <a:pt x="14" y="202"/>
                      <a:pt x="8" y="194"/>
                      <a:pt x="8" y="194"/>
                    </a:cubicBezTo>
                    <a:cubicBezTo>
                      <a:pt x="0" y="183"/>
                      <a:pt x="11" y="179"/>
                      <a:pt x="11" y="179"/>
                    </a:cubicBezTo>
                    <a:cubicBezTo>
                      <a:pt x="17" y="167"/>
                      <a:pt x="11" y="161"/>
                      <a:pt x="11" y="161"/>
                    </a:cubicBezTo>
                    <a:cubicBezTo>
                      <a:pt x="7" y="153"/>
                      <a:pt x="15" y="152"/>
                      <a:pt x="11" y="141"/>
                    </a:cubicBezTo>
                    <a:cubicBezTo>
                      <a:pt x="13" y="127"/>
                      <a:pt x="4" y="117"/>
                      <a:pt x="14" y="115"/>
                    </a:cubicBezTo>
                    <a:cubicBezTo>
                      <a:pt x="23" y="113"/>
                      <a:pt x="27" y="102"/>
                      <a:pt x="27" y="102"/>
                    </a:cubicBezTo>
                    <a:cubicBezTo>
                      <a:pt x="27" y="102"/>
                      <a:pt x="27" y="102"/>
                      <a:pt x="27" y="102"/>
                    </a:cubicBezTo>
                    <a:cubicBezTo>
                      <a:pt x="35" y="85"/>
                      <a:pt x="35" y="85"/>
                      <a:pt x="35" y="85"/>
                    </a:cubicBezTo>
                    <a:cubicBezTo>
                      <a:pt x="35" y="85"/>
                      <a:pt x="35" y="85"/>
                      <a:pt x="35" y="85"/>
                    </a:cubicBezTo>
                    <a:cubicBezTo>
                      <a:pt x="44" y="85"/>
                      <a:pt x="41" y="66"/>
                      <a:pt x="41" y="66"/>
                    </a:cubicBezTo>
                    <a:cubicBezTo>
                      <a:pt x="53" y="59"/>
                      <a:pt x="45" y="56"/>
                      <a:pt x="45" y="56"/>
                    </a:cubicBezTo>
                    <a:cubicBezTo>
                      <a:pt x="40" y="45"/>
                      <a:pt x="47" y="41"/>
                      <a:pt x="47" y="41"/>
                    </a:cubicBezTo>
                    <a:cubicBezTo>
                      <a:pt x="48" y="48"/>
                      <a:pt x="47" y="50"/>
                      <a:pt x="57" y="53"/>
                    </a:cubicBezTo>
                    <a:cubicBezTo>
                      <a:pt x="54" y="42"/>
                      <a:pt x="61" y="35"/>
                      <a:pt x="61" y="35"/>
                    </a:cubicBezTo>
                    <a:cubicBezTo>
                      <a:pt x="66" y="27"/>
                      <a:pt x="72" y="32"/>
                      <a:pt x="72" y="32"/>
                    </a:cubicBezTo>
                    <a:cubicBezTo>
                      <a:pt x="72" y="32"/>
                      <a:pt x="72" y="32"/>
                      <a:pt x="72" y="32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26" name="Freeform 49"/>
              <p:cNvSpPr>
                <a:spLocks/>
              </p:cNvSpPr>
              <p:nvPr/>
            </p:nvSpPr>
            <p:spPr bwMode="auto">
              <a:xfrm>
                <a:off x="2785727" y="2556009"/>
                <a:ext cx="925000" cy="1085442"/>
              </a:xfrm>
              <a:custGeom>
                <a:avLst/>
                <a:gdLst>
                  <a:gd name="T0" fmla="*/ 2147483647 w 327"/>
                  <a:gd name="T1" fmla="*/ 2147483647 h 434"/>
                  <a:gd name="T2" fmla="*/ 2147483647 w 327"/>
                  <a:gd name="T3" fmla="*/ 2147483647 h 434"/>
                  <a:gd name="T4" fmla="*/ 2147483647 w 327"/>
                  <a:gd name="T5" fmla="*/ 2147483647 h 434"/>
                  <a:gd name="T6" fmla="*/ 2147483647 w 327"/>
                  <a:gd name="T7" fmla="*/ 2147483647 h 434"/>
                  <a:gd name="T8" fmla="*/ 2147483647 w 327"/>
                  <a:gd name="T9" fmla="*/ 2147483647 h 434"/>
                  <a:gd name="T10" fmla="*/ 2147483647 w 327"/>
                  <a:gd name="T11" fmla="*/ 2147483647 h 434"/>
                  <a:gd name="T12" fmla="*/ 2147483647 w 327"/>
                  <a:gd name="T13" fmla="*/ 2147483647 h 434"/>
                  <a:gd name="T14" fmla="*/ 2147483647 w 327"/>
                  <a:gd name="T15" fmla="*/ 2147483647 h 434"/>
                  <a:gd name="T16" fmla="*/ 0 w 327"/>
                  <a:gd name="T17" fmla="*/ 2147483647 h 434"/>
                  <a:gd name="T18" fmla="*/ 2147483647 w 327"/>
                  <a:gd name="T19" fmla="*/ 2147483647 h 434"/>
                  <a:gd name="T20" fmla="*/ 2147483647 w 327"/>
                  <a:gd name="T21" fmla="*/ 2147483647 h 434"/>
                  <a:gd name="T22" fmla="*/ 2147483647 w 327"/>
                  <a:gd name="T23" fmla="*/ 2147483647 h 434"/>
                  <a:gd name="T24" fmla="*/ 2147483647 w 327"/>
                  <a:gd name="T25" fmla="*/ 2147483647 h 434"/>
                  <a:gd name="T26" fmla="*/ 2147483647 w 327"/>
                  <a:gd name="T27" fmla="*/ 2147483647 h 434"/>
                  <a:gd name="T28" fmla="*/ 2147483647 w 327"/>
                  <a:gd name="T29" fmla="*/ 2147483647 h 434"/>
                  <a:gd name="T30" fmla="*/ 2147483647 w 327"/>
                  <a:gd name="T31" fmla="*/ 2147483647 h 434"/>
                  <a:gd name="T32" fmla="*/ 2147483647 w 327"/>
                  <a:gd name="T33" fmla="*/ 2147483647 h 434"/>
                  <a:gd name="T34" fmla="*/ 2147483647 w 327"/>
                  <a:gd name="T35" fmla="*/ 2147483647 h 434"/>
                  <a:gd name="T36" fmla="*/ 2147483647 w 327"/>
                  <a:gd name="T37" fmla="*/ 2147483647 h 434"/>
                  <a:gd name="T38" fmla="*/ 2147483647 w 327"/>
                  <a:gd name="T39" fmla="*/ 2147483647 h 434"/>
                  <a:gd name="T40" fmla="*/ 2147483647 w 327"/>
                  <a:gd name="T41" fmla="*/ 2147483647 h 434"/>
                  <a:gd name="T42" fmla="*/ 2147483647 w 327"/>
                  <a:gd name="T43" fmla="*/ 2147483647 h 434"/>
                  <a:gd name="T44" fmla="*/ 2147483647 w 327"/>
                  <a:gd name="T45" fmla="*/ 2147483647 h 434"/>
                  <a:gd name="T46" fmla="*/ 2147483647 w 327"/>
                  <a:gd name="T47" fmla="*/ 2147483647 h 434"/>
                  <a:gd name="T48" fmla="*/ 2147483647 w 327"/>
                  <a:gd name="T49" fmla="*/ 2147483647 h 434"/>
                  <a:gd name="T50" fmla="*/ 2147483647 w 327"/>
                  <a:gd name="T51" fmla="*/ 2147483647 h 434"/>
                  <a:gd name="T52" fmla="*/ 2147483647 w 327"/>
                  <a:gd name="T53" fmla="*/ 2147483647 h 434"/>
                  <a:gd name="T54" fmla="*/ 2147483647 w 327"/>
                  <a:gd name="T55" fmla="*/ 2147483647 h 434"/>
                  <a:gd name="T56" fmla="*/ 2147483647 w 327"/>
                  <a:gd name="T57" fmla="*/ 2147483647 h 434"/>
                  <a:gd name="T58" fmla="*/ 2147483647 w 327"/>
                  <a:gd name="T59" fmla="*/ 2147483647 h 434"/>
                  <a:gd name="T60" fmla="*/ 2147483647 w 327"/>
                  <a:gd name="T61" fmla="*/ 2147483647 h 434"/>
                  <a:gd name="T62" fmla="*/ 2147483647 w 327"/>
                  <a:gd name="T63" fmla="*/ 2147483647 h 434"/>
                  <a:gd name="T64" fmla="*/ 2147483647 w 327"/>
                  <a:gd name="T65" fmla="*/ 2147483647 h 434"/>
                  <a:gd name="T66" fmla="*/ 2147483647 w 327"/>
                  <a:gd name="T67" fmla="*/ 2147483647 h 434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327"/>
                  <a:gd name="T103" fmla="*/ 0 h 434"/>
                  <a:gd name="T104" fmla="*/ 327 w 327"/>
                  <a:gd name="T105" fmla="*/ 434 h 434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327" h="434">
                    <a:moveTo>
                      <a:pt x="17" y="346"/>
                    </a:moveTo>
                    <a:cubicBezTo>
                      <a:pt x="20" y="339"/>
                      <a:pt x="14" y="333"/>
                      <a:pt x="14" y="333"/>
                    </a:cubicBezTo>
                    <a:cubicBezTo>
                      <a:pt x="11" y="325"/>
                      <a:pt x="14" y="319"/>
                      <a:pt x="14" y="319"/>
                    </a:cubicBezTo>
                    <a:cubicBezTo>
                      <a:pt x="25" y="318"/>
                      <a:pt x="32" y="310"/>
                      <a:pt x="32" y="310"/>
                    </a:cubicBezTo>
                    <a:cubicBezTo>
                      <a:pt x="52" y="297"/>
                      <a:pt x="47" y="291"/>
                      <a:pt x="47" y="291"/>
                    </a:cubicBezTo>
                    <a:cubicBezTo>
                      <a:pt x="37" y="284"/>
                      <a:pt x="42" y="267"/>
                      <a:pt x="42" y="267"/>
                    </a:cubicBezTo>
                    <a:cubicBezTo>
                      <a:pt x="52" y="260"/>
                      <a:pt x="44" y="251"/>
                      <a:pt x="44" y="251"/>
                    </a:cubicBezTo>
                    <a:cubicBezTo>
                      <a:pt x="46" y="230"/>
                      <a:pt x="34" y="227"/>
                      <a:pt x="34" y="227"/>
                    </a:cubicBezTo>
                    <a:cubicBezTo>
                      <a:pt x="34" y="210"/>
                      <a:pt x="25" y="210"/>
                      <a:pt x="25" y="210"/>
                    </a:cubicBezTo>
                    <a:cubicBezTo>
                      <a:pt x="10" y="204"/>
                      <a:pt x="21" y="203"/>
                      <a:pt x="22" y="191"/>
                    </a:cubicBezTo>
                    <a:cubicBezTo>
                      <a:pt x="19" y="170"/>
                      <a:pt x="26" y="166"/>
                      <a:pt x="26" y="166"/>
                    </a:cubicBezTo>
                    <a:cubicBezTo>
                      <a:pt x="38" y="148"/>
                      <a:pt x="25" y="143"/>
                      <a:pt x="25" y="143"/>
                    </a:cubicBezTo>
                    <a:cubicBezTo>
                      <a:pt x="27" y="120"/>
                      <a:pt x="14" y="112"/>
                      <a:pt x="14" y="112"/>
                    </a:cubicBezTo>
                    <a:cubicBezTo>
                      <a:pt x="11" y="108"/>
                      <a:pt x="21" y="107"/>
                      <a:pt x="22" y="92"/>
                    </a:cubicBezTo>
                    <a:cubicBezTo>
                      <a:pt x="14" y="73"/>
                      <a:pt x="1" y="79"/>
                      <a:pt x="1" y="79"/>
                    </a:cubicBezTo>
                    <a:cubicBezTo>
                      <a:pt x="1" y="79"/>
                      <a:pt x="1" y="79"/>
                      <a:pt x="1" y="79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24" y="53"/>
                      <a:pt x="11" y="32"/>
                      <a:pt x="11" y="32"/>
                    </a:cubicBezTo>
                    <a:cubicBezTo>
                      <a:pt x="26" y="28"/>
                      <a:pt x="31" y="17"/>
                      <a:pt x="39" y="18"/>
                    </a:cubicBezTo>
                    <a:cubicBezTo>
                      <a:pt x="39" y="18"/>
                      <a:pt x="45" y="0"/>
                      <a:pt x="56" y="16"/>
                    </a:cubicBezTo>
                    <a:cubicBezTo>
                      <a:pt x="56" y="16"/>
                      <a:pt x="60" y="27"/>
                      <a:pt x="72" y="18"/>
                    </a:cubicBezTo>
                    <a:cubicBezTo>
                      <a:pt x="72" y="18"/>
                      <a:pt x="80" y="11"/>
                      <a:pt x="93" y="13"/>
                    </a:cubicBezTo>
                    <a:cubicBezTo>
                      <a:pt x="93" y="13"/>
                      <a:pt x="109" y="11"/>
                      <a:pt x="115" y="21"/>
                    </a:cubicBezTo>
                    <a:cubicBezTo>
                      <a:pt x="115" y="21"/>
                      <a:pt x="127" y="30"/>
                      <a:pt x="124" y="38"/>
                    </a:cubicBezTo>
                    <a:cubicBezTo>
                      <a:pt x="124" y="38"/>
                      <a:pt x="127" y="49"/>
                      <a:pt x="146" y="53"/>
                    </a:cubicBezTo>
                    <a:cubicBezTo>
                      <a:pt x="146" y="53"/>
                      <a:pt x="146" y="53"/>
                      <a:pt x="146" y="53"/>
                    </a:cubicBezTo>
                    <a:cubicBezTo>
                      <a:pt x="145" y="83"/>
                      <a:pt x="145" y="83"/>
                      <a:pt x="145" y="83"/>
                    </a:cubicBezTo>
                    <a:cubicBezTo>
                      <a:pt x="144" y="104"/>
                      <a:pt x="144" y="104"/>
                      <a:pt x="144" y="104"/>
                    </a:cubicBezTo>
                    <a:cubicBezTo>
                      <a:pt x="144" y="104"/>
                      <a:pt x="144" y="104"/>
                      <a:pt x="144" y="104"/>
                    </a:cubicBezTo>
                    <a:cubicBezTo>
                      <a:pt x="144" y="104"/>
                      <a:pt x="158" y="102"/>
                      <a:pt x="156" y="114"/>
                    </a:cubicBezTo>
                    <a:cubicBezTo>
                      <a:pt x="156" y="114"/>
                      <a:pt x="153" y="127"/>
                      <a:pt x="164" y="127"/>
                    </a:cubicBezTo>
                    <a:cubicBezTo>
                      <a:pt x="164" y="127"/>
                      <a:pt x="175" y="131"/>
                      <a:pt x="168" y="141"/>
                    </a:cubicBezTo>
                    <a:cubicBezTo>
                      <a:pt x="168" y="141"/>
                      <a:pt x="162" y="152"/>
                      <a:pt x="190" y="148"/>
                    </a:cubicBezTo>
                    <a:cubicBezTo>
                      <a:pt x="190" y="148"/>
                      <a:pt x="204" y="143"/>
                      <a:pt x="212" y="158"/>
                    </a:cubicBezTo>
                    <a:cubicBezTo>
                      <a:pt x="212" y="158"/>
                      <a:pt x="217" y="165"/>
                      <a:pt x="217" y="171"/>
                    </a:cubicBezTo>
                    <a:cubicBezTo>
                      <a:pt x="217" y="171"/>
                      <a:pt x="215" y="184"/>
                      <a:pt x="225" y="188"/>
                    </a:cubicBezTo>
                    <a:cubicBezTo>
                      <a:pt x="225" y="188"/>
                      <a:pt x="239" y="200"/>
                      <a:pt x="270" y="189"/>
                    </a:cubicBezTo>
                    <a:cubicBezTo>
                      <a:pt x="275" y="181"/>
                      <a:pt x="285" y="186"/>
                      <a:pt x="285" y="181"/>
                    </a:cubicBezTo>
                    <a:cubicBezTo>
                      <a:pt x="285" y="181"/>
                      <a:pt x="288" y="163"/>
                      <a:pt x="300" y="180"/>
                    </a:cubicBezTo>
                    <a:cubicBezTo>
                      <a:pt x="300" y="180"/>
                      <a:pt x="303" y="189"/>
                      <a:pt x="315" y="187"/>
                    </a:cubicBezTo>
                    <a:cubicBezTo>
                      <a:pt x="315" y="187"/>
                      <a:pt x="298" y="196"/>
                      <a:pt x="314" y="210"/>
                    </a:cubicBezTo>
                    <a:cubicBezTo>
                      <a:pt x="325" y="206"/>
                      <a:pt x="317" y="218"/>
                      <a:pt x="325" y="220"/>
                    </a:cubicBezTo>
                    <a:cubicBezTo>
                      <a:pt x="327" y="233"/>
                      <a:pt x="322" y="240"/>
                      <a:pt x="322" y="240"/>
                    </a:cubicBezTo>
                    <a:cubicBezTo>
                      <a:pt x="322" y="240"/>
                      <a:pt x="303" y="244"/>
                      <a:pt x="305" y="256"/>
                    </a:cubicBezTo>
                    <a:cubicBezTo>
                      <a:pt x="308" y="261"/>
                      <a:pt x="295" y="261"/>
                      <a:pt x="294" y="269"/>
                    </a:cubicBezTo>
                    <a:cubicBezTo>
                      <a:pt x="294" y="269"/>
                      <a:pt x="300" y="282"/>
                      <a:pt x="289" y="285"/>
                    </a:cubicBezTo>
                    <a:cubicBezTo>
                      <a:pt x="289" y="285"/>
                      <a:pt x="287" y="313"/>
                      <a:pt x="272" y="311"/>
                    </a:cubicBezTo>
                    <a:cubicBezTo>
                      <a:pt x="272" y="311"/>
                      <a:pt x="255" y="315"/>
                      <a:pt x="248" y="308"/>
                    </a:cubicBezTo>
                    <a:cubicBezTo>
                      <a:pt x="248" y="308"/>
                      <a:pt x="238" y="297"/>
                      <a:pt x="230" y="309"/>
                    </a:cubicBezTo>
                    <a:cubicBezTo>
                      <a:pt x="230" y="309"/>
                      <a:pt x="215" y="302"/>
                      <a:pt x="215" y="329"/>
                    </a:cubicBezTo>
                    <a:cubicBezTo>
                      <a:pt x="215" y="329"/>
                      <a:pt x="216" y="345"/>
                      <a:pt x="209" y="357"/>
                    </a:cubicBezTo>
                    <a:cubicBezTo>
                      <a:pt x="209" y="357"/>
                      <a:pt x="208" y="365"/>
                      <a:pt x="208" y="374"/>
                    </a:cubicBezTo>
                    <a:cubicBezTo>
                      <a:pt x="208" y="374"/>
                      <a:pt x="191" y="383"/>
                      <a:pt x="190" y="392"/>
                    </a:cubicBezTo>
                    <a:cubicBezTo>
                      <a:pt x="190" y="392"/>
                      <a:pt x="188" y="405"/>
                      <a:pt x="165" y="406"/>
                    </a:cubicBezTo>
                    <a:cubicBezTo>
                      <a:pt x="165" y="406"/>
                      <a:pt x="158" y="397"/>
                      <a:pt x="135" y="406"/>
                    </a:cubicBezTo>
                    <a:cubicBezTo>
                      <a:pt x="135" y="406"/>
                      <a:pt x="125" y="394"/>
                      <a:pt x="125" y="412"/>
                    </a:cubicBezTo>
                    <a:cubicBezTo>
                      <a:pt x="125" y="412"/>
                      <a:pt x="127" y="427"/>
                      <a:pt x="120" y="422"/>
                    </a:cubicBezTo>
                    <a:cubicBezTo>
                      <a:pt x="120" y="422"/>
                      <a:pt x="114" y="416"/>
                      <a:pt x="103" y="416"/>
                    </a:cubicBezTo>
                    <a:cubicBezTo>
                      <a:pt x="103" y="416"/>
                      <a:pt x="94" y="401"/>
                      <a:pt x="89" y="416"/>
                    </a:cubicBezTo>
                    <a:cubicBezTo>
                      <a:pt x="89" y="416"/>
                      <a:pt x="72" y="415"/>
                      <a:pt x="68" y="424"/>
                    </a:cubicBezTo>
                    <a:cubicBezTo>
                      <a:pt x="68" y="424"/>
                      <a:pt x="61" y="434"/>
                      <a:pt x="52" y="432"/>
                    </a:cubicBezTo>
                    <a:cubicBezTo>
                      <a:pt x="45" y="434"/>
                      <a:pt x="51" y="420"/>
                      <a:pt x="40" y="425"/>
                    </a:cubicBezTo>
                    <a:cubicBezTo>
                      <a:pt x="31" y="407"/>
                      <a:pt x="21" y="408"/>
                      <a:pt x="21" y="408"/>
                    </a:cubicBezTo>
                    <a:cubicBezTo>
                      <a:pt x="15" y="397"/>
                      <a:pt x="24" y="394"/>
                      <a:pt x="24" y="394"/>
                    </a:cubicBezTo>
                    <a:cubicBezTo>
                      <a:pt x="31" y="379"/>
                      <a:pt x="22" y="365"/>
                      <a:pt x="22" y="365"/>
                    </a:cubicBezTo>
                    <a:cubicBezTo>
                      <a:pt x="17" y="361"/>
                      <a:pt x="27" y="346"/>
                      <a:pt x="17" y="346"/>
                    </a:cubicBezTo>
                    <a:cubicBezTo>
                      <a:pt x="17" y="346"/>
                      <a:pt x="17" y="346"/>
                      <a:pt x="17" y="346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27" name="Freeform 48"/>
              <p:cNvSpPr>
                <a:spLocks/>
              </p:cNvSpPr>
              <p:nvPr/>
            </p:nvSpPr>
            <p:spPr bwMode="auto">
              <a:xfrm>
                <a:off x="3179119" y="2170624"/>
                <a:ext cx="938291" cy="953445"/>
              </a:xfrm>
              <a:custGeom>
                <a:avLst/>
                <a:gdLst>
                  <a:gd name="T0" fmla="*/ 2147483647 w 331"/>
                  <a:gd name="T1" fmla="*/ 2147483647 h 381"/>
                  <a:gd name="T2" fmla="*/ 2147483647 w 331"/>
                  <a:gd name="T3" fmla="*/ 2147483647 h 381"/>
                  <a:gd name="T4" fmla="*/ 2147483647 w 331"/>
                  <a:gd name="T5" fmla="*/ 2147483647 h 381"/>
                  <a:gd name="T6" fmla="*/ 2147483647 w 331"/>
                  <a:gd name="T7" fmla="*/ 2147483647 h 381"/>
                  <a:gd name="T8" fmla="*/ 2147483647 w 331"/>
                  <a:gd name="T9" fmla="*/ 2147483647 h 381"/>
                  <a:gd name="T10" fmla="*/ 2147483647 w 331"/>
                  <a:gd name="T11" fmla="*/ 2147483647 h 381"/>
                  <a:gd name="T12" fmla="*/ 2147483647 w 331"/>
                  <a:gd name="T13" fmla="*/ 2147483647 h 381"/>
                  <a:gd name="T14" fmla="*/ 2147483647 w 331"/>
                  <a:gd name="T15" fmla="*/ 2147483647 h 381"/>
                  <a:gd name="T16" fmla="*/ 2147483647 w 331"/>
                  <a:gd name="T17" fmla="*/ 2147483647 h 381"/>
                  <a:gd name="T18" fmla="*/ 2147483647 w 331"/>
                  <a:gd name="T19" fmla="*/ 2147483647 h 381"/>
                  <a:gd name="T20" fmla="*/ 2147483647 w 331"/>
                  <a:gd name="T21" fmla="*/ 2147483647 h 381"/>
                  <a:gd name="T22" fmla="*/ 2147483647 w 331"/>
                  <a:gd name="T23" fmla="*/ 2147483647 h 381"/>
                  <a:gd name="T24" fmla="*/ 2147483647 w 331"/>
                  <a:gd name="T25" fmla="*/ 2147483647 h 381"/>
                  <a:gd name="T26" fmla="*/ 2147483647 w 331"/>
                  <a:gd name="T27" fmla="*/ 2147483647 h 381"/>
                  <a:gd name="T28" fmla="*/ 2147483647 w 331"/>
                  <a:gd name="T29" fmla="*/ 2147483647 h 381"/>
                  <a:gd name="T30" fmla="*/ 2147483647 w 331"/>
                  <a:gd name="T31" fmla="*/ 2147483647 h 381"/>
                  <a:gd name="T32" fmla="*/ 2147483647 w 331"/>
                  <a:gd name="T33" fmla="*/ 2147483647 h 381"/>
                  <a:gd name="T34" fmla="*/ 2147483647 w 331"/>
                  <a:gd name="T35" fmla="*/ 2147483647 h 381"/>
                  <a:gd name="T36" fmla="*/ 2147483647 w 331"/>
                  <a:gd name="T37" fmla="*/ 2147483647 h 381"/>
                  <a:gd name="T38" fmla="*/ 2147483647 w 331"/>
                  <a:gd name="T39" fmla="*/ 2147483647 h 381"/>
                  <a:gd name="T40" fmla="*/ 2147483647 w 331"/>
                  <a:gd name="T41" fmla="*/ 2147483647 h 381"/>
                  <a:gd name="T42" fmla="*/ 2147483647 w 331"/>
                  <a:gd name="T43" fmla="*/ 2147483647 h 381"/>
                  <a:gd name="T44" fmla="*/ 2147483647 w 331"/>
                  <a:gd name="T45" fmla="*/ 2147483647 h 381"/>
                  <a:gd name="T46" fmla="*/ 2147483647 w 331"/>
                  <a:gd name="T47" fmla="*/ 2147483647 h 381"/>
                  <a:gd name="T48" fmla="*/ 2147483647 w 331"/>
                  <a:gd name="T49" fmla="*/ 2147483647 h 381"/>
                  <a:gd name="T50" fmla="*/ 2147483647 w 331"/>
                  <a:gd name="T51" fmla="*/ 2147483647 h 381"/>
                  <a:gd name="T52" fmla="*/ 2147483647 w 331"/>
                  <a:gd name="T53" fmla="*/ 2147483647 h 381"/>
                  <a:gd name="T54" fmla="*/ 2147483647 w 331"/>
                  <a:gd name="T55" fmla="*/ 2147483647 h 381"/>
                  <a:gd name="T56" fmla="*/ 2147483647 w 331"/>
                  <a:gd name="T57" fmla="*/ 2147483647 h 381"/>
                  <a:gd name="T58" fmla="*/ 2147483647 w 331"/>
                  <a:gd name="T59" fmla="*/ 2147483647 h 381"/>
                  <a:gd name="T60" fmla="*/ 2147483647 w 331"/>
                  <a:gd name="T61" fmla="*/ 2147483647 h 381"/>
                  <a:gd name="T62" fmla="*/ 2147483647 w 331"/>
                  <a:gd name="T63" fmla="*/ 2147483647 h 381"/>
                  <a:gd name="T64" fmla="*/ 2147483647 w 331"/>
                  <a:gd name="T65" fmla="*/ 2147483647 h 381"/>
                  <a:gd name="T66" fmla="*/ 2147483647 w 331"/>
                  <a:gd name="T67" fmla="*/ 2147483647 h 381"/>
                  <a:gd name="T68" fmla="*/ 2147483647 w 331"/>
                  <a:gd name="T69" fmla="*/ 2147483647 h 381"/>
                  <a:gd name="T70" fmla="*/ 2147483647 w 331"/>
                  <a:gd name="T71" fmla="*/ 2147483647 h 381"/>
                  <a:gd name="T72" fmla="*/ 2147483647 w 331"/>
                  <a:gd name="T73" fmla="*/ 2147483647 h 381"/>
                  <a:gd name="T74" fmla="*/ 2147483647 w 331"/>
                  <a:gd name="T75" fmla="*/ 2147483647 h 381"/>
                  <a:gd name="T76" fmla="*/ 2147483647 w 331"/>
                  <a:gd name="T77" fmla="*/ 2147483647 h 381"/>
                  <a:gd name="T78" fmla="*/ 2147483647 w 331"/>
                  <a:gd name="T79" fmla="*/ 2147483647 h 381"/>
                  <a:gd name="T80" fmla="*/ 2147483647 w 331"/>
                  <a:gd name="T81" fmla="*/ 2147483647 h 381"/>
                  <a:gd name="T82" fmla="*/ 2147483647 w 331"/>
                  <a:gd name="T83" fmla="*/ 2147483647 h 381"/>
                  <a:gd name="T84" fmla="*/ 2147483647 w 331"/>
                  <a:gd name="T85" fmla="*/ 2147483647 h 381"/>
                  <a:gd name="T86" fmla="*/ 2147483647 w 331"/>
                  <a:gd name="T87" fmla="*/ 2147483647 h 381"/>
                  <a:gd name="T88" fmla="*/ 2147483647 w 331"/>
                  <a:gd name="T89" fmla="*/ 2147483647 h 381"/>
                  <a:gd name="T90" fmla="*/ 2147483647 w 331"/>
                  <a:gd name="T91" fmla="*/ 2147483647 h 381"/>
                  <a:gd name="T92" fmla="*/ 2147483647 w 331"/>
                  <a:gd name="T93" fmla="*/ 2147483647 h 381"/>
                  <a:gd name="T94" fmla="*/ 2147483647 w 331"/>
                  <a:gd name="T95" fmla="*/ 2147483647 h 381"/>
                  <a:gd name="T96" fmla="*/ 2147483647 w 331"/>
                  <a:gd name="T97" fmla="*/ 2147483647 h 381"/>
                  <a:gd name="T98" fmla="*/ 2147483647 w 331"/>
                  <a:gd name="T99" fmla="*/ 2147483647 h 381"/>
                  <a:gd name="T100" fmla="*/ 2147483647 w 331"/>
                  <a:gd name="T101" fmla="*/ 2147483647 h 381"/>
                  <a:gd name="T102" fmla="*/ 2147483647 w 331"/>
                  <a:gd name="T103" fmla="*/ 2147483647 h 381"/>
                  <a:gd name="T104" fmla="*/ 2147483647 w 331"/>
                  <a:gd name="T105" fmla="*/ 2147483647 h 381"/>
                  <a:gd name="T106" fmla="*/ 2147483647 w 331"/>
                  <a:gd name="T107" fmla="*/ 2147483647 h 381"/>
                  <a:gd name="T108" fmla="*/ 2147483647 w 331"/>
                  <a:gd name="T109" fmla="*/ 2147483647 h 381"/>
                  <a:gd name="T110" fmla="*/ 2147483647 w 331"/>
                  <a:gd name="T111" fmla="*/ 2147483647 h 381"/>
                  <a:gd name="T112" fmla="*/ 2147483647 w 331"/>
                  <a:gd name="T113" fmla="*/ 2147483647 h 381"/>
                  <a:gd name="T114" fmla="*/ 2147483647 w 331"/>
                  <a:gd name="T115" fmla="*/ 2147483647 h 381"/>
                  <a:gd name="T116" fmla="*/ 2147483647 w 331"/>
                  <a:gd name="T117" fmla="*/ 2147483647 h 381"/>
                  <a:gd name="T118" fmla="*/ 2147483647 w 331"/>
                  <a:gd name="T119" fmla="*/ 2147483647 h 381"/>
                  <a:gd name="T120" fmla="*/ 2147483647 w 331"/>
                  <a:gd name="T121" fmla="*/ 2147483647 h 38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31"/>
                  <a:gd name="T184" fmla="*/ 0 h 381"/>
                  <a:gd name="T185" fmla="*/ 331 w 331"/>
                  <a:gd name="T186" fmla="*/ 381 h 381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31" h="381">
                    <a:moveTo>
                      <a:pt x="185" y="376"/>
                    </a:moveTo>
                    <a:cubicBezTo>
                      <a:pt x="177" y="374"/>
                      <a:pt x="186" y="360"/>
                      <a:pt x="175" y="364"/>
                    </a:cubicBezTo>
                    <a:cubicBezTo>
                      <a:pt x="159" y="350"/>
                      <a:pt x="176" y="341"/>
                      <a:pt x="176" y="341"/>
                    </a:cubicBezTo>
                    <a:cubicBezTo>
                      <a:pt x="164" y="343"/>
                      <a:pt x="161" y="334"/>
                      <a:pt x="161" y="334"/>
                    </a:cubicBezTo>
                    <a:cubicBezTo>
                      <a:pt x="149" y="317"/>
                      <a:pt x="146" y="335"/>
                      <a:pt x="146" y="335"/>
                    </a:cubicBezTo>
                    <a:cubicBezTo>
                      <a:pt x="146" y="340"/>
                      <a:pt x="136" y="335"/>
                      <a:pt x="131" y="343"/>
                    </a:cubicBezTo>
                    <a:cubicBezTo>
                      <a:pt x="100" y="354"/>
                      <a:pt x="86" y="342"/>
                      <a:pt x="86" y="342"/>
                    </a:cubicBezTo>
                    <a:cubicBezTo>
                      <a:pt x="76" y="338"/>
                      <a:pt x="78" y="324"/>
                      <a:pt x="78" y="324"/>
                    </a:cubicBezTo>
                    <a:cubicBezTo>
                      <a:pt x="78" y="318"/>
                      <a:pt x="73" y="312"/>
                      <a:pt x="73" y="312"/>
                    </a:cubicBezTo>
                    <a:cubicBezTo>
                      <a:pt x="65" y="297"/>
                      <a:pt x="51" y="302"/>
                      <a:pt x="51" y="302"/>
                    </a:cubicBezTo>
                    <a:cubicBezTo>
                      <a:pt x="23" y="306"/>
                      <a:pt x="29" y="295"/>
                      <a:pt x="29" y="295"/>
                    </a:cubicBezTo>
                    <a:cubicBezTo>
                      <a:pt x="36" y="285"/>
                      <a:pt x="25" y="281"/>
                      <a:pt x="25" y="281"/>
                    </a:cubicBezTo>
                    <a:cubicBezTo>
                      <a:pt x="14" y="281"/>
                      <a:pt x="17" y="268"/>
                      <a:pt x="17" y="268"/>
                    </a:cubicBezTo>
                    <a:cubicBezTo>
                      <a:pt x="19" y="256"/>
                      <a:pt x="5" y="258"/>
                      <a:pt x="5" y="258"/>
                    </a:cubicBezTo>
                    <a:cubicBezTo>
                      <a:pt x="5" y="258"/>
                      <a:pt x="5" y="258"/>
                      <a:pt x="5" y="258"/>
                    </a:cubicBezTo>
                    <a:cubicBezTo>
                      <a:pt x="6" y="237"/>
                      <a:pt x="6" y="237"/>
                      <a:pt x="6" y="237"/>
                    </a:cubicBezTo>
                    <a:cubicBezTo>
                      <a:pt x="7" y="207"/>
                      <a:pt x="7" y="207"/>
                      <a:pt x="7" y="207"/>
                    </a:cubicBezTo>
                    <a:cubicBezTo>
                      <a:pt x="7" y="207"/>
                      <a:pt x="7" y="207"/>
                      <a:pt x="7" y="207"/>
                    </a:cubicBezTo>
                    <a:cubicBezTo>
                      <a:pt x="7" y="207"/>
                      <a:pt x="6" y="197"/>
                      <a:pt x="14" y="200"/>
                    </a:cubicBezTo>
                    <a:cubicBezTo>
                      <a:pt x="23" y="182"/>
                      <a:pt x="7" y="182"/>
                      <a:pt x="11" y="163"/>
                    </a:cubicBezTo>
                    <a:cubicBezTo>
                      <a:pt x="11" y="163"/>
                      <a:pt x="0" y="155"/>
                      <a:pt x="14" y="130"/>
                    </a:cubicBezTo>
                    <a:cubicBezTo>
                      <a:pt x="22" y="124"/>
                      <a:pt x="18" y="108"/>
                      <a:pt x="29" y="97"/>
                    </a:cubicBezTo>
                    <a:cubicBezTo>
                      <a:pt x="39" y="92"/>
                      <a:pt x="36" y="83"/>
                      <a:pt x="43" y="82"/>
                    </a:cubicBezTo>
                    <a:cubicBezTo>
                      <a:pt x="43" y="82"/>
                      <a:pt x="53" y="75"/>
                      <a:pt x="52" y="66"/>
                    </a:cubicBezTo>
                    <a:cubicBezTo>
                      <a:pt x="52" y="66"/>
                      <a:pt x="47" y="53"/>
                      <a:pt x="78" y="60"/>
                    </a:cubicBezTo>
                    <a:cubicBezTo>
                      <a:pt x="78" y="60"/>
                      <a:pt x="89" y="75"/>
                      <a:pt x="91" y="59"/>
                    </a:cubicBezTo>
                    <a:cubicBezTo>
                      <a:pt x="91" y="59"/>
                      <a:pt x="97" y="45"/>
                      <a:pt x="131" y="56"/>
                    </a:cubicBezTo>
                    <a:cubicBezTo>
                      <a:pt x="131" y="56"/>
                      <a:pt x="159" y="52"/>
                      <a:pt x="161" y="61"/>
                    </a:cubicBezTo>
                    <a:cubicBezTo>
                      <a:pt x="161" y="61"/>
                      <a:pt x="155" y="71"/>
                      <a:pt x="176" y="65"/>
                    </a:cubicBezTo>
                    <a:cubicBezTo>
                      <a:pt x="176" y="65"/>
                      <a:pt x="183" y="69"/>
                      <a:pt x="203" y="52"/>
                    </a:cubicBezTo>
                    <a:cubicBezTo>
                      <a:pt x="203" y="38"/>
                      <a:pt x="209" y="38"/>
                      <a:pt x="210" y="24"/>
                    </a:cubicBezTo>
                    <a:cubicBezTo>
                      <a:pt x="210" y="24"/>
                      <a:pt x="200" y="7"/>
                      <a:pt x="231" y="16"/>
                    </a:cubicBezTo>
                    <a:cubicBezTo>
                      <a:pt x="231" y="16"/>
                      <a:pt x="249" y="28"/>
                      <a:pt x="257" y="24"/>
                    </a:cubicBezTo>
                    <a:cubicBezTo>
                      <a:pt x="273" y="24"/>
                      <a:pt x="270" y="27"/>
                      <a:pt x="295" y="8"/>
                    </a:cubicBezTo>
                    <a:cubicBezTo>
                      <a:pt x="295" y="8"/>
                      <a:pt x="296" y="0"/>
                      <a:pt x="327" y="4"/>
                    </a:cubicBezTo>
                    <a:cubicBezTo>
                      <a:pt x="322" y="11"/>
                      <a:pt x="319" y="24"/>
                      <a:pt x="319" y="24"/>
                    </a:cubicBezTo>
                    <a:cubicBezTo>
                      <a:pt x="309" y="46"/>
                      <a:pt x="318" y="49"/>
                      <a:pt x="318" y="49"/>
                    </a:cubicBezTo>
                    <a:cubicBezTo>
                      <a:pt x="330" y="53"/>
                      <a:pt x="330" y="61"/>
                      <a:pt x="330" y="61"/>
                    </a:cubicBezTo>
                    <a:cubicBezTo>
                      <a:pt x="331" y="65"/>
                      <a:pt x="318" y="59"/>
                      <a:pt x="321" y="71"/>
                    </a:cubicBezTo>
                    <a:cubicBezTo>
                      <a:pt x="317" y="75"/>
                      <a:pt x="319" y="79"/>
                      <a:pt x="319" y="79"/>
                    </a:cubicBezTo>
                    <a:cubicBezTo>
                      <a:pt x="322" y="90"/>
                      <a:pt x="307" y="87"/>
                      <a:pt x="307" y="87"/>
                    </a:cubicBezTo>
                    <a:cubicBezTo>
                      <a:pt x="296" y="90"/>
                      <a:pt x="292" y="103"/>
                      <a:pt x="292" y="103"/>
                    </a:cubicBezTo>
                    <a:cubicBezTo>
                      <a:pt x="278" y="114"/>
                      <a:pt x="295" y="132"/>
                      <a:pt x="295" y="132"/>
                    </a:cubicBezTo>
                    <a:cubicBezTo>
                      <a:pt x="300" y="132"/>
                      <a:pt x="297" y="151"/>
                      <a:pt x="297" y="151"/>
                    </a:cubicBezTo>
                    <a:cubicBezTo>
                      <a:pt x="305" y="162"/>
                      <a:pt x="292" y="158"/>
                      <a:pt x="293" y="175"/>
                    </a:cubicBezTo>
                    <a:cubicBezTo>
                      <a:pt x="297" y="191"/>
                      <a:pt x="285" y="189"/>
                      <a:pt x="285" y="189"/>
                    </a:cubicBezTo>
                    <a:cubicBezTo>
                      <a:pt x="291" y="206"/>
                      <a:pt x="289" y="216"/>
                      <a:pt x="289" y="216"/>
                    </a:cubicBezTo>
                    <a:cubicBezTo>
                      <a:pt x="287" y="222"/>
                      <a:pt x="275" y="217"/>
                      <a:pt x="278" y="230"/>
                    </a:cubicBezTo>
                    <a:cubicBezTo>
                      <a:pt x="274" y="240"/>
                      <a:pt x="285" y="243"/>
                      <a:pt x="285" y="243"/>
                    </a:cubicBezTo>
                    <a:cubicBezTo>
                      <a:pt x="291" y="240"/>
                      <a:pt x="287" y="252"/>
                      <a:pt x="294" y="251"/>
                    </a:cubicBezTo>
                    <a:cubicBezTo>
                      <a:pt x="300" y="251"/>
                      <a:pt x="297" y="244"/>
                      <a:pt x="306" y="245"/>
                    </a:cubicBezTo>
                    <a:cubicBezTo>
                      <a:pt x="296" y="258"/>
                      <a:pt x="306" y="264"/>
                      <a:pt x="306" y="264"/>
                    </a:cubicBezTo>
                    <a:cubicBezTo>
                      <a:pt x="305" y="274"/>
                      <a:pt x="296" y="276"/>
                      <a:pt x="297" y="284"/>
                    </a:cubicBezTo>
                    <a:cubicBezTo>
                      <a:pt x="296" y="291"/>
                      <a:pt x="306" y="299"/>
                      <a:pt x="300" y="309"/>
                    </a:cubicBezTo>
                    <a:cubicBezTo>
                      <a:pt x="300" y="327"/>
                      <a:pt x="292" y="339"/>
                      <a:pt x="292" y="339"/>
                    </a:cubicBezTo>
                    <a:cubicBezTo>
                      <a:pt x="292" y="347"/>
                      <a:pt x="279" y="357"/>
                      <a:pt x="279" y="357"/>
                    </a:cubicBezTo>
                    <a:cubicBezTo>
                      <a:pt x="270" y="371"/>
                      <a:pt x="259" y="368"/>
                      <a:pt x="259" y="368"/>
                    </a:cubicBezTo>
                    <a:cubicBezTo>
                      <a:pt x="237" y="377"/>
                      <a:pt x="227" y="368"/>
                      <a:pt x="227" y="368"/>
                    </a:cubicBezTo>
                    <a:cubicBezTo>
                      <a:pt x="217" y="358"/>
                      <a:pt x="205" y="368"/>
                      <a:pt x="205" y="368"/>
                    </a:cubicBezTo>
                    <a:cubicBezTo>
                      <a:pt x="197" y="381"/>
                      <a:pt x="185" y="376"/>
                      <a:pt x="185" y="376"/>
                    </a:cubicBezTo>
                    <a:cubicBezTo>
                      <a:pt x="185" y="376"/>
                      <a:pt x="185" y="376"/>
                      <a:pt x="185" y="376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28" name="Freeform 47"/>
              <p:cNvSpPr>
                <a:spLocks/>
              </p:cNvSpPr>
              <p:nvPr/>
            </p:nvSpPr>
            <p:spPr bwMode="auto">
              <a:xfrm>
                <a:off x="3955268" y="2149410"/>
                <a:ext cx="914368" cy="1046550"/>
              </a:xfrm>
              <a:custGeom>
                <a:avLst/>
                <a:gdLst>
                  <a:gd name="T0" fmla="*/ 2147483647 w 323"/>
                  <a:gd name="T1" fmla="*/ 2147483647 h 419"/>
                  <a:gd name="T2" fmla="*/ 2147483647 w 323"/>
                  <a:gd name="T3" fmla="*/ 2147483647 h 419"/>
                  <a:gd name="T4" fmla="*/ 2147483647 w 323"/>
                  <a:gd name="T5" fmla="*/ 2147483647 h 419"/>
                  <a:gd name="T6" fmla="*/ 2147483647 w 323"/>
                  <a:gd name="T7" fmla="*/ 2147483647 h 419"/>
                  <a:gd name="T8" fmla="*/ 2147483647 w 323"/>
                  <a:gd name="T9" fmla="*/ 2147483647 h 419"/>
                  <a:gd name="T10" fmla="*/ 2147483647 w 323"/>
                  <a:gd name="T11" fmla="*/ 2147483647 h 419"/>
                  <a:gd name="T12" fmla="*/ 2147483647 w 323"/>
                  <a:gd name="T13" fmla="*/ 2147483647 h 419"/>
                  <a:gd name="T14" fmla="*/ 2147483647 w 323"/>
                  <a:gd name="T15" fmla="*/ 2147483647 h 419"/>
                  <a:gd name="T16" fmla="*/ 2147483647 w 323"/>
                  <a:gd name="T17" fmla="*/ 2147483647 h 419"/>
                  <a:gd name="T18" fmla="*/ 2147483647 w 323"/>
                  <a:gd name="T19" fmla="*/ 2147483647 h 419"/>
                  <a:gd name="T20" fmla="*/ 2147483647 w 323"/>
                  <a:gd name="T21" fmla="*/ 2147483647 h 419"/>
                  <a:gd name="T22" fmla="*/ 2147483647 w 323"/>
                  <a:gd name="T23" fmla="*/ 2147483647 h 419"/>
                  <a:gd name="T24" fmla="*/ 2147483647 w 323"/>
                  <a:gd name="T25" fmla="*/ 2147483647 h 419"/>
                  <a:gd name="T26" fmla="*/ 2147483647 w 323"/>
                  <a:gd name="T27" fmla="*/ 2147483647 h 419"/>
                  <a:gd name="T28" fmla="*/ 2147483647 w 323"/>
                  <a:gd name="T29" fmla="*/ 2147483647 h 419"/>
                  <a:gd name="T30" fmla="*/ 2147483647 w 323"/>
                  <a:gd name="T31" fmla="*/ 2147483647 h 419"/>
                  <a:gd name="T32" fmla="*/ 2147483647 w 323"/>
                  <a:gd name="T33" fmla="*/ 2147483647 h 419"/>
                  <a:gd name="T34" fmla="*/ 2147483647 w 323"/>
                  <a:gd name="T35" fmla="*/ 2147483647 h 419"/>
                  <a:gd name="T36" fmla="*/ 2147483647 w 323"/>
                  <a:gd name="T37" fmla="*/ 2147483647 h 419"/>
                  <a:gd name="T38" fmla="*/ 2147483647 w 323"/>
                  <a:gd name="T39" fmla="*/ 2147483647 h 419"/>
                  <a:gd name="T40" fmla="*/ 2147483647 w 323"/>
                  <a:gd name="T41" fmla="*/ 2147483647 h 419"/>
                  <a:gd name="T42" fmla="*/ 2147483647 w 323"/>
                  <a:gd name="T43" fmla="*/ 2147483647 h 419"/>
                  <a:gd name="T44" fmla="*/ 2147483647 w 323"/>
                  <a:gd name="T45" fmla="*/ 2147483647 h 419"/>
                  <a:gd name="T46" fmla="*/ 2147483647 w 323"/>
                  <a:gd name="T47" fmla="*/ 2147483647 h 419"/>
                  <a:gd name="T48" fmla="*/ 2147483647 w 323"/>
                  <a:gd name="T49" fmla="*/ 2147483647 h 419"/>
                  <a:gd name="T50" fmla="*/ 2147483647 w 323"/>
                  <a:gd name="T51" fmla="*/ 2147483647 h 419"/>
                  <a:gd name="T52" fmla="*/ 2147483647 w 323"/>
                  <a:gd name="T53" fmla="*/ 2147483647 h 419"/>
                  <a:gd name="T54" fmla="*/ 2147483647 w 323"/>
                  <a:gd name="T55" fmla="*/ 2147483647 h 419"/>
                  <a:gd name="T56" fmla="*/ 2147483647 w 323"/>
                  <a:gd name="T57" fmla="*/ 2147483647 h 419"/>
                  <a:gd name="T58" fmla="*/ 2147483647 w 323"/>
                  <a:gd name="T59" fmla="*/ 2147483647 h 419"/>
                  <a:gd name="T60" fmla="*/ 2147483647 w 323"/>
                  <a:gd name="T61" fmla="*/ 2147483647 h 419"/>
                  <a:gd name="T62" fmla="*/ 2147483647 w 323"/>
                  <a:gd name="T63" fmla="*/ 2147483647 h 419"/>
                  <a:gd name="T64" fmla="*/ 2147483647 w 323"/>
                  <a:gd name="T65" fmla="*/ 2147483647 h 419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323"/>
                  <a:gd name="T100" fmla="*/ 0 h 419"/>
                  <a:gd name="T101" fmla="*/ 323 w 323"/>
                  <a:gd name="T102" fmla="*/ 419 h 419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323" h="419">
                    <a:moveTo>
                      <a:pt x="53" y="13"/>
                    </a:moveTo>
                    <a:cubicBezTo>
                      <a:pt x="48" y="20"/>
                      <a:pt x="45" y="33"/>
                      <a:pt x="45" y="33"/>
                    </a:cubicBezTo>
                    <a:cubicBezTo>
                      <a:pt x="35" y="55"/>
                      <a:pt x="44" y="58"/>
                      <a:pt x="44" y="58"/>
                    </a:cubicBezTo>
                    <a:cubicBezTo>
                      <a:pt x="56" y="62"/>
                      <a:pt x="56" y="70"/>
                      <a:pt x="56" y="70"/>
                    </a:cubicBezTo>
                    <a:cubicBezTo>
                      <a:pt x="57" y="74"/>
                      <a:pt x="44" y="68"/>
                      <a:pt x="47" y="80"/>
                    </a:cubicBezTo>
                    <a:cubicBezTo>
                      <a:pt x="43" y="84"/>
                      <a:pt x="45" y="88"/>
                      <a:pt x="45" y="88"/>
                    </a:cubicBezTo>
                    <a:cubicBezTo>
                      <a:pt x="48" y="99"/>
                      <a:pt x="33" y="96"/>
                      <a:pt x="33" y="96"/>
                    </a:cubicBezTo>
                    <a:cubicBezTo>
                      <a:pt x="22" y="99"/>
                      <a:pt x="18" y="112"/>
                      <a:pt x="18" y="112"/>
                    </a:cubicBezTo>
                    <a:cubicBezTo>
                      <a:pt x="4" y="123"/>
                      <a:pt x="21" y="141"/>
                      <a:pt x="21" y="141"/>
                    </a:cubicBezTo>
                    <a:cubicBezTo>
                      <a:pt x="26" y="141"/>
                      <a:pt x="23" y="160"/>
                      <a:pt x="23" y="160"/>
                    </a:cubicBezTo>
                    <a:cubicBezTo>
                      <a:pt x="31" y="171"/>
                      <a:pt x="18" y="167"/>
                      <a:pt x="19" y="184"/>
                    </a:cubicBezTo>
                    <a:cubicBezTo>
                      <a:pt x="23" y="200"/>
                      <a:pt x="11" y="198"/>
                      <a:pt x="11" y="198"/>
                    </a:cubicBezTo>
                    <a:cubicBezTo>
                      <a:pt x="17" y="215"/>
                      <a:pt x="15" y="225"/>
                      <a:pt x="15" y="225"/>
                    </a:cubicBezTo>
                    <a:cubicBezTo>
                      <a:pt x="13" y="231"/>
                      <a:pt x="1" y="226"/>
                      <a:pt x="4" y="239"/>
                    </a:cubicBezTo>
                    <a:cubicBezTo>
                      <a:pt x="0" y="249"/>
                      <a:pt x="11" y="252"/>
                      <a:pt x="11" y="252"/>
                    </a:cubicBezTo>
                    <a:cubicBezTo>
                      <a:pt x="17" y="249"/>
                      <a:pt x="13" y="261"/>
                      <a:pt x="20" y="260"/>
                    </a:cubicBezTo>
                    <a:cubicBezTo>
                      <a:pt x="26" y="260"/>
                      <a:pt x="23" y="253"/>
                      <a:pt x="32" y="254"/>
                    </a:cubicBezTo>
                    <a:cubicBezTo>
                      <a:pt x="22" y="267"/>
                      <a:pt x="32" y="273"/>
                      <a:pt x="32" y="273"/>
                    </a:cubicBezTo>
                    <a:cubicBezTo>
                      <a:pt x="31" y="283"/>
                      <a:pt x="22" y="285"/>
                      <a:pt x="23" y="293"/>
                    </a:cubicBezTo>
                    <a:cubicBezTo>
                      <a:pt x="22" y="300"/>
                      <a:pt x="32" y="308"/>
                      <a:pt x="26" y="318"/>
                    </a:cubicBezTo>
                    <a:cubicBezTo>
                      <a:pt x="26" y="336"/>
                      <a:pt x="18" y="348"/>
                      <a:pt x="18" y="348"/>
                    </a:cubicBezTo>
                    <a:cubicBezTo>
                      <a:pt x="32" y="355"/>
                      <a:pt x="35" y="348"/>
                      <a:pt x="35" y="348"/>
                    </a:cubicBezTo>
                    <a:cubicBezTo>
                      <a:pt x="41" y="341"/>
                      <a:pt x="55" y="352"/>
                      <a:pt x="55" y="352"/>
                    </a:cubicBezTo>
                    <a:cubicBezTo>
                      <a:pt x="59" y="355"/>
                      <a:pt x="84" y="351"/>
                      <a:pt x="90" y="355"/>
                    </a:cubicBezTo>
                    <a:cubicBezTo>
                      <a:pt x="107" y="359"/>
                      <a:pt x="107" y="352"/>
                      <a:pt x="107" y="352"/>
                    </a:cubicBezTo>
                    <a:cubicBezTo>
                      <a:pt x="115" y="339"/>
                      <a:pt x="123" y="352"/>
                      <a:pt x="123" y="352"/>
                    </a:cubicBezTo>
                    <a:cubicBezTo>
                      <a:pt x="133" y="361"/>
                      <a:pt x="138" y="352"/>
                      <a:pt x="138" y="352"/>
                    </a:cubicBezTo>
                    <a:cubicBezTo>
                      <a:pt x="139" y="341"/>
                      <a:pt x="155" y="342"/>
                      <a:pt x="155" y="342"/>
                    </a:cubicBezTo>
                    <a:cubicBezTo>
                      <a:pt x="154" y="366"/>
                      <a:pt x="165" y="369"/>
                      <a:pt x="165" y="369"/>
                    </a:cubicBezTo>
                    <a:cubicBezTo>
                      <a:pt x="172" y="377"/>
                      <a:pt x="173" y="391"/>
                      <a:pt x="173" y="391"/>
                    </a:cubicBezTo>
                    <a:cubicBezTo>
                      <a:pt x="180" y="388"/>
                      <a:pt x="180" y="398"/>
                      <a:pt x="180" y="398"/>
                    </a:cubicBezTo>
                    <a:cubicBezTo>
                      <a:pt x="193" y="403"/>
                      <a:pt x="183" y="407"/>
                      <a:pt x="183" y="407"/>
                    </a:cubicBezTo>
                    <a:cubicBezTo>
                      <a:pt x="178" y="418"/>
                      <a:pt x="191" y="417"/>
                      <a:pt x="191" y="417"/>
                    </a:cubicBezTo>
                    <a:cubicBezTo>
                      <a:pt x="205" y="419"/>
                      <a:pt x="212" y="410"/>
                      <a:pt x="212" y="410"/>
                    </a:cubicBezTo>
                    <a:cubicBezTo>
                      <a:pt x="224" y="403"/>
                      <a:pt x="235" y="409"/>
                      <a:pt x="235" y="409"/>
                    </a:cubicBezTo>
                    <a:cubicBezTo>
                      <a:pt x="242" y="399"/>
                      <a:pt x="253" y="400"/>
                      <a:pt x="253" y="400"/>
                    </a:cubicBezTo>
                    <a:cubicBezTo>
                      <a:pt x="258" y="388"/>
                      <a:pt x="272" y="392"/>
                      <a:pt x="272" y="392"/>
                    </a:cubicBezTo>
                    <a:cubicBezTo>
                      <a:pt x="275" y="377"/>
                      <a:pt x="296" y="370"/>
                      <a:pt x="300" y="376"/>
                    </a:cubicBezTo>
                    <a:cubicBezTo>
                      <a:pt x="304" y="370"/>
                      <a:pt x="323" y="378"/>
                      <a:pt x="323" y="364"/>
                    </a:cubicBezTo>
                    <a:cubicBezTo>
                      <a:pt x="318" y="364"/>
                      <a:pt x="313" y="361"/>
                      <a:pt x="313" y="361"/>
                    </a:cubicBezTo>
                    <a:cubicBezTo>
                      <a:pt x="312" y="341"/>
                      <a:pt x="303" y="344"/>
                      <a:pt x="303" y="344"/>
                    </a:cubicBezTo>
                    <a:cubicBezTo>
                      <a:pt x="290" y="341"/>
                      <a:pt x="293" y="322"/>
                      <a:pt x="293" y="322"/>
                    </a:cubicBezTo>
                    <a:cubicBezTo>
                      <a:pt x="281" y="311"/>
                      <a:pt x="297" y="315"/>
                      <a:pt x="296" y="300"/>
                    </a:cubicBezTo>
                    <a:cubicBezTo>
                      <a:pt x="296" y="289"/>
                      <a:pt x="287" y="287"/>
                      <a:pt x="288" y="283"/>
                    </a:cubicBezTo>
                    <a:cubicBezTo>
                      <a:pt x="279" y="276"/>
                      <a:pt x="279" y="263"/>
                      <a:pt x="279" y="263"/>
                    </a:cubicBezTo>
                    <a:cubicBezTo>
                      <a:pt x="269" y="255"/>
                      <a:pt x="276" y="248"/>
                      <a:pt x="276" y="248"/>
                    </a:cubicBezTo>
                    <a:cubicBezTo>
                      <a:pt x="285" y="240"/>
                      <a:pt x="268" y="242"/>
                      <a:pt x="268" y="242"/>
                    </a:cubicBezTo>
                    <a:cubicBezTo>
                      <a:pt x="257" y="248"/>
                      <a:pt x="254" y="229"/>
                      <a:pt x="254" y="229"/>
                    </a:cubicBezTo>
                    <a:cubicBezTo>
                      <a:pt x="254" y="205"/>
                      <a:pt x="231" y="215"/>
                      <a:pt x="231" y="215"/>
                    </a:cubicBezTo>
                    <a:cubicBezTo>
                      <a:pt x="215" y="227"/>
                      <a:pt x="198" y="218"/>
                      <a:pt x="198" y="218"/>
                    </a:cubicBezTo>
                    <a:cubicBezTo>
                      <a:pt x="192" y="207"/>
                      <a:pt x="180" y="211"/>
                      <a:pt x="180" y="211"/>
                    </a:cubicBezTo>
                    <a:cubicBezTo>
                      <a:pt x="172" y="202"/>
                      <a:pt x="164" y="211"/>
                      <a:pt x="164" y="211"/>
                    </a:cubicBezTo>
                    <a:cubicBezTo>
                      <a:pt x="139" y="217"/>
                      <a:pt x="154" y="205"/>
                      <a:pt x="154" y="205"/>
                    </a:cubicBezTo>
                    <a:cubicBezTo>
                      <a:pt x="164" y="187"/>
                      <a:pt x="150" y="189"/>
                      <a:pt x="150" y="189"/>
                    </a:cubicBezTo>
                    <a:cubicBezTo>
                      <a:pt x="144" y="190"/>
                      <a:pt x="149" y="168"/>
                      <a:pt x="149" y="168"/>
                    </a:cubicBezTo>
                    <a:cubicBezTo>
                      <a:pt x="149" y="155"/>
                      <a:pt x="138" y="145"/>
                      <a:pt x="138" y="145"/>
                    </a:cubicBezTo>
                    <a:cubicBezTo>
                      <a:pt x="124" y="134"/>
                      <a:pt x="150" y="128"/>
                      <a:pt x="150" y="128"/>
                    </a:cubicBezTo>
                    <a:cubicBezTo>
                      <a:pt x="169" y="128"/>
                      <a:pt x="168" y="116"/>
                      <a:pt x="168" y="116"/>
                    </a:cubicBezTo>
                    <a:cubicBezTo>
                      <a:pt x="169" y="106"/>
                      <a:pt x="149" y="95"/>
                      <a:pt x="149" y="95"/>
                    </a:cubicBezTo>
                    <a:cubicBezTo>
                      <a:pt x="129" y="84"/>
                      <a:pt x="127" y="69"/>
                      <a:pt x="127" y="69"/>
                    </a:cubicBezTo>
                    <a:cubicBezTo>
                      <a:pt x="118" y="55"/>
                      <a:pt x="139" y="51"/>
                      <a:pt x="119" y="40"/>
                    </a:cubicBezTo>
                    <a:cubicBezTo>
                      <a:pt x="109" y="40"/>
                      <a:pt x="102" y="20"/>
                      <a:pt x="102" y="20"/>
                    </a:cubicBezTo>
                    <a:cubicBezTo>
                      <a:pt x="92" y="0"/>
                      <a:pt x="84" y="13"/>
                      <a:pt x="84" y="13"/>
                    </a:cubicBezTo>
                    <a:cubicBezTo>
                      <a:pt x="73" y="13"/>
                      <a:pt x="66" y="26"/>
                      <a:pt x="66" y="26"/>
                    </a:cubicBezTo>
                    <a:cubicBezTo>
                      <a:pt x="58" y="29"/>
                      <a:pt x="68" y="10"/>
                      <a:pt x="53" y="13"/>
                    </a:cubicBezTo>
                    <a:cubicBezTo>
                      <a:pt x="53" y="13"/>
                      <a:pt x="53" y="13"/>
                      <a:pt x="53" y="13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29" name="Freeform 46"/>
              <p:cNvSpPr>
                <a:spLocks/>
              </p:cNvSpPr>
              <p:nvPr/>
            </p:nvSpPr>
            <p:spPr bwMode="auto">
              <a:xfrm>
                <a:off x="3697437" y="2995607"/>
                <a:ext cx="1133657" cy="828519"/>
              </a:xfrm>
              <a:custGeom>
                <a:avLst/>
                <a:gdLst>
                  <a:gd name="T0" fmla="*/ 2147483647 w 400"/>
                  <a:gd name="T1" fmla="*/ 2147483647 h 331"/>
                  <a:gd name="T2" fmla="*/ 2147483647 w 400"/>
                  <a:gd name="T3" fmla="*/ 2147483647 h 331"/>
                  <a:gd name="T4" fmla="*/ 2147483647 w 400"/>
                  <a:gd name="T5" fmla="*/ 2147483647 h 331"/>
                  <a:gd name="T6" fmla="*/ 2147483647 w 400"/>
                  <a:gd name="T7" fmla="*/ 2147483647 h 331"/>
                  <a:gd name="T8" fmla="*/ 2147483647 w 400"/>
                  <a:gd name="T9" fmla="*/ 2147483647 h 331"/>
                  <a:gd name="T10" fmla="*/ 2147483647 w 400"/>
                  <a:gd name="T11" fmla="*/ 2147483647 h 331"/>
                  <a:gd name="T12" fmla="*/ 2147483647 w 400"/>
                  <a:gd name="T13" fmla="*/ 2147483647 h 331"/>
                  <a:gd name="T14" fmla="*/ 2147483647 w 400"/>
                  <a:gd name="T15" fmla="*/ 2147483647 h 331"/>
                  <a:gd name="T16" fmla="*/ 2147483647 w 400"/>
                  <a:gd name="T17" fmla="*/ 2147483647 h 331"/>
                  <a:gd name="T18" fmla="*/ 2147483647 w 400"/>
                  <a:gd name="T19" fmla="*/ 2147483647 h 331"/>
                  <a:gd name="T20" fmla="*/ 2147483647 w 400"/>
                  <a:gd name="T21" fmla="*/ 2147483647 h 331"/>
                  <a:gd name="T22" fmla="*/ 2147483647 w 400"/>
                  <a:gd name="T23" fmla="*/ 2147483647 h 331"/>
                  <a:gd name="T24" fmla="*/ 2147483647 w 400"/>
                  <a:gd name="T25" fmla="*/ 2147483647 h 331"/>
                  <a:gd name="T26" fmla="*/ 2147483647 w 400"/>
                  <a:gd name="T27" fmla="*/ 2147483647 h 331"/>
                  <a:gd name="T28" fmla="*/ 2147483647 w 400"/>
                  <a:gd name="T29" fmla="*/ 2147483647 h 331"/>
                  <a:gd name="T30" fmla="*/ 2147483647 w 400"/>
                  <a:gd name="T31" fmla="*/ 2147483647 h 331"/>
                  <a:gd name="T32" fmla="*/ 2147483647 w 400"/>
                  <a:gd name="T33" fmla="*/ 2147483647 h 331"/>
                  <a:gd name="T34" fmla="*/ 2147483647 w 400"/>
                  <a:gd name="T35" fmla="*/ 2147483647 h 331"/>
                  <a:gd name="T36" fmla="*/ 2147483647 w 400"/>
                  <a:gd name="T37" fmla="*/ 2147483647 h 331"/>
                  <a:gd name="T38" fmla="*/ 2147483647 w 400"/>
                  <a:gd name="T39" fmla="*/ 2147483647 h 331"/>
                  <a:gd name="T40" fmla="*/ 2147483647 w 400"/>
                  <a:gd name="T41" fmla="*/ 2147483647 h 331"/>
                  <a:gd name="T42" fmla="*/ 2147483647 w 400"/>
                  <a:gd name="T43" fmla="*/ 2147483647 h 331"/>
                  <a:gd name="T44" fmla="*/ 2147483647 w 400"/>
                  <a:gd name="T45" fmla="*/ 2147483647 h 331"/>
                  <a:gd name="T46" fmla="*/ 2147483647 w 400"/>
                  <a:gd name="T47" fmla="*/ 2147483647 h 331"/>
                  <a:gd name="T48" fmla="*/ 2147483647 w 400"/>
                  <a:gd name="T49" fmla="*/ 2147483647 h 331"/>
                  <a:gd name="T50" fmla="*/ 2147483647 w 400"/>
                  <a:gd name="T51" fmla="*/ 2147483647 h 331"/>
                  <a:gd name="T52" fmla="*/ 2147483647 w 400"/>
                  <a:gd name="T53" fmla="*/ 2147483647 h 331"/>
                  <a:gd name="T54" fmla="*/ 2147483647 w 400"/>
                  <a:gd name="T55" fmla="*/ 2147483647 h 331"/>
                  <a:gd name="T56" fmla="*/ 2147483647 w 400"/>
                  <a:gd name="T57" fmla="*/ 2147483647 h 331"/>
                  <a:gd name="T58" fmla="*/ 2147483647 w 400"/>
                  <a:gd name="T59" fmla="*/ 2147483647 h 331"/>
                  <a:gd name="T60" fmla="*/ 2147483647 w 400"/>
                  <a:gd name="T61" fmla="*/ 2147483647 h 331"/>
                  <a:gd name="T62" fmla="*/ 2147483647 w 400"/>
                  <a:gd name="T63" fmla="*/ 2147483647 h 331"/>
                  <a:gd name="T64" fmla="*/ 2147483647 w 400"/>
                  <a:gd name="T65" fmla="*/ 2147483647 h 331"/>
                  <a:gd name="T66" fmla="*/ 2147483647 w 400"/>
                  <a:gd name="T67" fmla="*/ 2147483647 h 331"/>
                  <a:gd name="T68" fmla="*/ 2147483647 w 400"/>
                  <a:gd name="T69" fmla="*/ 2147483647 h 331"/>
                  <a:gd name="T70" fmla="*/ 0 w 400"/>
                  <a:gd name="T71" fmla="*/ 2147483647 h 331"/>
                  <a:gd name="T72" fmla="*/ 2147483647 w 400"/>
                  <a:gd name="T73" fmla="*/ 2147483647 h 331"/>
                  <a:gd name="T74" fmla="*/ 2147483647 w 400"/>
                  <a:gd name="T75" fmla="*/ 2147483647 h 331"/>
                  <a:gd name="T76" fmla="*/ 2147483647 w 400"/>
                  <a:gd name="T77" fmla="*/ 2147483647 h 331"/>
                  <a:gd name="T78" fmla="*/ 2147483647 w 400"/>
                  <a:gd name="T79" fmla="*/ 2147483647 h 331"/>
                  <a:gd name="T80" fmla="*/ 2147483647 w 400"/>
                  <a:gd name="T81" fmla="*/ 2147483647 h 331"/>
                  <a:gd name="T82" fmla="*/ 2147483647 w 400"/>
                  <a:gd name="T83" fmla="*/ 2147483647 h 331"/>
                  <a:gd name="T84" fmla="*/ 2147483647 w 400"/>
                  <a:gd name="T85" fmla="*/ 2147483647 h 331"/>
                  <a:gd name="T86" fmla="*/ 2147483647 w 400"/>
                  <a:gd name="T87" fmla="*/ 2147483647 h 331"/>
                  <a:gd name="T88" fmla="*/ 2147483647 w 400"/>
                  <a:gd name="T89" fmla="*/ 2147483647 h 331"/>
                  <a:gd name="T90" fmla="*/ 2147483647 w 400"/>
                  <a:gd name="T91" fmla="*/ 2147483647 h 331"/>
                  <a:gd name="T92" fmla="*/ 2147483647 w 400"/>
                  <a:gd name="T93" fmla="*/ 2147483647 h 331"/>
                  <a:gd name="T94" fmla="*/ 2147483647 w 400"/>
                  <a:gd name="T95" fmla="*/ 2147483647 h 331"/>
                  <a:gd name="T96" fmla="*/ 2147483647 w 400"/>
                  <a:gd name="T97" fmla="*/ 2147483647 h 331"/>
                  <a:gd name="T98" fmla="*/ 2147483647 w 400"/>
                  <a:gd name="T99" fmla="*/ 2147483647 h 331"/>
                  <a:gd name="T100" fmla="*/ 2147483647 w 400"/>
                  <a:gd name="T101" fmla="*/ 2147483647 h 331"/>
                  <a:gd name="T102" fmla="*/ 2147483647 w 400"/>
                  <a:gd name="T103" fmla="*/ 2147483647 h 331"/>
                  <a:gd name="T104" fmla="*/ 2147483647 w 400"/>
                  <a:gd name="T105" fmla="*/ 2147483647 h 331"/>
                  <a:gd name="T106" fmla="*/ 2147483647 w 400"/>
                  <a:gd name="T107" fmla="*/ 2147483647 h 331"/>
                  <a:gd name="T108" fmla="*/ 2147483647 w 400"/>
                  <a:gd name="T109" fmla="*/ 2147483647 h 331"/>
                  <a:gd name="T110" fmla="*/ 2147483647 w 400"/>
                  <a:gd name="T111" fmla="*/ 2147483647 h 331"/>
                  <a:gd name="T112" fmla="*/ 2147483647 w 400"/>
                  <a:gd name="T113" fmla="*/ 2147483647 h 331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400"/>
                  <a:gd name="T172" fmla="*/ 0 h 331"/>
                  <a:gd name="T173" fmla="*/ 400 w 400"/>
                  <a:gd name="T174" fmla="*/ 331 h 331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400" h="331">
                    <a:moveTo>
                      <a:pt x="326" y="70"/>
                    </a:moveTo>
                    <a:cubicBezTo>
                      <a:pt x="329" y="84"/>
                      <a:pt x="324" y="92"/>
                      <a:pt x="324" y="92"/>
                    </a:cubicBezTo>
                    <a:cubicBezTo>
                      <a:pt x="312" y="108"/>
                      <a:pt x="327" y="112"/>
                      <a:pt x="327" y="112"/>
                    </a:cubicBezTo>
                    <a:cubicBezTo>
                      <a:pt x="331" y="119"/>
                      <a:pt x="340" y="110"/>
                      <a:pt x="349" y="123"/>
                    </a:cubicBezTo>
                    <a:cubicBezTo>
                      <a:pt x="369" y="122"/>
                      <a:pt x="363" y="137"/>
                      <a:pt x="363" y="137"/>
                    </a:cubicBezTo>
                    <a:cubicBezTo>
                      <a:pt x="368" y="158"/>
                      <a:pt x="383" y="152"/>
                      <a:pt x="383" y="152"/>
                    </a:cubicBezTo>
                    <a:cubicBezTo>
                      <a:pt x="393" y="146"/>
                      <a:pt x="393" y="160"/>
                      <a:pt x="393" y="160"/>
                    </a:cubicBezTo>
                    <a:cubicBezTo>
                      <a:pt x="400" y="187"/>
                      <a:pt x="390" y="185"/>
                      <a:pt x="390" y="185"/>
                    </a:cubicBezTo>
                    <a:cubicBezTo>
                      <a:pt x="375" y="183"/>
                      <a:pt x="383" y="198"/>
                      <a:pt x="383" y="198"/>
                    </a:cubicBezTo>
                    <a:cubicBezTo>
                      <a:pt x="392" y="203"/>
                      <a:pt x="380" y="216"/>
                      <a:pt x="380" y="216"/>
                    </a:cubicBezTo>
                    <a:cubicBezTo>
                      <a:pt x="373" y="224"/>
                      <a:pt x="359" y="221"/>
                      <a:pt x="359" y="221"/>
                    </a:cubicBezTo>
                    <a:cubicBezTo>
                      <a:pt x="329" y="211"/>
                      <a:pt x="343" y="246"/>
                      <a:pt x="343" y="246"/>
                    </a:cubicBezTo>
                    <a:cubicBezTo>
                      <a:pt x="333" y="251"/>
                      <a:pt x="322" y="243"/>
                      <a:pt x="315" y="250"/>
                    </a:cubicBezTo>
                    <a:cubicBezTo>
                      <a:pt x="311" y="254"/>
                      <a:pt x="298" y="251"/>
                      <a:pt x="285" y="265"/>
                    </a:cubicBezTo>
                    <a:cubicBezTo>
                      <a:pt x="272" y="264"/>
                      <a:pt x="270" y="284"/>
                      <a:pt x="270" y="284"/>
                    </a:cubicBezTo>
                    <a:cubicBezTo>
                      <a:pt x="256" y="298"/>
                      <a:pt x="266" y="301"/>
                      <a:pt x="266" y="301"/>
                    </a:cubicBezTo>
                    <a:cubicBezTo>
                      <a:pt x="270" y="314"/>
                      <a:pt x="263" y="321"/>
                      <a:pt x="263" y="321"/>
                    </a:cubicBezTo>
                    <a:cubicBezTo>
                      <a:pt x="263" y="321"/>
                      <a:pt x="260" y="331"/>
                      <a:pt x="242" y="318"/>
                    </a:cubicBezTo>
                    <a:cubicBezTo>
                      <a:pt x="242" y="318"/>
                      <a:pt x="227" y="311"/>
                      <a:pt x="219" y="307"/>
                    </a:cubicBezTo>
                    <a:cubicBezTo>
                      <a:pt x="219" y="307"/>
                      <a:pt x="215" y="294"/>
                      <a:pt x="185" y="299"/>
                    </a:cubicBezTo>
                    <a:cubicBezTo>
                      <a:pt x="185" y="299"/>
                      <a:pt x="175" y="302"/>
                      <a:pt x="168" y="298"/>
                    </a:cubicBezTo>
                    <a:cubicBezTo>
                      <a:pt x="162" y="292"/>
                      <a:pt x="154" y="304"/>
                      <a:pt x="150" y="284"/>
                    </a:cubicBezTo>
                    <a:cubicBezTo>
                      <a:pt x="150" y="284"/>
                      <a:pt x="152" y="273"/>
                      <a:pt x="136" y="273"/>
                    </a:cubicBezTo>
                    <a:cubicBezTo>
                      <a:pt x="136" y="273"/>
                      <a:pt x="132" y="266"/>
                      <a:pt x="126" y="260"/>
                    </a:cubicBezTo>
                    <a:cubicBezTo>
                      <a:pt x="126" y="260"/>
                      <a:pt x="120" y="250"/>
                      <a:pt x="96" y="249"/>
                    </a:cubicBezTo>
                    <a:cubicBezTo>
                      <a:pt x="96" y="249"/>
                      <a:pt x="92" y="242"/>
                      <a:pt x="84" y="240"/>
                    </a:cubicBezTo>
                    <a:cubicBezTo>
                      <a:pt x="84" y="240"/>
                      <a:pt x="85" y="222"/>
                      <a:pt x="75" y="210"/>
                    </a:cubicBezTo>
                    <a:cubicBezTo>
                      <a:pt x="75" y="210"/>
                      <a:pt x="65" y="199"/>
                      <a:pt x="74" y="188"/>
                    </a:cubicBezTo>
                    <a:cubicBezTo>
                      <a:pt x="74" y="188"/>
                      <a:pt x="87" y="187"/>
                      <a:pt x="73" y="174"/>
                    </a:cubicBezTo>
                    <a:cubicBezTo>
                      <a:pt x="73" y="174"/>
                      <a:pt x="75" y="164"/>
                      <a:pt x="58" y="161"/>
                    </a:cubicBezTo>
                    <a:cubicBezTo>
                      <a:pt x="58" y="161"/>
                      <a:pt x="58" y="149"/>
                      <a:pt x="43" y="143"/>
                    </a:cubicBezTo>
                    <a:cubicBezTo>
                      <a:pt x="43" y="143"/>
                      <a:pt x="23" y="130"/>
                      <a:pt x="36" y="128"/>
                    </a:cubicBezTo>
                    <a:cubicBezTo>
                      <a:pt x="36" y="128"/>
                      <a:pt x="40" y="115"/>
                      <a:pt x="34" y="110"/>
                    </a:cubicBezTo>
                    <a:cubicBezTo>
                      <a:pt x="34" y="110"/>
                      <a:pt x="32" y="99"/>
                      <a:pt x="24" y="99"/>
                    </a:cubicBezTo>
                    <a:cubicBezTo>
                      <a:pt x="24" y="99"/>
                      <a:pt x="15" y="101"/>
                      <a:pt x="15" y="79"/>
                    </a:cubicBezTo>
                    <a:cubicBezTo>
                      <a:pt x="15" y="79"/>
                      <a:pt x="0" y="78"/>
                      <a:pt x="0" y="63"/>
                    </a:cubicBezTo>
                    <a:cubicBezTo>
                      <a:pt x="0" y="63"/>
                      <a:pt x="5" y="58"/>
                      <a:pt x="3" y="46"/>
                    </a:cubicBezTo>
                    <a:cubicBezTo>
                      <a:pt x="3" y="46"/>
                      <a:pt x="14" y="51"/>
                      <a:pt x="22" y="38"/>
                    </a:cubicBezTo>
                    <a:cubicBezTo>
                      <a:pt x="22" y="38"/>
                      <a:pt x="34" y="28"/>
                      <a:pt x="44" y="38"/>
                    </a:cubicBezTo>
                    <a:cubicBezTo>
                      <a:pt x="44" y="38"/>
                      <a:pt x="54" y="47"/>
                      <a:pt x="76" y="38"/>
                    </a:cubicBezTo>
                    <a:cubicBezTo>
                      <a:pt x="76" y="38"/>
                      <a:pt x="87" y="41"/>
                      <a:pt x="96" y="27"/>
                    </a:cubicBezTo>
                    <a:cubicBezTo>
                      <a:pt x="96" y="27"/>
                      <a:pt x="109" y="17"/>
                      <a:pt x="109" y="9"/>
                    </a:cubicBezTo>
                    <a:cubicBezTo>
                      <a:pt x="123" y="16"/>
                      <a:pt x="126" y="9"/>
                      <a:pt x="126" y="9"/>
                    </a:cubicBezTo>
                    <a:cubicBezTo>
                      <a:pt x="132" y="2"/>
                      <a:pt x="146" y="13"/>
                      <a:pt x="146" y="13"/>
                    </a:cubicBezTo>
                    <a:cubicBezTo>
                      <a:pt x="150" y="16"/>
                      <a:pt x="175" y="12"/>
                      <a:pt x="181" y="16"/>
                    </a:cubicBezTo>
                    <a:cubicBezTo>
                      <a:pt x="198" y="20"/>
                      <a:pt x="198" y="13"/>
                      <a:pt x="198" y="13"/>
                    </a:cubicBezTo>
                    <a:cubicBezTo>
                      <a:pt x="206" y="0"/>
                      <a:pt x="214" y="13"/>
                      <a:pt x="214" y="13"/>
                    </a:cubicBezTo>
                    <a:cubicBezTo>
                      <a:pt x="224" y="22"/>
                      <a:pt x="229" y="13"/>
                      <a:pt x="229" y="13"/>
                    </a:cubicBezTo>
                    <a:cubicBezTo>
                      <a:pt x="230" y="2"/>
                      <a:pt x="246" y="3"/>
                      <a:pt x="246" y="3"/>
                    </a:cubicBezTo>
                    <a:cubicBezTo>
                      <a:pt x="245" y="27"/>
                      <a:pt x="256" y="30"/>
                      <a:pt x="256" y="30"/>
                    </a:cubicBezTo>
                    <a:cubicBezTo>
                      <a:pt x="263" y="38"/>
                      <a:pt x="264" y="52"/>
                      <a:pt x="264" y="52"/>
                    </a:cubicBezTo>
                    <a:cubicBezTo>
                      <a:pt x="271" y="49"/>
                      <a:pt x="271" y="59"/>
                      <a:pt x="271" y="59"/>
                    </a:cubicBezTo>
                    <a:cubicBezTo>
                      <a:pt x="284" y="64"/>
                      <a:pt x="274" y="68"/>
                      <a:pt x="274" y="68"/>
                    </a:cubicBezTo>
                    <a:cubicBezTo>
                      <a:pt x="269" y="79"/>
                      <a:pt x="282" y="78"/>
                      <a:pt x="282" y="78"/>
                    </a:cubicBezTo>
                    <a:cubicBezTo>
                      <a:pt x="296" y="80"/>
                      <a:pt x="303" y="71"/>
                      <a:pt x="303" y="71"/>
                    </a:cubicBezTo>
                    <a:cubicBezTo>
                      <a:pt x="315" y="64"/>
                      <a:pt x="326" y="70"/>
                      <a:pt x="326" y="70"/>
                    </a:cubicBezTo>
                    <a:cubicBezTo>
                      <a:pt x="326" y="70"/>
                      <a:pt x="326" y="70"/>
                      <a:pt x="326" y="70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30" name="Freeform 45"/>
              <p:cNvSpPr>
                <a:spLocks/>
              </p:cNvSpPr>
              <p:nvPr/>
            </p:nvSpPr>
            <p:spPr bwMode="auto">
              <a:xfrm>
                <a:off x="4581238" y="2976751"/>
                <a:ext cx="1089799" cy="921624"/>
              </a:xfrm>
              <a:custGeom>
                <a:avLst/>
                <a:gdLst>
                  <a:gd name="T0" fmla="*/ 2147483647 w 385"/>
                  <a:gd name="T1" fmla="*/ 2147483647 h 369"/>
                  <a:gd name="T2" fmla="*/ 2147483647 w 385"/>
                  <a:gd name="T3" fmla="*/ 2147483647 h 369"/>
                  <a:gd name="T4" fmla="*/ 2147483647 w 385"/>
                  <a:gd name="T5" fmla="*/ 2147483647 h 369"/>
                  <a:gd name="T6" fmla="*/ 2147483647 w 385"/>
                  <a:gd name="T7" fmla="*/ 2147483647 h 369"/>
                  <a:gd name="T8" fmla="*/ 2147483647 w 385"/>
                  <a:gd name="T9" fmla="*/ 2147483647 h 369"/>
                  <a:gd name="T10" fmla="*/ 2147483647 w 385"/>
                  <a:gd name="T11" fmla="*/ 2147483647 h 369"/>
                  <a:gd name="T12" fmla="*/ 2147483647 w 385"/>
                  <a:gd name="T13" fmla="*/ 2147483647 h 369"/>
                  <a:gd name="T14" fmla="*/ 2147483647 w 385"/>
                  <a:gd name="T15" fmla="*/ 2147483647 h 369"/>
                  <a:gd name="T16" fmla="*/ 2147483647 w 385"/>
                  <a:gd name="T17" fmla="*/ 2147483647 h 369"/>
                  <a:gd name="T18" fmla="*/ 2147483647 w 385"/>
                  <a:gd name="T19" fmla="*/ 2147483647 h 369"/>
                  <a:gd name="T20" fmla="*/ 2147483647 w 385"/>
                  <a:gd name="T21" fmla="*/ 2147483647 h 369"/>
                  <a:gd name="T22" fmla="*/ 2147483647 w 385"/>
                  <a:gd name="T23" fmla="*/ 2147483647 h 369"/>
                  <a:gd name="T24" fmla="*/ 2147483647 w 385"/>
                  <a:gd name="T25" fmla="*/ 2147483647 h 369"/>
                  <a:gd name="T26" fmla="*/ 2147483647 w 385"/>
                  <a:gd name="T27" fmla="*/ 2147483647 h 369"/>
                  <a:gd name="T28" fmla="*/ 2147483647 w 385"/>
                  <a:gd name="T29" fmla="*/ 2147483647 h 369"/>
                  <a:gd name="T30" fmla="*/ 2147483647 w 385"/>
                  <a:gd name="T31" fmla="*/ 2147483647 h 369"/>
                  <a:gd name="T32" fmla="*/ 2147483647 w 385"/>
                  <a:gd name="T33" fmla="*/ 2147483647 h 369"/>
                  <a:gd name="T34" fmla="*/ 2147483647 w 385"/>
                  <a:gd name="T35" fmla="*/ 2147483647 h 369"/>
                  <a:gd name="T36" fmla="*/ 2147483647 w 385"/>
                  <a:gd name="T37" fmla="*/ 2147483647 h 369"/>
                  <a:gd name="T38" fmla="*/ 2147483647 w 385"/>
                  <a:gd name="T39" fmla="*/ 2147483647 h 369"/>
                  <a:gd name="T40" fmla="*/ 2147483647 w 385"/>
                  <a:gd name="T41" fmla="*/ 2147483647 h 369"/>
                  <a:gd name="T42" fmla="*/ 2147483647 w 385"/>
                  <a:gd name="T43" fmla="*/ 2147483647 h 369"/>
                  <a:gd name="T44" fmla="*/ 2147483647 w 385"/>
                  <a:gd name="T45" fmla="*/ 2147483647 h 369"/>
                  <a:gd name="T46" fmla="*/ 2147483647 w 385"/>
                  <a:gd name="T47" fmla="*/ 2147483647 h 369"/>
                  <a:gd name="T48" fmla="*/ 2147483647 w 385"/>
                  <a:gd name="T49" fmla="*/ 2147483647 h 369"/>
                  <a:gd name="T50" fmla="*/ 2147483647 w 385"/>
                  <a:gd name="T51" fmla="*/ 2147483647 h 369"/>
                  <a:gd name="T52" fmla="*/ 2147483647 w 385"/>
                  <a:gd name="T53" fmla="*/ 2147483647 h 369"/>
                  <a:gd name="T54" fmla="*/ 2147483647 w 385"/>
                  <a:gd name="T55" fmla="*/ 2147483647 h 369"/>
                  <a:gd name="T56" fmla="*/ 2147483647 w 385"/>
                  <a:gd name="T57" fmla="*/ 2147483647 h 369"/>
                  <a:gd name="T58" fmla="*/ 2147483647 w 385"/>
                  <a:gd name="T59" fmla="*/ 2147483647 h 369"/>
                  <a:gd name="T60" fmla="*/ 2147483647 w 385"/>
                  <a:gd name="T61" fmla="*/ 2147483647 h 369"/>
                  <a:gd name="T62" fmla="*/ 2147483647 w 385"/>
                  <a:gd name="T63" fmla="*/ 2147483647 h 369"/>
                  <a:gd name="T64" fmla="*/ 2147483647 w 385"/>
                  <a:gd name="T65" fmla="*/ 2147483647 h 369"/>
                  <a:gd name="T66" fmla="*/ 2147483647 w 385"/>
                  <a:gd name="T67" fmla="*/ 2147483647 h 369"/>
                  <a:gd name="T68" fmla="*/ 2147483647 w 385"/>
                  <a:gd name="T69" fmla="*/ 2147483647 h 369"/>
                  <a:gd name="T70" fmla="*/ 2147483647 w 385"/>
                  <a:gd name="T71" fmla="*/ 2147483647 h 369"/>
                  <a:gd name="T72" fmla="*/ 2147483647 w 385"/>
                  <a:gd name="T73" fmla="*/ 2147483647 h 369"/>
                  <a:gd name="T74" fmla="*/ 2147483647 w 385"/>
                  <a:gd name="T75" fmla="*/ 2147483647 h 369"/>
                  <a:gd name="T76" fmla="*/ 2147483647 w 385"/>
                  <a:gd name="T77" fmla="*/ 2147483647 h 369"/>
                  <a:gd name="T78" fmla="*/ 2147483647 w 385"/>
                  <a:gd name="T79" fmla="*/ 2147483647 h 369"/>
                  <a:gd name="T80" fmla="*/ 2147483647 w 385"/>
                  <a:gd name="T81" fmla="*/ 2147483647 h 369"/>
                  <a:gd name="T82" fmla="*/ 2147483647 w 385"/>
                  <a:gd name="T83" fmla="*/ 2147483647 h 369"/>
                  <a:gd name="T84" fmla="*/ 2147483647 w 385"/>
                  <a:gd name="T85" fmla="*/ 2147483647 h 369"/>
                  <a:gd name="T86" fmla="*/ 2147483647 w 385"/>
                  <a:gd name="T87" fmla="*/ 2147483647 h 369"/>
                  <a:gd name="T88" fmla="*/ 2147483647 w 385"/>
                  <a:gd name="T89" fmla="*/ 2147483647 h 369"/>
                  <a:gd name="T90" fmla="*/ 2147483647 w 385"/>
                  <a:gd name="T91" fmla="*/ 2147483647 h 369"/>
                  <a:gd name="T92" fmla="*/ 2147483647 w 385"/>
                  <a:gd name="T93" fmla="*/ 2147483647 h 369"/>
                  <a:gd name="T94" fmla="*/ 2147483647 w 385"/>
                  <a:gd name="T95" fmla="*/ 2147483647 h 369"/>
                  <a:gd name="T96" fmla="*/ 2147483647 w 385"/>
                  <a:gd name="T97" fmla="*/ 2147483647 h 369"/>
                  <a:gd name="T98" fmla="*/ 2147483647 w 385"/>
                  <a:gd name="T99" fmla="*/ 2147483647 h 369"/>
                  <a:gd name="T100" fmla="*/ 2147483647 w 385"/>
                  <a:gd name="T101" fmla="*/ 2147483647 h 369"/>
                  <a:gd name="T102" fmla="*/ 2147483647 w 385"/>
                  <a:gd name="T103" fmla="*/ 2147483647 h 369"/>
                  <a:gd name="T104" fmla="*/ 2147483647 w 385"/>
                  <a:gd name="T105" fmla="*/ 2147483647 h 369"/>
                  <a:gd name="T106" fmla="*/ 2147483647 w 385"/>
                  <a:gd name="T107" fmla="*/ 2147483647 h 369"/>
                  <a:gd name="T108" fmla="*/ 2147483647 w 385"/>
                  <a:gd name="T109" fmla="*/ 2147483647 h 369"/>
                  <a:gd name="T110" fmla="*/ 2147483647 w 385"/>
                  <a:gd name="T111" fmla="*/ 2147483647 h 369"/>
                  <a:gd name="T112" fmla="*/ 2147483647 w 385"/>
                  <a:gd name="T113" fmla="*/ 2147483647 h 369"/>
                  <a:gd name="T114" fmla="*/ 2147483647 w 385"/>
                  <a:gd name="T115" fmla="*/ 2147483647 h 369"/>
                  <a:gd name="T116" fmla="*/ 2147483647 w 385"/>
                  <a:gd name="T117" fmla="*/ 2147483647 h 369"/>
                  <a:gd name="T118" fmla="*/ 2147483647 w 385"/>
                  <a:gd name="T119" fmla="*/ 2147483647 h 369"/>
                  <a:gd name="T120" fmla="*/ 2147483647 w 385"/>
                  <a:gd name="T121" fmla="*/ 2147483647 h 369"/>
                  <a:gd name="T122" fmla="*/ 2147483647 w 385"/>
                  <a:gd name="T123" fmla="*/ 2147483647 h 369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385"/>
                  <a:gd name="T187" fmla="*/ 0 h 369"/>
                  <a:gd name="T188" fmla="*/ 385 w 385"/>
                  <a:gd name="T189" fmla="*/ 369 h 369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385" h="369">
                    <a:moveTo>
                      <a:pt x="102" y="33"/>
                    </a:moveTo>
                    <a:cubicBezTo>
                      <a:pt x="102" y="47"/>
                      <a:pt x="83" y="39"/>
                      <a:pt x="79" y="45"/>
                    </a:cubicBezTo>
                    <a:cubicBezTo>
                      <a:pt x="75" y="39"/>
                      <a:pt x="54" y="46"/>
                      <a:pt x="51" y="61"/>
                    </a:cubicBezTo>
                    <a:cubicBezTo>
                      <a:pt x="51" y="61"/>
                      <a:pt x="37" y="57"/>
                      <a:pt x="32" y="69"/>
                    </a:cubicBezTo>
                    <a:cubicBezTo>
                      <a:pt x="32" y="69"/>
                      <a:pt x="21" y="68"/>
                      <a:pt x="14" y="77"/>
                    </a:cubicBezTo>
                    <a:cubicBezTo>
                      <a:pt x="17" y="91"/>
                      <a:pt x="12" y="100"/>
                      <a:pt x="12" y="100"/>
                    </a:cubicBezTo>
                    <a:cubicBezTo>
                      <a:pt x="0" y="116"/>
                      <a:pt x="15" y="120"/>
                      <a:pt x="15" y="120"/>
                    </a:cubicBezTo>
                    <a:cubicBezTo>
                      <a:pt x="19" y="127"/>
                      <a:pt x="28" y="118"/>
                      <a:pt x="37" y="131"/>
                    </a:cubicBezTo>
                    <a:cubicBezTo>
                      <a:pt x="57" y="130"/>
                      <a:pt x="51" y="145"/>
                      <a:pt x="51" y="145"/>
                    </a:cubicBezTo>
                    <a:cubicBezTo>
                      <a:pt x="56" y="166"/>
                      <a:pt x="71" y="160"/>
                      <a:pt x="71" y="160"/>
                    </a:cubicBezTo>
                    <a:cubicBezTo>
                      <a:pt x="81" y="154"/>
                      <a:pt x="81" y="168"/>
                      <a:pt x="81" y="168"/>
                    </a:cubicBezTo>
                    <a:cubicBezTo>
                      <a:pt x="88" y="195"/>
                      <a:pt x="78" y="193"/>
                      <a:pt x="78" y="193"/>
                    </a:cubicBezTo>
                    <a:cubicBezTo>
                      <a:pt x="63" y="191"/>
                      <a:pt x="71" y="206"/>
                      <a:pt x="71" y="206"/>
                    </a:cubicBezTo>
                    <a:cubicBezTo>
                      <a:pt x="80" y="211"/>
                      <a:pt x="68" y="224"/>
                      <a:pt x="68" y="224"/>
                    </a:cubicBezTo>
                    <a:cubicBezTo>
                      <a:pt x="61" y="232"/>
                      <a:pt x="47" y="229"/>
                      <a:pt x="47" y="229"/>
                    </a:cubicBezTo>
                    <a:cubicBezTo>
                      <a:pt x="17" y="219"/>
                      <a:pt x="31" y="254"/>
                      <a:pt x="31" y="254"/>
                    </a:cubicBezTo>
                    <a:cubicBezTo>
                      <a:pt x="33" y="259"/>
                      <a:pt x="54" y="250"/>
                      <a:pt x="64" y="265"/>
                    </a:cubicBezTo>
                    <a:cubicBezTo>
                      <a:pt x="82" y="281"/>
                      <a:pt x="90" y="290"/>
                      <a:pt x="102" y="287"/>
                    </a:cubicBezTo>
                    <a:cubicBezTo>
                      <a:pt x="116" y="289"/>
                      <a:pt x="132" y="287"/>
                      <a:pt x="132" y="287"/>
                    </a:cubicBezTo>
                    <a:cubicBezTo>
                      <a:pt x="159" y="271"/>
                      <a:pt x="157" y="303"/>
                      <a:pt x="157" y="303"/>
                    </a:cubicBezTo>
                    <a:cubicBezTo>
                      <a:pt x="180" y="313"/>
                      <a:pt x="175" y="321"/>
                      <a:pt x="175" y="321"/>
                    </a:cubicBezTo>
                    <a:cubicBezTo>
                      <a:pt x="178" y="332"/>
                      <a:pt x="185" y="333"/>
                      <a:pt x="185" y="333"/>
                    </a:cubicBezTo>
                    <a:cubicBezTo>
                      <a:pt x="197" y="338"/>
                      <a:pt x="195" y="349"/>
                      <a:pt x="195" y="349"/>
                    </a:cubicBezTo>
                    <a:cubicBezTo>
                      <a:pt x="197" y="369"/>
                      <a:pt x="208" y="349"/>
                      <a:pt x="208" y="349"/>
                    </a:cubicBezTo>
                    <a:cubicBezTo>
                      <a:pt x="215" y="330"/>
                      <a:pt x="228" y="339"/>
                      <a:pt x="228" y="339"/>
                    </a:cubicBezTo>
                    <a:cubicBezTo>
                      <a:pt x="230" y="348"/>
                      <a:pt x="245" y="338"/>
                      <a:pt x="245" y="338"/>
                    </a:cubicBezTo>
                    <a:cubicBezTo>
                      <a:pt x="248" y="321"/>
                      <a:pt x="240" y="325"/>
                      <a:pt x="241" y="316"/>
                    </a:cubicBezTo>
                    <a:cubicBezTo>
                      <a:pt x="241" y="316"/>
                      <a:pt x="239" y="303"/>
                      <a:pt x="254" y="310"/>
                    </a:cubicBezTo>
                    <a:cubicBezTo>
                      <a:pt x="259" y="313"/>
                      <a:pt x="260" y="304"/>
                      <a:pt x="263" y="303"/>
                    </a:cubicBezTo>
                    <a:cubicBezTo>
                      <a:pt x="263" y="303"/>
                      <a:pt x="270" y="309"/>
                      <a:pt x="278" y="309"/>
                    </a:cubicBezTo>
                    <a:cubicBezTo>
                      <a:pt x="278" y="309"/>
                      <a:pt x="273" y="303"/>
                      <a:pt x="284" y="298"/>
                    </a:cubicBezTo>
                    <a:cubicBezTo>
                      <a:pt x="284" y="298"/>
                      <a:pt x="290" y="292"/>
                      <a:pt x="296" y="299"/>
                    </a:cubicBezTo>
                    <a:cubicBezTo>
                      <a:pt x="296" y="299"/>
                      <a:pt x="291" y="288"/>
                      <a:pt x="304" y="282"/>
                    </a:cubicBezTo>
                    <a:cubicBezTo>
                      <a:pt x="304" y="282"/>
                      <a:pt x="316" y="278"/>
                      <a:pt x="310" y="267"/>
                    </a:cubicBezTo>
                    <a:cubicBezTo>
                      <a:pt x="310" y="267"/>
                      <a:pt x="310" y="259"/>
                      <a:pt x="328" y="245"/>
                    </a:cubicBezTo>
                    <a:cubicBezTo>
                      <a:pt x="328" y="245"/>
                      <a:pt x="343" y="240"/>
                      <a:pt x="343" y="231"/>
                    </a:cubicBezTo>
                    <a:cubicBezTo>
                      <a:pt x="343" y="224"/>
                      <a:pt x="329" y="232"/>
                      <a:pt x="332" y="226"/>
                    </a:cubicBezTo>
                    <a:cubicBezTo>
                      <a:pt x="332" y="226"/>
                      <a:pt x="337" y="212"/>
                      <a:pt x="348" y="221"/>
                    </a:cubicBezTo>
                    <a:cubicBezTo>
                      <a:pt x="348" y="221"/>
                      <a:pt x="364" y="223"/>
                      <a:pt x="371" y="218"/>
                    </a:cubicBezTo>
                    <a:cubicBezTo>
                      <a:pt x="371" y="218"/>
                      <a:pt x="383" y="203"/>
                      <a:pt x="373" y="200"/>
                    </a:cubicBezTo>
                    <a:cubicBezTo>
                      <a:pt x="373" y="200"/>
                      <a:pt x="368" y="193"/>
                      <a:pt x="373" y="169"/>
                    </a:cubicBezTo>
                    <a:cubicBezTo>
                      <a:pt x="373" y="169"/>
                      <a:pt x="382" y="163"/>
                      <a:pt x="376" y="153"/>
                    </a:cubicBezTo>
                    <a:cubicBezTo>
                      <a:pt x="369" y="142"/>
                      <a:pt x="385" y="141"/>
                      <a:pt x="380" y="134"/>
                    </a:cubicBezTo>
                    <a:cubicBezTo>
                      <a:pt x="380" y="134"/>
                      <a:pt x="373" y="128"/>
                      <a:pt x="377" y="120"/>
                    </a:cubicBezTo>
                    <a:cubicBezTo>
                      <a:pt x="381" y="118"/>
                      <a:pt x="376" y="110"/>
                      <a:pt x="384" y="103"/>
                    </a:cubicBezTo>
                    <a:cubicBezTo>
                      <a:pt x="384" y="103"/>
                      <a:pt x="376" y="96"/>
                      <a:pt x="381" y="87"/>
                    </a:cubicBezTo>
                    <a:cubicBezTo>
                      <a:pt x="376" y="87"/>
                      <a:pt x="374" y="80"/>
                      <a:pt x="374" y="80"/>
                    </a:cubicBezTo>
                    <a:cubicBezTo>
                      <a:pt x="363" y="63"/>
                      <a:pt x="346" y="65"/>
                      <a:pt x="346" y="65"/>
                    </a:cubicBezTo>
                    <a:cubicBezTo>
                      <a:pt x="336" y="46"/>
                      <a:pt x="328" y="41"/>
                      <a:pt x="328" y="41"/>
                    </a:cubicBezTo>
                    <a:cubicBezTo>
                      <a:pt x="330" y="17"/>
                      <a:pt x="318" y="21"/>
                      <a:pt x="318" y="21"/>
                    </a:cubicBezTo>
                    <a:cubicBezTo>
                      <a:pt x="307" y="17"/>
                      <a:pt x="308" y="8"/>
                      <a:pt x="308" y="8"/>
                    </a:cubicBezTo>
                    <a:cubicBezTo>
                      <a:pt x="307" y="0"/>
                      <a:pt x="292" y="3"/>
                      <a:pt x="292" y="3"/>
                    </a:cubicBezTo>
                    <a:cubicBezTo>
                      <a:pt x="270" y="28"/>
                      <a:pt x="259" y="22"/>
                      <a:pt x="259" y="22"/>
                    </a:cubicBezTo>
                    <a:cubicBezTo>
                      <a:pt x="241" y="19"/>
                      <a:pt x="230" y="35"/>
                      <a:pt x="230" y="35"/>
                    </a:cubicBezTo>
                    <a:cubicBezTo>
                      <a:pt x="216" y="39"/>
                      <a:pt x="219" y="45"/>
                      <a:pt x="219" y="45"/>
                    </a:cubicBezTo>
                    <a:cubicBezTo>
                      <a:pt x="208" y="57"/>
                      <a:pt x="203" y="45"/>
                      <a:pt x="203" y="45"/>
                    </a:cubicBezTo>
                    <a:cubicBezTo>
                      <a:pt x="192" y="24"/>
                      <a:pt x="184" y="39"/>
                      <a:pt x="184" y="39"/>
                    </a:cubicBezTo>
                    <a:cubicBezTo>
                      <a:pt x="173" y="46"/>
                      <a:pt x="166" y="30"/>
                      <a:pt x="166" y="30"/>
                    </a:cubicBezTo>
                    <a:cubicBezTo>
                      <a:pt x="157" y="10"/>
                      <a:pt x="141" y="14"/>
                      <a:pt x="141" y="14"/>
                    </a:cubicBezTo>
                    <a:cubicBezTo>
                      <a:pt x="118" y="12"/>
                      <a:pt x="112" y="25"/>
                      <a:pt x="112" y="25"/>
                    </a:cubicBezTo>
                    <a:cubicBezTo>
                      <a:pt x="109" y="32"/>
                      <a:pt x="105" y="33"/>
                      <a:pt x="102" y="33"/>
                    </a:cubicBezTo>
                    <a:cubicBezTo>
                      <a:pt x="102" y="33"/>
                      <a:pt x="102" y="33"/>
                      <a:pt x="102" y="33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31" name="Freeform 44"/>
              <p:cNvSpPr>
                <a:spLocks/>
              </p:cNvSpPr>
              <p:nvPr/>
            </p:nvSpPr>
            <p:spPr bwMode="auto">
              <a:xfrm>
                <a:off x="5623192" y="3119355"/>
                <a:ext cx="818679" cy="974659"/>
              </a:xfrm>
              <a:custGeom>
                <a:avLst/>
                <a:gdLst>
                  <a:gd name="T0" fmla="*/ 2147483647 w 289"/>
                  <a:gd name="T1" fmla="*/ 2147483647 h 390"/>
                  <a:gd name="T2" fmla="*/ 2147483647 w 289"/>
                  <a:gd name="T3" fmla="*/ 2147483647 h 390"/>
                  <a:gd name="T4" fmla="*/ 2147483647 w 289"/>
                  <a:gd name="T5" fmla="*/ 2147483647 h 390"/>
                  <a:gd name="T6" fmla="*/ 2147483647 w 289"/>
                  <a:gd name="T7" fmla="*/ 2147483647 h 390"/>
                  <a:gd name="T8" fmla="*/ 2147483647 w 289"/>
                  <a:gd name="T9" fmla="*/ 2147483647 h 390"/>
                  <a:gd name="T10" fmla="*/ 2147483647 w 289"/>
                  <a:gd name="T11" fmla="*/ 2147483647 h 390"/>
                  <a:gd name="T12" fmla="*/ 2147483647 w 289"/>
                  <a:gd name="T13" fmla="*/ 2147483647 h 390"/>
                  <a:gd name="T14" fmla="*/ 2147483647 w 289"/>
                  <a:gd name="T15" fmla="*/ 2147483647 h 390"/>
                  <a:gd name="T16" fmla="*/ 2147483647 w 289"/>
                  <a:gd name="T17" fmla="*/ 2147483647 h 390"/>
                  <a:gd name="T18" fmla="*/ 2147483647 w 289"/>
                  <a:gd name="T19" fmla="*/ 2147483647 h 390"/>
                  <a:gd name="T20" fmla="*/ 2147483647 w 289"/>
                  <a:gd name="T21" fmla="*/ 2147483647 h 390"/>
                  <a:gd name="T22" fmla="*/ 2147483647 w 289"/>
                  <a:gd name="T23" fmla="*/ 2147483647 h 390"/>
                  <a:gd name="T24" fmla="*/ 2147483647 w 289"/>
                  <a:gd name="T25" fmla="*/ 2147483647 h 390"/>
                  <a:gd name="T26" fmla="*/ 2147483647 w 289"/>
                  <a:gd name="T27" fmla="*/ 2147483647 h 390"/>
                  <a:gd name="T28" fmla="*/ 2147483647 w 289"/>
                  <a:gd name="T29" fmla="*/ 2147483647 h 390"/>
                  <a:gd name="T30" fmla="*/ 2147483647 w 289"/>
                  <a:gd name="T31" fmla="*/ 2147483647 h 390"/>
                  <a:gd name="T32" fmla="*/ 2147483647 w 289"/>
                  <a:gd name="T33" fmla="*/ 2147483647 h 390"/>
                  <a:gd name="T34" fmla="*/ 2147483647 w 289"/>
                  <a:gd name="T35" fmla="*/ 2147483647 h 390"/>
                  <a:gd name="T36" fmla="*/ 2147483647 w 289"/>
                  <a:gd name="T37" fmla="*/ 2147483647 h 390"/>
                  <a:gd name="T38" fmla="*/ 2147483647 w 289"/>
                  <a:gd name="T39" fmla="*/ 2147483647 h 390"/>
                  <a:gd name="T40" fmla="*/ 2147483647 w 289"/>
                  <a:gd name="T41" fmla="*/ 2147483647 h 390"/>
                  <a:gd name="T42" fmla="*/ 2147483647 w 289"/>
                  <a:gd name="T43" fmla="*/ 2147483647 h 390"/>
                  <a:gd name="T44" fmla="*/ 2147483647 w 289"/>
                  <a:gd name="T45" fmla="*/ 2147483647 h 390"/>
                  <a:gd name="T46" fmla="*/ 2147483647 w 289"/>
                  <a:gd name="T47" fmla="*/ 2147483647 h 390"/>
                  <a:gd name="T48" fmla="*/ 2147483647 w 289"/>
                  <a:gd name="T49" fmla="*/ 2147483647 h 390"/>
                  <a:gd name="T50" fmla="*/ 2147483647 w 289"/>
                  <a:gd name="T51" fmla="*/ 2147483647 h 390"/>
                  <a:gd name="T52" fmla="*/ 2147483647 w 289"/>
                  <a:gd name="T53" fmla="*/ 2147483647 h 390"/>
                  <a:gd name="T54" fmla="*/ 2147483647 w 289"/>
                  <a:gd name="T55" fmla="*/ 2147483647 h 390"/>
                  <a:gd name="T56" fmla="*/ 2147483647 w 289"/>
                  <a:gd name="T57" fmla="*/ 2147483647 h 390"/>
                  <a:gd name="T58" fmla="*/ 2147483647 w 289"/>
                  <a:gd name="T59" fmla="*/ 2147483647 h 390"/>
                  <a:gd name="T60" fmla="*/ 2147483647 w 289"/>
                  <a:gd name="T61" fmla="*/ 2147483647 h 390"/>
                  <a:gd name="T62" fmla="*/ 2147483647 w 289"/>
                  <a:gd name="T63" fmla="*/ 2147483647 h 390"/>
                  <a:gd name="T64" fmla="*/ 2147483647 w 289"/>
                  <a:gd name="T65" fmla="*/ 2147483647 h 390"/>
                  <a:gd name="T66" fmla="*/ 2147483647 w 289"/>
                  <a:gd name="T67" fmla="*/ 2147483647 h 390"/>
                  <a:gd name="T68" fmla="*/ 2147483647 w 289"/>
                  <a:gd name="T69" fmla="*/ 2147483647 h 390"/>
                  <a:gd name="T70" fmla="*/ 2147483647 w 289"/>
                  <a:gd name="T71" fmla="*/ 2147483647 h 390"/>
                  <a:gd name="T72" fmla="*/ 2147483647 w 289"/>
                  <a:gd name="T73" fmla="*/ 2147483647 h 390"/>
                  <a:gd name="T74" fmla="*/ 2147483647 w 289"/>
                  <a:gd name="T75" fmla="*/ 2147483647 h 390"/>
                  <a:gd name="T76" fmla="*/ 2147483647 w 289"/>
                  <a:gd name="T77" fmla="*/ 2147483647 h 390"/>
                  <a:gd name="T78" fmla="*/ 2147483647 w 289"/>
                  <a:gd name="T79" fmla="*/ 2147483647 h 390"/>
                  <a:gd name="T80" fmla="*/ 2147483647 w 289"/>
                  <a:gd name="T81" fmla="*/ 2147483647 h 390"/>
                  <a:gd name="T82" fmla="*/ 2147483647 w 289"/>
                  <a:gd name="T83" fmla="*/ 2147483647 h 390"/>
                  <a:gd name="T84" fmla="*/ 2147483647 w 289"/>
                  <a:gd name="T85" fmla="*/ 2147483647 h 390"/>
                  <a:gd name="T86" fmla="*/ 2147483647 w 289"/>
                  <a:gd name="T87" fmla="*/ 2147483647 h 390"/>
                  <a:gd name="T88" fmla="*/ 2147483647 w 289"/>
                  <a:gd name="T89" fmla="*/ 2147483647 h 390"/>
                  <a:gd name="T90" fmla="*/ 2147483647 w 289"/>
                  <a:gd name="T91" fmla="*/ 2147483647 h 390"/>
                  <a:gd name="T92" fmla="*/ 2147483647 w 289"/>
                  <a:gd name="T93" fmla="*/ 2147483647 h 390"/>
                  <a:gd name="T94" fmla="*/ 2147483647 w 289"/>
                  <a:gd name="T95" fmla="*/ 2147483647 h 390"/>
                  <a:gd name="T96" fmla="*/ 2147483647 w 289"/>
                  <a:gd name="T97" fmla="*/ 2147483647 h 390"/>
                  <a:gd name="T98" fmla="*/ 2147483647 w 289"/>
                  <a:gd name="T99" fmla="*/ 2147483647 h 390"/>
                  <a:gd name="T100" fmla="*/ 2147483647 w 289"/>
                  <a:gd name="T101" fmla="*/ 2147483647 h 390"/>
                  <a:gd name="T102" fmla="*/ 2147483647 w 289"/>
                  <a:gd name="T103" fmla="*/ 2147483647 h 390"/>
                  <a:gd name="T104" fmla="*/ 2147483647 w 289"/>
                  <a:gd name="T105" fmla="*/ 2147483647 h 390"/>
                  <a:gd name="T106" fmla="*/ 2147483647 w 289"/>
                  <a:gd name="T107" fmla="*/ 2147483647 h 390"/>
                  <a:gd name="T108" fmla="*/ 2147483647 w 289"/>
                  <a:gd name="T109" fmla="*/ 2147483647 h 390"/>
                  <a:gd name="T110" fmla="*/ 2147483647 w 289"/>
                  <a:gd name="T111" fmla="*/ 2147483647 h 390"/>
                  <a:gd name="T112" fmla="*/ 2147483647 w 289"/>
                  <a:gd name="T113" fmla="*/ 2147483647 h 390"/>
                  <a:gd name="T114" fmla="*/ 2147483647 w 289"/>
                  <a:gd name="T115" fmla="*/ 2147483647 h 390"/>
                  <a:gd name="T116" fmla="*/ 2147483647 w 289"/>
                  <a:gd name="T117" fmla="*/ 2147483647 h 390"/>
                  <a:gd name="T118" fmla="*/ 2147483647 w 289"/>
                  <a:gd name="T119" fmla="*/ 2147483647 h 390"/>
                  <a:gd name="T120" fmla="*/ 2147483647 w 289"/>
                  <a:gd name="T121" fmla="*/ 2147483647 h 390"/>
                  <a:gd name="T122" fmla="*/ 2147483647 w 289"/>
                  <a:gd name="T123" fmla="*/ 2147483647 h 390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289"/>
                  <a:gd name="T187" fmla="*/ 0 h 390"/>
                  <a:gd name="T188" fmla="*/ 289 w 289"/>
                  <a:gd name="T189" fmla="*/ 390 h 390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289" h="390">
                    <a:moveTo>
                      <a:pt x="4" y="161"/>
                    </a:moveTo>
                    <a:cubicBezTo>
                      <a:pt x="4" y="161"/>
                      <a:pt x="15" y="146"/>
                      <a:pt x="5" y="143"/>
                    </a:cubicBezTo>
                    <a:cubicBezTo>
                      <a:pt x="5" y="143"/>
                      <a:pt x="0" y="136"/>
                      <a:pt x="5" y="112"/>
                    </a:cubicBezTo>
                    <a:cubicBezTo>
                      <a:pt x="5" y="112"/>
                      <a:pt x="14" y="106"/>
                      <a:pt x="8" y="96"/>
                    </a:cubicBezTo>
                    <a:cubicBezTo>
                      <a:pt x="1" y="85"/>
                      <a:pt x="17" y="84"/>
                      <a:pt x="12" y="77"/>
                    </a:cubicBezTo>
                    <a:cubicBezTo>
                      <a:pt x="12" y="77"/>
                      <a:pt x="5" y="71"/>
                      <a:pt x="9" y="63"/>
                    </a:cubicBezTo>
                    <a:cubicBezTo>
                      <a:pt x="13" y="61"/>
                      <a:pt x="8" y="53"/>
                      <a:pt x="16" y="46"/>
                    </a:cubicBezTo>
                    <a:cubicBezTo>
                      <a:pt x="16" y="46"/>
                      <a:pt x="8" y="39"/>
                      <a:pt x="13" y="30"/>
                    </a:cubicBezTo>
                    <a:cubicBezTo>
                      <a:pt x="16" y="31"/>
                      <a:pt x="18" y="30"/>
                      <a:pt x="20" y="29"/>
                    </a:cubicBezTo>
                    <a:cubicBezTo>
                      <a:pt x="20" y="29"/>
                      <a:pt x="31" y="32"/>
                      <a:pt x="30" y="15"/>
                    </a:cubicBezTo>
                    <a:cubicBezTo>
                      <a:pt x="30" y="15"/>
                      <a:pt x="25" y="1"/>
                      <a:pt x="38" y="2"/>
                    </a:cubicBezTo>
                    <a:cubicBezTo>
                      <a:pt x="49" y="0"/>
                      <a:pt x="44" y="11"/>
                      <a:pt x="56" y="15"/>
                    </a:cubicBezTo>
                    <a:cubicBezTo>
                      <a:pt x="56" y="15"/>
                      <a:pt x="67" y="21"/>
                      <a:pt x="73" y="17"/>
                    </a:cubicBezTo>
                    <a:cubicBezTo>
                      <a:pt x="73" y="17"/>
                      <a:pt x="87" y="11"/>
                      <a:pt x="96" y="26"/>
                    </a:cubicBezTo>
                    <a:cubicBezTo>
                      <a:pt x="96" y="26"/>
                      <a:pt x="115" y="28"/>
                      <a:pt x="115" y="33"/>
                    </a:cubicBezTo>
                    <a:cubicBezTo>
                      <a:pt x="115" y="33"/>
                      <a:pt x="126" y="47"/>
                      <a:pt x="137" y="33"/>
                    </a:cubicBezTo>
                    <a:cubicBezTo>
                      <a:pt x="137" y="33"/>
                      <a:pt x="145" y="8"/>
                      <a:pt x="155" y="36"/>
                    </a:cubicBezTo>
                    <a:cubicBezTo>
                      <a:pt x="155" y="36"/>
                      <a:pt x="160" y="52"/>
                      <a:pt x="176" y="45"/>
                    </a:cubicBezTo>
                    <a:cubicBezTo>
                      <a:pt x="176" y="45"/>
                      <a:pt x="181" y="39"/>
                      <a:pt x="192" y="46"/>
                    </a:cubicBezTo>
                    <a:cubicBezTo>
                      <a:pt x="192" y="46"/>
                      <a:pt x="203" y="43"/>
                      <a:pt x="201" y="56"/>
                    </a:cubicBezTo>
                    <a:cubicBezTo>
                      <a:pt x="201" y="56"/>
                      <a:pt x="204" y="70"/>
                      <a:pt x="221" y="67"/>
                    </a:cubicBezTo>
                    <a:cubicBezTo>
                      <a:pt x="221" y="67"/>
                      <a:pt x="226" y="81"/>
                      <a:pt x="242" y="68"/>
                    </a:cubicBezTo>
                    <a:cubicBezTo>
                      <a:pt x="242" y="68"/>
                      <a:pt x="245" y="57"/>
                      <a:pt x="260" y="58"/>
                    </a:cubicBezTo>
                    <a:cubicBezTo>
                      <a:pt x="260" y="58"/>
                      <a:pt x="276" y="61"/>
                      <a:pt x="261" y="72"/>
                    </a:cubicBezTo>
                    <a:cubicBezTo>
                      <a:pt x="261" y="72"/>
                      <a:pt x="245" y="77"/>
                      <a:pt x="265" y="98"/>
                    </a:cubicBezTo>
                    <a:cubicBezTo>
                      <a:pt x="265" y="98"/>
                      <a:pt x="288" y="117"/>
                      <a:pt x="258" y="146"/>
                    </a:cubicBezTo>
                    <a:cubicBezTo>
                      <a:pt x="255" y="170"/>
                      <a:pt x="240" y="158"/>
                      <a:pt x="235" y="165"/>
                    </a:cubicBezTo>
                    <a:cubicBezTo>
                      <a:pt x="235" y="165"/>
                      <a:pt x="219" y="168"/>
                      <a:pt x="232" y="183"/>
                    </a:cubicBezTo>
                    <a:cubicBezTo>
                      <a:pt x="232" y="183"/>
                      <a:pt x="231" y="194"/>
                      <a:pt x="251" y="191"/>
                    </a:cubicBezTo>
                    <a:cubicBezTo>
                      <a:pt x="251" y="191"/>
                      <a:pt x="257" y="191"/>
                      <a:pt x="262" y="195"/>
                    </a:cubicBezTo>
                    <a:cubicBezTo>
                      <a:pt x="273" y="181"/>
                      <a:pt x="280" y="194"/>
                      <a:pt x="269" y="202"/>
                    </a:cubicBezTo>
                    <a:cubicBezTo>
                      <a:pt x="269" y="202"/>
                      <a:pt x="272" y="209"/>
                      <a:pt x="254" y="205"/>
                    </a:cubicBezTo>
                    <a:cubicBezTo>
                      <a:pt x="254" y="205"/>
                      <a:pt x="245" y="197"/>
                      <a:pt x="236" y="213"/>
                    </a:cubicBezTo>
                    <a:cubicBezTo>
                      <a:pt x="236" y="213"/>
                      <a:pt x="232" y="224"/>
                      <a:pt x="232" y="238"/>
                    </a:cubicBezTo>
                    <a:cubicBezTo>
                      <a:pt x="232" y="238"/>
                      <a:pt x="226" y="252"/>
                      <a:pt x="243" y="249"/>
                    </a:cubicBezTo>
                    <a:cubicBezTo>
                      <a:pt x="243" y="249"/>
                      <a:pt x="259" y="244"/>
                      <a:pt x="259" y="268"/>
                    </a:cubicBezTo>
                    <a:cubicBezTo>
                      <a:pt x="259" y="268"/>
                      <a:pt x="271" y="285"/>
                      <a:pt x="265" y="290"/>
                    </a:cubicBezTo>
                    <a:cubicBezTo>
                      <a:pt x="265" y="290"/>
                      <a:pt x="252" y="294"/>
                      <a:pt x="269" y="297"/>
                    </a:cubicBezTo>
                    <a:cubicBezTo>
                      <a:pt x="269" y="297"/>
                      <a:pt x="289" y="289"/>
                      <a:pt x="269" y="319"/>
                    </a:cubicBezTo>
                    <a:cubicBezTo>
                      <a:pt x="269" y="319"/>
                      <a:pt x="262" y="334"/>
                      <a:pt x="262" y="364"/>
                    </a:cubicBezTo>
                    <a:cubicBezTo>
                      <a:pt x="263" y="387"/>
                      <a:pt x="265" y="385"/>
                      <a:pt x="247" y="386"/>
                    </a:cubicBezTo>
                    <a:cubicBezTo>
                      <a:pt x="247" y="386"/>
                      <a:pt x="223" y="383"/>
                      <a:pt x="194" y="389"/>
                    </a:cubicBezTo>
                    <a:cubicBezTo>
                      <a:pt x="194" y="389"/>
                      <a:pt x="185" y="390"/>
                      <a:pt x="170" y="390"/>
                    </a:cubicBezTo>
                    <a:cubicBezTo>
                      <a:pt x="170" y="390"/>
                      <a:pt x="170" y="390"/>
                      <a:pt x="170" y="390"/>
                    </a:cubicBezTo>
                    <a:cubicBezTo>
                      <a:pt x="170" y="378"/>
                      <a:pt x="170" y="378"/>
                      <a:pt x="170" y="378"/>
                    </a:cubicBezTo>
                    <a:cubicBezTo>
                      <a:pt x="170" y="378"/>
                      <a:pt x="170" y="378"/>
                      <a:pt x="170" y="378"/>
                    </a:cubicBezTo>
                    <a:cubicBezTo>
                      <a:pt x="170" y="378"/>
                      <a:pt x="174" y="363"/>
                      <a:pt x="154" y="362"/>
                    </a:cubicBezTo>
                    <a:cubicBezTo>
                      <a:pt x="154" y="362"/>
                      <a:pt x="141" y="367"/>
                      <a:pt x="137" y="356"/>
                    </a:cubicBezTo>
                    <a:cubicBezTo>
                      <a:pt x="137" y="356"/>
                      <a:pt x="147" y="348"/>
                      <a:pt x="111" y="343"/>
                    </a:cubicBezTo>
                    <a:cubicBezTo>
                      <a:pt x="111" y="343"/>
                      <a:pt x="115" y="327"/>
                      <a:pt x="89" y="304"/>
                    </a:cubicBezTo>
                    <a:cubicBezTo>
                      <a:pt x="89" y="304"/>
                      <a:pt x="91" y="296"/>
                      <a:pt x="73" y="295"/>
                    </a:cubicBezTo>
                    <a:cubicBezTo>
                      <a:pt x="74" y="279"/>
                      <a:pt x="63" y="285"/>
                      <a:pt x="64" y="272"/>
                    </a:cubicBezTo>
                    <a:cubicBezTo>
                      <a:pt x="64" y="272"/>
                      <a:pt x="56" y="268"/>
                      <a:pt x="62" y="251"/>
                    </a:cubicBezTo>
                    <a:cubicBezTo>
                      <a:pt x="69" y="247"/>
                      <a:pt x="56" y="243"/>
                      <a:pt x="60" y="238"/>
                    </a:cubicBezTo>
                    <a:cubicBezTo>
                      <a:pt x="60" y="238"/>
                      <a:pt x="72" y="236"/>
                      <a:pt x="53" y="222"/>
                    </a:cubicBezTo>
                    <a:cubicBezTo>
                      <a:pt x="53" y="222"/>
                      <a:pt x="56" y="209"/>
                      <a:pt x="39" y="209"/>
                    </a:cubicBezTo>
                    <a:cubicBezTo>
                      <a:pt x="39" y="209"/>
                      <a:pt x="17" y="210"/>
                      <a:pt x="30" y="201"/>
                    </a:cubicBezTo>
                    <a:cubicBezTo>
                      <a:pt x="40" y="198"/>
                      <a:pt x="28" y="194"/>
                      <a:pt x="30" y="185"/>
                    </a:cubicBezTo>
                    <a:cubicBezTo>
                      <a:pt x="30" y="185"/>
                      <a:pt x="33" y="166"/>
                      <a:pt x="19" y="173"/>
                    </a:cubicBezTo>
                    <a:cubicBezTo>
                      <a:pt x="19" y="173"/>
                      <a:pt x="9" y="175"/>
                      <a:pt x="10" y="169"/>
                    </a:cubicBezTo>
                    <a:cubicBezTo>
                      <a:pt x="10" y="169"/>
                      <a:pt x="14" y="162"/>
                      <a:pt x="4" y="161"/>
                    </a:cubicBezTo>
                    <a:cubicBezTo>
                      <a:pt x="4" y="161"/>
                      <a:pt x="4" y="161"/>
                      <a:pt x="4" y="161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32" name="Freeform 42"/>
              <p:cNvSpPr>
                <a:spLocks/>
              </p:cNvSpPr>
              <p:nvPr/>
            </p:nvSpPr>
            <p:spPr bwMode="auto">
              <a:xfrm>
                <a:off x="4005771" y="3600202"/>
                <a:ext cx="1370223" cy="800234"/>
              </a:xfrm>
              <a:custGeom>
                <a:avLst/>
                <a:gdLst>
                  <a:gd name="T0" fmla="*/ 2147483647 w 484"/>
                  <a:gd name="T1" fmla="*/ 2147483647 h 320"/>
                  <a:gd name="T2" fmla="*/ 2147483647 w 484"/>
                  <a:gd name="T3" fmla="*/ 2147483647 h 320"/>
                  <a:gd name="T4" fmla="*/ 2147483647 w 484"/>
                  <a:gd name="T5" fmla="*/ 2147483647 h 320"/>
                  <a:gd name="T6" fmla="*/ 2147483647 w 484"/>
                  <a:gd name="T7" fmla="*/ 2147483647 h 320"/>
                  <a:gd name="T8" fmla="*/ 2147483647 w 484"/>
                  <a:gd name="T9" fmla="*/ 2147483647 h 320"/>
                  <a:gd name="T10" fmla="*/ 2147483647 w 484"/>
                  <a:gd name="T11" fmla="*/ 2147483647 h 320"/>
                  <a:gd name="T12" fmla="*/ 2147483647 w 484"/>
                  <a:gd name="T13" fmla="*/ 2147483647 h 320"/>
                  <a:gd name="T14" fmla="*/ 2147483647 w 484"/>
                  <a:gd name="T15" fmla="*/ 2147483647 h 320"/>
                  <a:gd name="T16" fmla="*/ 2147483647 w 484"/>
                  <a:gd name="T17" fmla="*/ 2147483647 h 320"/>
                  <a:gd name="T18" fmla="*/ 2147483647 w 484"/>
                  <a:gd name="T19" fmla="*/ 2147483647 h 320"/>
                  <a:gd name="T20" fmla="*/ 2147483647 w 484"/>
                  <a:gd name="T21" fmla="*/ 2147483647 h 320"/>
                  <a:gd name="T22" fmla="*/ 2147483647 w 484"/>
                  <a:gd name="T23" fmla="*/ 2147483647 h 320"/>
                  <a:gd name="T24" fmla="*/ 2147483647 w 484"/>
                  <a:gd name="T25" fmla="*/ 2147483647 h 320"/>
                  <a:gd name="T26" fmla="*/ 2147483647 w 484"/>
                  <a:gd name="T27" fmla="*/ 2147483647 h 320"/>
                  <a:gd name="T28" fmla="*/ 2147483647 w 484"/>
                  <a:gd name="T29" fmla="*/ 2147483647 h 320"/>
                  <a:gd name="T30" fmla="*/ 2147483647 w 484"/>
                  <a:gd name="T31" fmla="*/ 2147483647 h 320"/>
                  <a:gd name="T32" fmla="*/ 2147483647 w 484"/>
                  <a:gd name="T33" fmla="*/ 2147483647 h 320"/>
                  <a:gd name="T34" fmla="*/ 2147483647 w 484"/>
                  <a:gd name="T35" fmla="*/ 2147483647 h 320"/>
                  <a:gd name="T36" fmla="*/ 2147483647 w 484"/>
                  <a:gd name="T37" fmla="*/ 2147483647 h 320"/>
                  <a:gd name="T38" fmla="*/ 2147483647 w 484"/>
                  <a:gd name="T39" fmla="*/ 2147483647 h 320"/>
                  <a:gd name="T40" fmla="*/ 2147483647 w 484"/>
                  <a:gd name="T41" fmla="*/ 2147483647 h 320"/>
                  <a:gd name="T42" fmla="*/ 2147483647 w 484"/>
                  <a:gd name="T43" fmla="*/ 2147483647 h 320"/>
                  <a:gd name="T44" fmla="*/ 2147483647 w 484"/>
                  <a:gd name="T45" fmla="*/ 2147483647 h 320"/>
                  <a:gd name="T46" fmla="*/ 2147483647 w 484"/>
                  <a:gd name="T47" fmla="*/ 2147483647 h 320"/>
                  <a:gd name="T48" fmla="*/ 2147483647 w 484"/>
                  <a:gd name="T49" fmla="*/ 2147483647 h 320"/>
                  <a:gd name="T50" fmla="*/ 2147483647 w 484"/>
                  <a:gd name="T51" fmla="*/ 2147483647 h 320"/>
                  <a:gd name="T52" fmla="*/ 2147483647 w 484"/>
                  <a:gd name="T53" fmla="*/ 2147483647 h 320"/>
                  <a:gd name="T54" fmla="*/ 2147483647 w 484"/>
                  <a:gd name="T55" fmla="*/ 2147483647 h 320"/>
                  <a:gd name="T56" fmla="*/ 2147483647 w 484"/>
                  <a:gd name="T57" fmla="*/ 2147483647 h 320"/>
                  <a:gd name="T58" fmla="*/ 2147483647 w 484"/>
                  <a:gd name="T59" fmla="*/ 2147483647 h 320"/>
                  <a:gd name="T60" fmla="*/ 2147483647 w 484"/>
                  <a:gd name="T61" fmla="*/ 2147483647 h 320"/>
                  <a:gd name="T62" fmla="*/ 2147483647 w 484"/>
                  <a:gd name="T63" fmla="*/ 2147483647 h 320"/>
                  <a:gd name="T64" fmla="*/ 2147483647 w 484"/>
                  <a:gd name="T65" fmla="*/ 2147483647 h 320"/>
                  <a:gd name="T66" fmla="*/ 2147483647 w 484"/>
                  <a:gd name="T67" fmla="*/ 2147483647 h 320"/>
                  <a:gd name="T68" fmla="*/ 2147483647 w 484"/>
                  <a:gd name="T69" fmla="*/ 2147483647 h 320"/>
                  <a:gd name="T70" fmla="*/ 2147483647 w 484"/>
                  <a:gd name="T71" fmla="*/ 2147483647 h 320"/>
                  <a:gd name="T72" fmla="*/ 2147483647 w 484"/>
                  <a:gd name="T73" fmla="*/ 2147483647 h 320"/>
                  <a:gd name="T74" fmla="*/ 2147483647 w 484"/>
                  <a:gd name="T75" fmla="*/ 2147483647 h 320"/>
                  <a:gd name="T76" fmla="*/ 2147483647 w 484"/>
                  <a:gd name="T77" fmla="*/ 2147483647 h 320"/>
                  <a:gd name="T78" fmla="*/ 2147483647 w 484"/>
                  <a:gd name="T79" fmla="*/ 2147483647 h 320"/>
                  <a:gd name="T80" fmla="*/ 2147483647 w 484"/>
                  <a:gd name="T81" fmla="*/ 2147483647 h 320"/>
                  <a:gd name="T82" fmla="*/ 2147483647 w 484"/>
                  <a:gd name="T83" fmla="*/ 2147483647 h 320"/>
                  <a:gd name="T84" fmla="*/ 2147483647 w 484"/>
                  <a:gd name="T85" fmla="*/ 2147483647 h 320"/>
                  <a:gd name="T86" fmla="*/ 2147483647 w 484"/>
                  <a:gd name="T87" fmla="*/ 2147483647 h 320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484"/>
                  <a:gd name="T133" fmla="*/ 0 h 320"/>
                  <a:gd name="T134" fmla="*/ 484 w 484"/>
                  <a:gd name="T135" fmla="*/ 320 h 320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484" h="320">
                    <a:moveTo>
                      <a:pt x="444" y="233"/>
                    </a:moveTo>
                    <a:cubicBezTo>
                      <a:pt x="433" y="228"/>
                      <a:pt x="429" y="234"/>
                      <a:pt x="429" y="234"/>
                    </a:cubicBezTo>
                    <a:cubicBezTo>
                      <a:pt x="425" y="239"/>
                      <a:pt x="417" y="233"/>
                      <a:pt x="417" y="233"/>
                    </a:cubicBezTo>
                    <a:cubicBezTo>
                      <a:pt x="405" y="243"/>
                      <a:pt x="404" y="236"/>
                      <a:pt x="404" y="236"/>
                    </a:cubicBezTo>
                    <a:cubicBezTo>
                      <a:pt x="395" y="226"/>
                      <a:pt x="393" y="233"/>
                      <a:pt x="393" y="233"/>
                    </a:cubicBezTo>
                    <a:cubicBezTo>
                      <a:pt x="382" y="238"/>
                      <a:pt x="382" y="229"/>
                      <a:pt x="382" y="229"/>
                    </a:cubicBezTo>
                    <a:cubicBezTo>
                      <a:pt x="396" y="219"/>
                      <a:pt x="379" y="215"/>
                      <a:pt x="379" y="215"/>
                    </a:cubicBezTo>
                    <a:cubicBezTo>
                      <a:pt x="370" y="203"/>
                      <a:pt x="374" y="196"/>
                      <a:pt x="374" y="196"/>
                    </a:cubicBezTo>
                    <a:cubicBezTo>
                      <a:pt x="369" y="205"/>
                      <a:pt x="366" y="199"/>
                      <a:pt x="366" y="199"/>
                    </a:cubicBezTo>
                    <a:cubicBezTo>
                      <a:pt x="365" y="186"/>
                      <a:pt x="354" y="196"/>
                      <a:pt x="354" y="196"/>
                    </a:cubicBezTo>
                    <a:cubicBezTo>
                      <a:pt x="343" y="196"/>
                      <a:pt x="337" y="190"/>
                      <a:pt x="337" y="190"/>
                    </a:cubicBezTo>
                    <a:cubicBezTo>
                      <a:pt x="327" y="181"/>
                      <a:pt x="317" y="192"/>
                      <a:pt x="317" y="192"/>
                    </a:cubicBezTo>
                    <a:cubicBezTo>
                      <a:pt x="306" y="199"/>
                      <a:pt x="297" y="192"/>
                      <a:pt x="297" y="192"/>
                    </a:cubicBezTo>
                    <a:cubicBezTo>
                      <a:pt x="279" y="188"/>
                      <a:pt x="272" y="192"/>
                      <a:pt x="272" y="192"/>
                    </a:cubicBezTo>
                    <a:cubicBezTo>
                      <a:pt x="270" y="193"/>
                      <a:pt x="269" y="192"/>
                      <a:pt x="267" y="191"/>
                    </a:cubicBezTo>
                    <a:cubicBezTo>
                      <a:pt x="265" y="190"/>
                      <a:pt x="264" y="191"/>
                      <a:pt x="262" y="192"/>
                    </a:cubicBezTo>
                    <a:cubicBezTo>
                      <a:pt x="249" y="188"/>
                      <a:pt x="246" y="199"/>
                      <a:pt x="246" y="199"/>
                    </a:cubicBezTo>
                    <a:cubicBezTo>
                      <a:pt x="228" y="197"/>
                      <a:pt x="229" y="206"/>
                      <a:pt x="229" y="206"/>
                    </a:cubicBezTo>
                    <a:cubicBezTo>
                      <a:pt x="231" y="210"/>
                      <a:pt x="225" y="215"/>
                      <a:pt x="225" y="215"/>
                    </a:cubicBezTo>
                    <a:cubicBezTo>
                      <a:pt x="232" y="215"/>
                      <a:pt x="238" y="224"/>
                      <a:pt x="238" y="224"/>
                    </a:cubicBezTo>
                    <a:cubicBezTo>
                      <a:pt x="245" y="227"/>
                      <a:pt x="227" y="226"/>
                      <a:pt x="227" y="236"/>
                    </a:cubicBezTo>
                    <a:cubicBezTo>
                      <a:pt x="227" y="240"/>
                      <a:pt x="239" y="247"/>
                      <a:pt x="239" y="247"/>
                    </a:cubicBezTo>
                    <a:cubicBezTo>
                      <a:pt x="235" y="267"/>
                      <a:pt x="253" y="261"/>
                      <a:pt x="244" y="273"/>
                    </a:cubicBezTo>
                    <a:cubicBezTo>
                      <a:pt x="242" y="277"/>
                      <a:pt x="242" y="287"/>
                      <a:pt x="242" y="287"/>
                    </a:cubicBezTo>
                    <a:cubicBezTo>
                      <a:pt x="246" y="305"/>
                      <a:pt x="237" y="302"/>
                      <a:pt x="237" y="302"/>
                    </a:cubicBezTo>
                    <a:cubicBezTo>
                      <a:pt x="221" y="303"/>
                      <a:pt x="220" y="298"/>
                      <a:pt x="220" y="298"/>
                    </a:cubicBezTo>
                    <a:cubicBezTo>
                      <a:pt x="203" y="291"/>
                      <a:pt x="192" y="300"/>
                      <a:pt x="192" y="300"/>
                    </a:cubicBezTo>
                    <a:cubicBezTo>
                      <a:pt x="187" y="306"/>
                      <a:pt x="175" y="309"/>
                      <a:pt x="175" y="309"/>
                    </a:cubicBezTo>
                    <a:cubicBezTo>
                      <a:pt x="165" y="309"/>
                      <a:pt x="160" y="314"/>
                      <a:pt x="160" y="314"/>
                    </a:cubicBezTo>
                    <a:cubicBezTo>
                      <a:pt x="150" y="315"/>
                      <a:pt x="136" y="314"/>
                      <a:pt x="136" y="314"/>
                    </a:cubicBezTo>
                    <a:cubicBezTo>
                      <a:pt x="127" y="317"/>
                      <a:pt x="126" y="312"/>
                      <a:pt x="126" y="312"/>
                    </a:cubicBezTo>
                    <a:cubicBezTo>
                      <a:pt x="115" y="306"/>
                      <a:pt x="110" y="313"/>
                      <a:pt x="110" y="313"/>
                    </a:cubicBezTo>
                    <a:cubicBezTo>
                      <a:pt x="82" y="319"/>
                      <a:pt x="85" y="309"/>
                      <a:pt x="85" y="309"/>
                    </a:cubicBezTo>
                    <a:cubicBezTo>
                      <a:pt x="75" y="294"/>
                      <a:pt x="66" y="308"/>
                      <a:pt x="66" y="308"/>
                    </a:cubicBezTo>
                    <a:cubicBezTo>
                      <a:pt x="64" y="312"/>
                      <a:pt x="55" y="306"/>
                      <a:pt x="55" y="313"/>
                    </a:cubicBezTo>
                    <a:cubicBezTo>
                      <a:pt x="52" y="320"/>
                      <a:pt x="46" y="309"/>
                      <a:pt x="46" y="309"/>
                    </a:cubicBezTo>
                    <a:cubicBezTo>
                      <a:pt x="44" y="305"/>
                      <a:pt x="33" y="306"/>
                      <a:pt x="33" y="306"/>
                    </a:cubicBezTo>
                    <a:cubicBezTo>
                      <a:pt x="28" y="299"/>
                      <a:pt x="20" y="302"/>
                      <a:pt x="20" y="302"/>
                    </a:cubicBezTo>
                    <a:cubicBezTo>
                      <a:pt x="6" y="298"/>
                      <a:pt x="11" y="289"/>
                      <a:pt x="11" y="289"/>
                    </a:cubicBezTo>
                    <a:cubicBezTo>
                      <a:pt x="0" y="273"/>
                      <a:pt x="14" y="275"/>
                      <a:pt x="14" y="275"/>
                    </a:cubicBezTo>
                    <a:cubicBezTo>
                      <a:pt x="21" y="270"/>
                      <a:pt x="15" y="254"/>
                      <a:pt x="15" y="254"/>
                    </a:cubicBezTo>
                    <a:cubicBezTo>
                      <a:pt x="19" y="243"/>
                      <a:pt x="12" y="239"/>
                      <a:pt x="12" y="239"/>
                    </a:cubicBezTo>
                    <a:cubicBezTo>
                      <a:pt x="8" y="232"/>
                      <a:pt x="11" y="225"/>
                      <a:pt x="11" y="225"/>
                    </a:cubicBezTo>
                    <a:cubicBezTo>
                      <a:pt x="18" y="210"/>
                      <a:pt x="35" y="207"/>
                      <a:pt x="35" y="207"/>
                    </a:cubicBezTo>
                    <a:cubicBezTo>
                      <a:pt x="37" y="192"/>
                      <a:pt x="52" y="192"/>
                      <a:pt x="52" y="192"/>
                    </a:cubicBezTo>
                    <a:cubicBezTo>
                      <a:pt x="75" y="180"/>
                      <a:pt x="66" y="162"/>
                      <a:pt x="66" y="162"/>
                    </a:cubicBezTo>
                    <a:cubicBezTo>
                      <a:pt x="66" y="145"/>
                      <a:pt x="62" y="141"/>
                      <a:pt x="62" y="141"/>
                    </a:cubicBezTo>
                    <a:cubicBezTo>
                      <a:pt x="53" y="129"/>
                      <a:pt x="69" y="121"/>
                      <a:pt x="69" y="121"/>
                    </a:cubicBezTo>
                    <a:cubicBezTo>
                      <a:pt x="69" y="121"/>
                      <a:pt x="69" y="121"/>
                      <a:pt x="69" y="121"/>
                    </a:cubicBezTo>
                    <a:cubicBezTo>
                      <a:pt x="86" y="115"/>
                      <a:pt x="86" y="115"/>
                      <a:pt x="86" y="115"/>
                    </a:cubicBezTo>
                    <a:cubicBezTo>
                      <a:pt x="86" y="115"/>
                      <a:pt x="86" y="115"/>
                      <a:pt x="86" y="115"/>
                    </a:cubicBezTo>
                    <a:cubicBezTo>
                      <a:pt x="98" y="108"/>
                      <a:pt x="99" y="100"/>
                      <a:pt x="99" y="100"/>
                    </a:cubicBezTo>
                    <a:cubicBezTo>
                      <a:pt x="96" y="93"/>
                      <a:pt x="80" y="94"/>
                      <a:pt x="80" y="94"/>
                    </a:cubicBezTo>
                    <a:cubicBezTo>
                      <a:pt x="53" y="79"/>
                      <a:pt x="80" y="79"/>
                      <a:pt x="80" y="79"/>
                    </a:cubicBezTo>
                    <a:cubicBezTo>
                      <a:pt x="96" y="72"/>
                      <a:pt x="100" y="82"/>
                      <a:pt x="100" y="82"/>
                    </a:cubicBezTo>
                    <a:cubicBezTo>
                      <a:pt x="100" y="82"/>
                      <a:pt x="100" y="82"/>
                      <a:pt x="100" y="82"/>
                    </a:cubicBezTo>
                    <a:cubicBezTo>
                      <a:pt x="110" y="65"/>
                      <a:pt x="110" y="65"/>
                      <a:pt x="110" y="65"/>
                    </a:cubicBezTo>
                    <a:cubicBezTo>
                      <a:pt x="110" y="65"/>
                      <a:pt x="110" y="65"/>
                      <a:pt x="110" y="65"/>
                    </a:cubicBezTo>
                    <a:cubicBezTo>
                      <a:pt x="118" y="69"/>
                      <a:pt x="133" y="76"/>
                      <a:pt x="133" y="76"/>
                    </a:cubicBezTo>
                    <a:cubicBezTo>
                      <a:pt x="151" y="89"/>
                      <a:pt x="154" y="79"/>
                      <a:pt x="154" y="79"/>
                    </a:cubicBezTo>
                    <a:cubicBezTo>
                      <a:pt x="154" y="79"/>
                      <a:pt x="161" y="72"/>
                      <a:pt x="157" y="59"/>
                    </a:cubicBezTo>
                    <a:cubicBezTo>
                      <a:pt x="157" y="59"/>
                      <a:pt x="147" y="56"/>
                      <a:pt x="161" y="42"/>
                    </a:cubicBezTo>
                    <a:cubicBezTo>
                      <a:pt x="161" y="42"/>
                      <a:pt x="164" y="22"/>
                      <a:pt x="176" y="23"/>
                    </a:cubicBezTo>
                    <a:cubicBezTo>
                      <a:pt x="189" y="9"/>
                      <a:pt x="202" y="12"/>
                      <a:pt x="206" y="8"/>
                    </a:cubicBezTo>
                    <a:cubicBezTo>
                      <a:pt x="213" y="1"/>
                      <a:pt x="224" y="9"/>
                      <a:pt x="234" y="4"/>
                    </a:cubicBezTo>
                    <a:cubicBezTo>
                      <a:pt x="236" y="9"/>
                      <a:pt x="257" y="0"/>
                      <a:pt x="267" y="15"/>
                    </a:cubicBezTo>
                    <a:cubicBezTo>
                      <a:pt x="285" y="31"/>
                      <a:pt x="293" y="40"/>
                      <a:pt x="305" y="37"/>
                    </a:cubicBezTo>
                    <a:cubicBezTo>
                      <a:pt x="319" y="39"/>
                      <a:pt x="335" y="37"/>
                      <a:pt x="335" y="37"/>
                    </a:cubicBezTo>
                    <a:cubicBezTo>
                      <a:pt x="362" y="21"/>
                      <a:pt x="360" y="53"/>
                      <a:pt x="360" y="53"/>
                    </a:cubicBezTo>
                    <a:cubicBezTo>
                      <a:pt x="383" y="63"/>
                      <a:pt x="378" y="71"/>
                      <a:pt x="378" y="71"/>
                    </a:cubicBezTo>
                    <a:cubicBezTo>
                      <a:pt x="381" y="82"/>
                      <a:pt x="388" y="83"/>
                      <a:pt x="388" y="83"/>
                    </a:cubicBezTo>
                    <a:cubicBezTo>
                      <a:pt x="400" y="88"/>
                      <a:pt x="398" y="99"/>
                      <a:pt x="398" y="99"/>
                    </a:cubicBezTo>
                    <a:cubicBezTo>
                      <a:pt x="400" y="119"/>
                      <a:pt x="411" y="99"/>
                      <a:pt x="411" y="99"/>
                    </a:cubicBezTo>
                    <a:cubicBezTo>
                      <a:pt x="418" y="80"/>
                      <a:pt x="431" y="89"/>
                      <a:pt x="431" y="89"/>
                    </a:cubicBezTo>
                    <a:cubicBezTo>
                      <a:pt x="433" y="98"/>
                      <a:pt x="448" y="89"/>
                      <a:pt x="448" y="89"/>
                    </a:cubicBezTo>
                    <a:cubicBezTo>
                      <a:pt x="463" y="93"/>
                      <a:pt x="455" y="97"/>
                      <a:pt x="455" y="97"/>
                    </a:cubicBezTo>
                    <a:cubicBezTo>
                      <a:pt x="449" y="103"/>
                      <a:pt x="459" y="107"/>
                      <a:pt x="460" y="99"/>
                    </a:cubicBezTo>
                    <a:cubicBezTo>
                      <a:pt x="466" y="93"/>
                      <a:pt x="473" y="97"/>
                      <a:pt x="473" y="97"/>
                    </a:cubicBezTo>
                    <a:cubicBezTo>
                      <a:pt x="473" y="100"/>
                      <a:pt x="462" y="106"/>
                      <a:pt x="466" y="117"/>
                    </a:cubicBezTo>
                    <a:cubicBezTo>
                      <a:pt x="461" y="142"/>
                      <a:pt x="469" y="142"/>
                      <a:pt x="469" y="142"/>
                    </a:cubicBezTo>
                    <a:cubicBezTo>
                      <a:pt x="479" y="144"/>
                      <a:pt x="480" y="155"/>
                      <a:pt x="480" y="155"/>
                    </a:cubicBezTo>
                    <a:cubicBezTo>
                      <a:pt x="484" y="164"/>
                      <a:pt x="477" y="167"/>
                      <a:pt x="477" y="167"/>
                    </a:cubicBezTo>
                    <a:cubicBezTo>
                      <a:pt x="469" y="168"/>
                      <a:pt x="477" y="182"/>
                      <a:pt x="477" y="182"/>
                    </a:cubicBezTo>
                    <a:cubicBezTo>
                      <a:pt x="484" y="199"/>
                      <a:pt x="463" y="192"/>
                      <a:pt x="463" y="192"/>
                    </a:cubicBezTo>
                    <a:cubicBezTo>
                      <a:pt x="450" y="177"/>
                      <a:pt x="443" y="188"/>
                      <a:pt x="443" y="188"/>
                    </a:cubicBezTo>
                    <a:cubicBezTo>
                      <a:pt x="434" y="199"/>
                      <a:pt x="443" y="206"/>
                      <a:pt x="443" y="206"/>
                    </a:cubicBezTo>
                    <a:cubicBezTo>
                      <a:pt x="453" y="214"/>
                      <a:pt x="443" y="217"/>
                      <a:pt x="443" y="217"/>
                    </a:cubicBezTo>
                    <a:cubicBezTo>
                      <a:pt x="429" y="219"/>
                      <a:pt x="444" y="233"/>
                      <a:pt x="444" y="233"/>
                    </a:cubicBezTo>
                    <a:cubicBezTo>
                      <a:pt x="444" y="233"/>
                      <a:pt x="444" y="233"/>
                      <a:pt x="444" y="233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33" name="Freeform 41"/>
              <p:cNvSpPr>
                <a:spLocks/>
              </p:cNvSpPr>
              <p:nvPr/>
            </p:nvSpPr>
            <p:spPr bwMode="auto">
              <a:xfrm>
                <a:off x="2845533" y="3153533"/>
                <a:ext cx="1120367" cy="824983"/>
              </a:xfrm>
              <a:custGeom>
                <a:avLst/>
                <a:gdLst>
                  <a:gd name="T0" fmla="*/ 2147483647 w 396"/>
                  <a:gd name="T1" fmla="*/ 2147483647 h 330"/>
                  <a:gd name="T2" fmla="*/ 2147483647 w 396"/>
                  <a:gd name="T3" fmla="*/ 2147483647 h 330"/>
                  <a:gd name="T4" fmla="*/ 2147483647 w 396"/>
                  <a:gd name="T5" fmla="*/ 2147483647 h 330"/>
                  <a:gd name="T6" fmla="*/ 2147483647 w 396"/>
                  <a:gd name="T7" fmla="*/ 2147483647 h 330"/>
                  <a:gd name="T8" fmla="*/ 2147483647 w 396"/>
                  <a:gd name="T9" fmla="*/ 2147483647 h 330"/>
                  <a:gd name="T10" fmla="*/ 2147483647 w 396"/>
                  <a:gd name="T11" fmla="*/ 2147483647 h 330"/>
                  <a:gd name="T12" fmla="*/ 2147483647 w 396"/>
                  <a:gd name="T13" fmla="*/ 2147483647 h 330"/>
                  <a:gd name="T14" fmla="*/ 2147483647 w 396"/>
                  <a:gd name="T15" fmla="*/ 2147483647 h 330"/>
                  <a:gd name="T16" fmla="*/ 2147483647 w 396"/>
                  <a:gd name="T17" fmla="*/ 2147483647 h 330"/>
                  <a:gd name="T18" fmla="*/ 2147483647 w 396"/>
                  <a:gd name="T19" fmla="*/ 2147483647 h 330"/>
                  <a:gd name="T20" fmla="*/ 2147483647 w 396"/>
                  <a:gd name="T21" fmla="*/ 2147483647 h 330"/>
                  <a:gd name="T22" fmla="*/ 2147483647 w 396"/>
                  <a:gd name="T23" fmla="*/ 2147483647 h 330"/>
                  <a:gd name="T24" fmla="*/ 2147483647 w 396"/>
                  <a:gd name="T25" fmla="*/ 2147483647 h 330"/>
                  <a:gd name="T26" fmla="*/ 2147483647 w 396"/>
                  <a:gd name="T27" fmla="*/ 2147483647 h 330"/>
                  <a:gd name="T28" fmla="*/ 2147483647 w 396"/>
                  <a:gd name="T29" fmla="*/ 2147483647 h 330"/>
                  <a:gd name="T30" fmla="*/ 2147483647 w 396"/>
                  <a:gd name="T31" fmla="*/ 2147483647 h 330"/>
                  <a:gd name="T32" fmla="*/ 2147483647 w 396"/>
                  <a:gd name="T33" fmla="*/ 2147483647 h 330"/>
                  <a:gd name="T34" fmla="*/ 2147483647 w 396"/>
                  <a:gd name="T35" fmla="*/ 2147483647 h 330"/>
                  <a:gd name="T36" fmla="*/ 2147483647 w 396"/>
                  <a:gd name="T37" fmla="*/ 2147483647 h 330"/>
                  <a:gd name="T38" fmla="*/ 2147483647 w 396"/>
                  <a:gd name="T39" fmla="*/ 2147483647 h 330"/>
                  <a:gd name="T40" fmla="*/ 2147483647 w 396"/>
                  <a:gd name="T41" fmla="*/ 2147483647 h 330"/>
                  <a:gd name="T42" fmla="*/ 2147483647 w 396"/>
                  <a:gd name="T43" fmla="*/ 2147483647 h 330"/>
                  <a:gd name="T44" fmla="*/ 2147483647 w 396"/>
                  <a:gd name="T45" fmla="*/ 2147483647 h 330"/>
                  <a:gd name="T46" fmla="*/ 2147483647 w 396"/>
                  <a:gd name="T47" fmla="*/ 2147483647 h 330"/>
                  <a:gd name="T48" fmla="*/ 2147483647 w 396"/>
                  <a:gd name="T49" fmla="*/ 2147483647 h 330"/>
                  <a:gd name="T50" fmla="*/ 2147483647 w 396"/>
                  <a:gd name="T51" fmla="*/ 2147483647 h 330"/>
                  <a:gd name="T52" fmla="*/ 2147483647 w 396"/>
                  <a:gd name="T53" fmla="*/ 2147483647 h 330"/>
                  <a:gd name="T54" fmla="*/ 2147483647 w 396"/>
                  <a:gd name="T55" fmla="*/ 2147483647 h 330"/>
                  <a:gd name="T56" fmla="*/ 2147483647 w 396"/>
                  <a:gd name="T57" fmla="*/ 2147483647 h 330"/>
                  <a:gd name="T58" fmla="*/ 2147483647 w 396"/>
                  <a:gd name="T59" fmla="*/ 2147483647 h 330"/>
                  <a:gd name="T60" fmla="*/ 2147483647 w 396"/>
                  <a:gd name="T61" fmla="*/ 2147483647 h 330"/>
                  <a:gd name="T62" fmla="*/ 2147483647 w 396"/>
                  <a:gd name="T63" fmla="*/ 2147483647 h 330"/>
                  <a:gd name="T64" fmla="*/ 2147483647 w 396"/>
                  <a:gd name="T65" fmla="*/ 2147483647 h 330"/>
                  <a:gd name="T66" fmla="*/ 2147483647 w 396"/>
                  <a:gd name="T67" fmla="*/ 2147483647 h 330"/>
                  <a:gd name="T68" fmla="*/ 2147483647 w 396"/>
                  <a:gd name="T69" fmla="*/ 2147483647 h 330"/>
                  <a:gd name="T70" fmla="*/ 2147483647 w 396"/>
                  <a:gd name="T71" fmla="*/ 2147483647 h 330"/>
                  <a:gd name="T72" fmla="*/ 2147483647 w 396"/>
                  <a:gd name="T73" fmla="*/ 2147483647 h 330"/>
                  <a:gd name="T74" fmla="*/ 2147483647 w 396"/>
                  <a:gd name="T75" fmla="*/ 2147483647 h 330"/>
                  <a:gd name="T76" fmla="*/ 2147483647 w 396"/>
                  <a:gd name="T77" fmla="*/ 2147483647 h 330"/>
                  <a:gd name="T78" fmla="*/ 2147483647 w 396"/>
                  <a:gd name="T79" fmla="*/ 2147483647 h 330"/>
                  <a:gd name="T80" fmla="*/ 2147483647 w 396"/>
                  <a:gd name="T81" fmla="*/ 2147483647 h 330"/>
                  <a:gd name="T82" fmla="*/ 2147483647 w 396"/>
                  <a:gd name="T83" fmla="*/ 2147483647 h 330"/>
                  <a:gd name="T84" fmla="*/ 2147483647 w 396"/>
                  <a:gd name="T85" fmla="*/ 2147483647 h 330"/>
                  <a:gd name="T86" fmla="*/ 2147483647 w 396"/>
                  <a:gd name="T87" fmla="*/ 2147483647 h 330"/>
                  <a:gd name="T88" fmla="*/ 2147483647 w 396"/>
                  <a:gd name="T89" fmla="*/ 2147483647 h 330"/>
                  <a:gd name="T90" fmla="*/ 2147483647 w 396"/>
                  <a:gd name="T91" fmla="*/ 2147483647 h 330"/>
                  <a:gd name="T92" fmla="*/ 2147483647 w 396"/>
                  <a:gd name="T93" fmla="*/ 2147483647 h 330"/>
                  <a:gd name="T94" fmla="*/ 2147483647 w 396"/>
                  <a:gd name="T95" fmla="*/ 2147483647 h 330"/>
                  <a:gd name="T96" fmla="*/ 2147483647 w 396"/>
                  <a:gd name="T97" fmla="*/ 2147483647 h 330"/>
                  <a:gd name="T98" fmla="*/ 2147483647 w 396"/>
                  <a:gd name="T99" fmla="*/ 2147483647 h 330"/>
                  <a:gd name="T100" fmla="*/ 2147483647 w 396"/>
                  <a:gd name="T101" fmla="*/ 2147483647 h 330"/>
                  <a:gd name="T102" fmla="*/ 2147483647 w 396"/>
                  <a:gd name="T103" fmla="*/ 0 h 330"/>
                  <a:gd name="T104" fmla="*/ 2147483647 w 396"/>
                  <a:gd name="T105" fmla="*/ 2147483647 h 330"/>
                  <a:gd name="T106" fmla="*/ 2147483647 w 396"/>
                  <a:gd name="T107" fmla="*/ 2147483647 h 330"/>
                  <a:gd name="T108" fmla="*/ 2147483647 w 396"/>
                  <a:gd name="T109" fmla="*/ 2147483647 h 330"/>
                  <a:gd name="T110" fmla="*/ 2147483647 w 396"/>
                  <a:gd name="T111" fmla="*/ 2147483647 h 330"/>
                  <a:gd name="T112" fmla="*/ 2147483647 w 396"/>
                  <a:gd name="T113" fmla="*/ 2147483647 h 330"/>
                  <a:gd name="T114" fmla="*/ 2147483647 w 396"/>
                  <a:gd name="T115" fmla="*/ 2147483647 h 330"/>
                  <a:gd name="T116" fmla="*/ 2147483647 w 396"/>
                  <a:gd name="T117" fmla="*/ 2147483647 h 330"/>
                  <a:gd name="T118" fmla="*/ 2147483647 w 396"/>
                  <a:gd name="T119" fmla="*/ 2147483647 h 330"/>
                  <a:gd name="T120" fmla="*/ 2147483647 w 396"/>
                  <a:gd name="T121" fmla="*/ 2147483647 h 330"/>
                  <a:gd name="T122" fmla="*/ 2147483647 w 396"/>
                  <a:gd name="T123" fmla="*/ 2147483647 h 330"/>
                  <a:gd name="T124" fmla="*/ 2147483647 w 396"/>
                  <a:gd name="T125" fmla="*/ 2147483647 h 330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396"/>
                  <a:gd name="T190" fmla="*/ 0 h 330"/>
                  <a:gd name="T191" fmla="*/ 396 w 396"/>
                  <a:gd name="T192" fmla="*/ 330 h 330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396" h="330">
                    <a:moveTo>
                      <a:pt x="385" y="177"/>
                    </a:moveTo>
                    <a:cubicBezTo>
                      <a:pt x="374" y="195"/>
                      <a:pt x="385" y="191"/>
                      <a:pt x="389" y="206"/>
                    </a:cubicBezTo>
                    <a:cubicBezTo>
                      <a:pt x="389" y="206"/>
                      <a:pt x="396" y="220"/>
                      <a:pt x="389" y="228"/>
                    </a:cubicBezTo>
                    <a:cubicBezTo>
                      <a:pt x="380" y="238"/>
                      <a:pt x="380" y="226"/>
                      <a:pt x="372" y="230"/>
                    </a:cubicBezTo>
                    <a:cubicBezTo>
                      <a:pt x="372" y="230"/>
                      <a:pt x="365" y="239"/>
                      <a:pt x="355" y="235"/>
                    </a:cubicBezTo>
                    <a:cubicBezTo>
                      <a:pt x="355" y="235"/>
                      <a:pt x="354" y="224"/>
                      <a:pt x="342" y="217"/>
                    </a:cubicBezTo>
                    <a:cubicBezTo>
                      <a:pt x="342" y="217"/>
                      <a:pt x="335" y="217"/>
                      <a:pt x="332" y="209"/>
                    </a:cubicBezTo>
                    <a:cubicBezTo>
                      <a:pt x="332" y="209"/>
                      <a:pt x="325" y="217"/>
                      <a:pt x="319" y="221"/>
                    </a:cubicBezTo>
                    <a:cubicBezTo>
                      <a:pt x="319" y="221"/>
                      <a:pt x="310" y="223"/>
                      <a:pt x="311" y="233"/>
                    </a:cubicBezTo>
                    <a:cubicBezTo>
                      <a:pt x="311" y="233"/>
                      <a:pt x="313" y="248"/>
                      <a:pt x="301" y="242"/>
                    </a:cubicBezTo>
                    <a:cubicBezTo>
                      <a:pt x="301" y="242"/>
                      <a:pt x="296" y="232"/>
                      <a:pt x="288" y="244"/>
                    </a:cubicBezTo>
                    <a:cubicBezTo>
                      <a:pt x="288" y="244"/>
                      <a:pt x="279" y="259"/>
                      <a:pt x="275" y="243"/>
                    </a:cubicBezTo>
                    <a:cubicBezTo>
                      <a:pt x="275" y="243"/>
                      <a:pt x="260" y="234"/>
                      <a:pt x="250" y="240"/>
                    </a:cubicBezTo>
                    <a:cubicBezTo>
                      <a:pt x="250" y="240"/>
                      <a:pt x="232" y="234"/>
                      <a:pt x="238" y="252"/>
                    </a:cubicBezTo>
                    <a:cubicBezTo>
                      <a:pt x="238" y="252"/>
                      <a:pt x="229" y="261"/>
                      <a:pt x="230" y="270"/>
                    </a:cubicBezTo>
                    <a:cubicBezTo>
                      <a:pt x="230" y="270"/>
                      <a:pt x="212" y="282"/>
                      <a:pt x="209" y="274"/>
                    </a:cubicBezTo>
                    <a:cubicBezTo>
                      <a:pt x="209" y="274"/>
                      <a:pt x="205" y="265"/>
                      <a:pt x="192" y="273"/>
                    </a:cubicBezTo>
                    <a:cubicBezTo>
                      <a:pt x="192" y="273"/>
                      <a:pt x="182" y="281"/>
                      <a:pt x="178" y="273"/>
                    </a:cubicBezTo>
                    <a:cubicBezTo>
                      <a:pt x="178" y="273"/>
                      <a:pt x="161" y="268"/>
                      <a:pt x="139" y="272"/>
                    </a:cubicBezTo>
                    <a:cubicBezTo>
                      <a:pt x="139" y="272"/>
                      <a:pt x="128" y="268"/>
                      <a:pt x="127" y="286"/>
                    </a:cubicBezTo>
                    <a:cubicBezTo>
                      <a:pt x="127" y="286"/>
                      <a:pt x="118" y="296"/>
                      <a:pt x="122" y="300"/>
                    </a:cubicBezTo>
                    <a:cubicBezTo>
                      <a:pt x="122" y="300"/>
                      <a:pt x="127" y="309"/>
                      <a:pt x="115" y="306"/>
                    </a:cubicBezTo>
                    <a:cubicBezTo>
                      <a:pt x="115" y="306"/>
                      <a:pt x="102" y="302"/>
                      <a:pt x="87" y="320"/>
                    </a:cubicBezTo>
                    <a:cubicBezTo>
                      <a:pt x="81" y="325"/>
                      <a:pt x="76" y="311"/>
                      <a:pt x="59" y="330"/>
                    </a:cubicBezTo>
                    <a:cubicBezTo>
                      <a:pt x="44" y="325"/>
                      <a:pt x="56" y="318"/>
                      <a:pt x="56" y="318"/>
                    </a:cubicBezTo>
                    <a:cubicBezTo>
                      <a:pt x="62" y="303"/>
                      <a:pt x="51" y="301"/>
                      <a:pt x="51" y="301"/>
                    </a:cubicBezTo>
                    <a:cubicBezTo>
                      <a:pt x="46" y="300"/>
                      <a:pt x="58" y="285"/>
                      <a:pt x="44" y="286"/>
                    </a:cubicBezTo>
                    <a:cubicBezTo>
                      <a:pt x="35" y="283"/>
                      <a:pt x="45" y="274"/>
                      <a:pt x="33" y="265"/>
                    </a:cubicBezTo>
                    <a:cubicBezTo>
                      <a:pt x="21" y="263"/>
                      <a:pt x="31" y="250"/>
                      <a:pt x="23" y="253"/>
                    </a:cubicBezTo>
                    <a:cubicBezTo>
                      <a:pt x="17" y="252"/>
                      <a:pt x="21" y="241"/>
                      <a:pt x="21" y="241"/>
                    </a:cubicBezTo>
                    <a:cubicBezTo>
                      <a:pt x="10" y="239"/>
                      <a:pt x="16" y="224"/>
                      <a:pt x="16" y="224"/>
                    </a:cubicBezTo>
                    <a:cubicBezTo>
                      <a:pt x="0" y="224"/>
                      <a:pt x="11" y="211"/>
                      <a:pt x="15" y="213"/>
                    </a:cubicBezTo>
                    <a:cubicBezTo>
                      <a:pt x="26" y="199"/>
                      <a:pt x="20" y="187"/>
                      <a:pt x="20" y="187"/>
                    </a:cubicBezTo>
                    <a:cubicBezTo>
                      <a:pt x="31" y="182"/>
                      <a:pt x="24" y="195"/>
                      <a:pt x="31" y="193"/>
                    </a:cubicBezTo>
                    <a:cubicBezTo>
                      <a:pt x="40" y="195"/>
                      <a:pt x="47" y="185"/>
                      <a:pt x="47" y="185"/>
                    </a:cubicBezTo>
                    <a:cubicBezTo>
                      <a:pt x="51" y="176"/>
                      <a:pt x="68" y="177"/>
                      <a:pt x="68" y="177"/>
                    </a:cubicBezTo>
                    <a:cubicBezTo>
                      <a:pt x="73" y="162"/>
                      <a:pt x="82" y="177"/>
                      <a:pt x="82" y="177"/>
                    </a:cubicBezTo>
                    <a:cubicBezTo>
                      <a:pt x="93" y="177"/>
                      <a:pt x="99" y="183"/>
                      <a:pt x="99" y="183"/>
                    </a:cubicBezTo>
                    <a:cubicBezTo>
                      <a:pt x="106" y="188"/>
                      <a:pt x="104" y="173"/>
                      <a:pt x="104" y="173"/>
                    </a:cubicBezTo>
                    <a:cubicBezTo>
                      <a:pt x="104" y="155"/>
                      <a:pt x="114" y="167"/>
                      <a:pt x="114" y="167"/>
                    </a:cubicBezTo>
                    <a:cubicBezTo>
                      <a:pt x="137" y="158"/>
                      <a:pt x="144" y="166"/>
                      <a:pt x="144" y="166"/>
                    </a:cubicBezTo>
                    <a:cubicBezTo>
                      <a:pt x="167" y="166"/>
                      <a:pt x="169" y="153"/>
                      <a:pt x="169" y="153"/>
                    </a:cubicBezTo>
                    <a:cubicBezTo>
                      <a:pt x="170" y="144"/>
                      <a:pt x="187" y="135"/>
                      <a:pt x="187" y="135"/>
                    </a:cubicBezTo>
                    <a:cubicBezTo>
                      <a:pt x="187" y="126"/>
                      <a:pt x="188" y="118"/>
                      <a:pt x="188" y="118"/>
                    </a:cubicBezTo>
                    <a:cubicBezTo>
                      <a:pt x="195" y="107"/>
                      <a:pt x="194" y="90"/>
                      <a:pt x="194" y="90"/>
                    </a:cubicBezTo>
                    <a:cubicBezTo>
                      <a:pt x="194" y="63"/>
                      <a:pt x="209" y="70"/>
                      <a:pt x="209" y="70"/>
                    </a:cubicBezTo>
                    <a:cubicBezTo>
                      <a:pt x="217" y="58"/>
                      <a:pt x="227" y="69"/>
                      <a:pt x="227" y="69"/>
                    </a:cubicBezTo>
                    <a:cubicBezTo>
                      <a:pt x="234" y="76"/>
                      <a:pt x="251" y="72"/>
                      <a:pt x="251" y="72"/>
                    </a:cubicBezTo>
                    <a:cubicBezTo>
                      <a:pt x="266" y="74"/>
                      <a:pt x="268" y="46"/>
                      <a:pt x="268" y="46"/>
                    </a:cubicBezTo>
                    <a:cubicBezTo>
                      <a:pt x="279" y="43"/>
                      <a:pt x="273" y="30"/>
                      <a:pt x="273" y="30"/>
                    </a:cubicBezTo>
                    <a:cubicBezTo>
                      <a:pt x="274" y="22"/>
                      <a:pt x="287" y="22"/>
                      <a:pt x="284" y="17"/>
                    </a:cubicBezTo>
                    <a:cubicBezTo>
                      <a:pt x="282" y="5"/>
                      <a:pt x="301" y="0"/>
                      <a:pt x="301" y="0"/>
                    </a:cubicBezTo>
                    <a:cubicBezTo>
                      <a:pt x="302" y="15"/>
                      <a:pt x="316" y="16"/>
                      <a:pt x="316" y="16"/>
                    </a:cubicBezTo>
                    <a:cubicBezTo>
                      <a:pt x="316" y="38"/>
                      <a:pt x="325" y="36"/>
                      <a:pt x="325" y="36"/>
                    </a:cubicBezTo>
                    <a:cubicBezTo>
                      <a:pt x="333" y="36"/>
                      <a:pt x="335" y="47"/>
                      <a:pt x="335" y="47"/>
                    </a:cubicBezTo>
                    <a:cubicBezTo>
                      <a:pt x="341" y="52"/>
                      <a:pt x="337" y="65"/>
                      <a:pt x="337" y="65"/>
                    </a:cubicBezTo>
                    <a:cubicBezTo>
                      <a:pt x="324" y="67"/>
                      <a:pt x="344" y="80"/>
                      <a:pt x="344" y="80"/>
                    </a:cubicBezTo>
                    <a:cubicBezTo>
                      <a:pt x="359" y="86"/>
                      <a:pt x="359" y="98"/>
                      <a:pt x="359" y="98"/>
                    </a:cubicBezTo>
                    <a:cubicBezTo>
                      <a:pt x="376" y="100"/>
                      <a:pt x="374" y="111"/>
                      <a:pt x="374" y="111"/>
                    </a:cubicBezTo>
                    <a:cubicBezTo>
                      <a:pt x="388" y="124"/>
                      <a:pt x="375" y="125"/>
                      <a:pt x="375" y="125"/>
                    </a:cubicBezTo>
                    <a:cubicBezTo>
                      <a:pt x="366" y="136"/>
                      <a:pt x="376" y="147"/>
                      <a:pt x="376" y="147"/>
                    </a:cubicBezTo>
                    <a:cubicBezTo>
                      <a:pt x="386" y="159"/>
                      <a:pt x="385" y="177"/>
                      <a:pt x="385" y="177"/>
                    </a:cubicBezTo>
                    <a:cubicBezTo>
                      <a:pt x="385" y="177"/>
                      <a:pt x="385" y="177"/>
                      <a:pt x="385" y="177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34" name="Freeform 40"/>
              <p:cNvSpPr>
                <a:spLocks/>
              </p:cNvSpPr>
              <p:nvPr/>
            </p:nvSpPr>
            <p:spPr bwMode="auto">
              <a:xfrm>
                <a:off x="2896036" y="3596666"/>
                <a:ext cx="1420726" cy="711843"/>
              </a:xfrm>
              <a:custGeom>
                <a:avLst/>
                <a:gdLst>
                  <a:gd name="T0" fmla="*/ 2147483647 w 502"/>
                  <a:gd name="T1" fmla="*/ 2147483647 h 285"/>
                  <a:gd name="T2" fmla="*/ 2147483647 w 502"/>
                  <a:gd name="T3" fmla="*/ 2147483647 h 285"/>
                  <a:gd name="T4" fmla="*/ 2147483647 w 502"/>
                  <a:gd name="T5" fmla="*/ 2147483647 h 285"/>
                  <a:gd name="T6" fmla="*/ 2147483647 w 502"/>
                  <a:gd name="T7" fmla="*/ 2147483647 h 285"/>
                  <a:gd name="T8" fmla="*/ 2147483647 w 502"/>
                  <a:gd name="T9" fmla="*/ 2147483647 h 285"/>
                  <a:gd name="T10" fmla="*/ 2147483647 w 502"/>
                  <a:gd name="T11" fmla="*/ 2147483647 h 285"/>
                  <a:gd name="T12" fmla="*/ 2147483647 w 502"/>
                  <a:gd name="T13" fmla="*/ 2147483647 h 285"/>
                  <a:gd name="T14" fmla="*/ 2147483647 w 502"/>
                  <a:gd name="T15" fmla="*/ 2147483647 h 285"/>
                  <a:gd name="T16" fmla="*/ 2147483647 w 502"/>
                  <a:gd name="T17" fmla="*/ 2147483647 h 285"/>
                  <a:gd name="T18" fmla="*/ 2147483647 w 502"/>
                  <a:gd name="T19" fmla="*/ 2147483647 h 285"/>
                  <a:gd name="T20" fmla="*/ 2147483647 w 502"/>
                  <a:gd name="T21" fmla="*/ 2147483647 h 285"/>
                  <a:gd name="T22" fmla="*/ 2147483647 w 502"/>
                  <a:gd name="T23" fmla="*/ 2147483647 h 285"/>
                  <a:gd name="T24" fmla="*/ 2147483647 w 502"/>
                  <a:gd name="T25" fmla="*/ 2147483647 h 285"/>
                  <a:gd name="T26" fmla="*/ 2147483647 w 502"/>
                  <a:gd name="T27" fmla="*/ 2147483647 h 285"/>
                  <a:gd name="T28" fmla="*/ 2147483647 w 502"/>
                  <a:gd name="T29" fmla="*/ 2147483647 h 285"/>
                  <a:gd name="T30" fmla="*/ 2147483647 w 502"/>
                  <a:gd name="T31" fmla="*/ 2147483647 h 285"/>
                  <a:gd name="T32" fmla="*/ 2147483647 w 502"/>
                  <a:gd name="T33" fmla="*/ 2147483647 h 285"/>
                  <a:gd name="T34" fmla="*/ 2147483647 w 502"/>
                  <a:gd name="T35" fmla="*/ 2147483647 h 285"/>
                  <a:gd name="T36" fmla="*/ 2147483647 w 502"/>
                  <a:gd name="T37" fmla="*/ 2147483647 h 285"/>
                  <a:gd name="T38" fmla="*/ 2147483647 w 502"/>
                  <a:gd name="T39" fmla="*/ 2147483647 h 285"/>
                  <a:gd name="T40" fmla="*/ 2147483647 w 502"/>
                  <a:gd name="T41" fmla="*/ 2147483647 h 285"/>
                  <a:gd name="T42" fmla="*/ 2147483647 w 502"/>
                  <a:gd name="T43" fmla="*/ 2147483647 h 285"/>
                  <a:gd name="T44" fmla="*/ 2147483647 w 502"/>
                  <a:gd name="T45" fmla="*/ 2147483647 h 285"/>
                  <a:gd name="T46" fmla="*/ 2147483647 w 502"/>
                  <a:gd name="T47" fmla="*/ 2147483647 h 285"/>
                  <a:gd name="T48" fmla="*/ 2147483647 w 502"/>
                  <a:gd name="T49" fmla="*/ 2147483647 h 285"/>
                  <a:gd name="T50" fmla="*/ 2147483647 w 502"/>
                  <a:gd name="T51" fmla="*/ 2147483647 h 285"/>
                  <a:gd name="T52" fmla="*/ 2147483647 w 502"/>
                  <a:gd name="T53" fmla="*/ 2147483647 h 285"/>
                  <a:gd name="T54" fmla="*/ 2147483647 w 502"/>
                  <a:gd name="T55" fmla="*/ 2147483647 h 285"/>
                  <a:gd name="T56" fmla="*/ 2147483647 w 502"/>
                  <a:gd name="T57" fmla="*/ 2147483647 h 285"/>
                  <a:gd name="T58" fmla="*/ 2147483647 w 502"/>
                  <a:gd name="T59" fmla="*/ 2147483647 h 285"/>
                  <a:gd name="T60" fmla="*/ 2147483647 w 502"/>
                  <a:gd name="T61" fmla="*/ 2147483647 h 285"/>
                  <a:gd name="T62" fmla="*/ 2147483647 w 502"/>
                  <a:gd name="T63" fmla="*/ 2147483647 h 285"/>
                  <a:gd name="T64" fmla="*/ 2147483647 w 502"/>
                  <a:gd name="T65" fmla="*/ 2147483647 h 285"/>
                  <a:gd name="T66" fmla="*/ 2147483647 w 502"/>
                  <a:gd name="T67" fmla="*/ 2147483647 h 285"/>
                  <a:gd name="T68" fmla="*/ 2147483647 w 502"/>
                  <a:gd name="T69" fmla="*/ 2147483647 h 285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502"/>
                  <a:gd name="T106" fmla="*/ 0 h 285"/>
                  <a:gd name="T107" fmla="*/ 502 w 502"/>
                  <a:gd name="T108" fmla="*/ 285 h 285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502" h="285">
                    <a:moveTo>
                      <a:pt x="403" y="227"/>
                    </a:moveTo>
                    <a:cubicBezTo>
                      <a:pt x="385" y="209"/>
                      <a:pt x="389" y="236"/>
                      <a:pt x="375" y="231"/>
                    </a:cubicBezTo>
                    <a:cubicBezTo>
                      <a:pt x="375" y="231"/>
                      <a:pt x="358" y="223"/>
                      <a:pt x="358" y="249"/>
                    </a:cubicBezTo>
                    <a:cubicBezTo>
                      <a:pt x="358" y="249"/>
                      <a:pt x="365" y="273"/>
                      <a:pt x="328" y="267"/>
                    </a:cubicBezTo>
                    <a:cubicBezTo>
                      <a:pt x="328" y="267"/>
                      <a:pt x="310" y="253"/>
                      <a:pt x="304" y="267"/>
                    </a:cubicBezTo>
                    <a:cubicBezTo>
                      <a:pt x="304" y="267"/>
                      <a:pt x="292" y="285"/>
                      <a:pt x="289" y="271"/>
                    </a:cubicBezTo>
                    <a:cubicBezTo>
                      <a:pt x="289" y="271"/>
                      <a:pt x="282" y="257"/>
                      <a:pt x="272" y="267"/>
                    </a:cubicBezTo>
                    <a:cubicBezTo>
                      <a:pt x="272" y="267"/>
                      <a:pt x="255" y="273"/>
                      <a:pt x="263" y="256"/>
                    </a:cubicBezTo>
                    <a:cubicBezTo>
                      <a:pt x="263" y="256"/>
                      <a:pt x="263" y="244"/>
                      <a:pt x="253" y="240"/>
                    </a:cubicBezTo>
                    <a:cubicBezTo>
                      <a:pt x="253" y="240"/>
                      <a:pt x="235" y="228"/>
                      <a:pt x="246" y="225"/>
                    </a:cubicBezTo>
                    <a:cubicBezTo>
                      <a:pt x="246" y="225"/>
                      <a:pt x="259" y="214"/>
                      <a:pt x="237" y="212"/>
                    </a:cubicBezTo>
                    <a:cubicBezTo>
                      <a:pt x="237" y="212"/>
                      <a:pt x="232" y="204"/>
                      <a:pt x="218" y="219"/>
                    </a:cubicBezTo>
                    <a:cubicBezTo>
                      <a:pt x="218" y="219"/>
                      <a:pt x="223" y="206"/>
                      <a:pt x="202" y="209"/>
                    </a:cubicBezTo>
                    <a:cubicBezTo>
                      <a:pt x="202" y="209"/>
                      <a:pt x="184" y="214"/>
                      <a:pt x="181" y="201"/>
                    </a:cubicBezTo>
                    <a:cubicBezTo>
                      <a:pt x="181" y="201"/>
                      <a:pt x="173" y="181"/>
                      <a:pt x="151" y="197"/>
                    </a:cubicBezTo>
                    <a:cubicBezTo>
                      <a:pt x="142" y="210"/>
                      <a:pt x="143" y="193"/>
                      <a:pt x="119" y="200"/>
                    </a:cubicBezTo>
                    <a:cubicBezTo>
                      <a:pt x="112" y="199"/>
                      <a:pt x="109" y="208"/>
                      <a:pt x="103" y="201"/>
                    </a:cubicBezTo>
                    <a:cubicBezTo>
                      <a:pt x="103" y="201"/>
                      <a:pt x="84" y="192"/>
                      <a:pt x="74" y="204"/>
                    </a:cubicBezTo>
                    <a:cubicBezTo>
                      <a:pt x="74" y="204"/>
                      <a:pt x="63" y="207"/>
                      <a:pt x="54" y="204"/>
                    </a:cubicBezTo>
                    <a:cubicBezTo>
                      <a:pt x="44" y="208"/>
                      <a:pt x="38" y="190"/>
                      <a:pt x="26" y="190"/>
                    </a:cubicBezTo>
                    <a:cubicBezTo>
                      <a:pt x="26" y="190"/>
                      <a:pt x="23" y="197"/>
                      <a:pt x="11" y="194"/>
                    </a:cubicBezTo>
                    <a:cubicBezTo>
                      <a:pt x="0" y="181"/>
                      <a:pt x="10" y="166"/>
                      <a:pt x="10" y="166"/>
                    </a:cubicBezTo>
                    <a:cubicBezTo>
                      <a:pt x="16" y="150"/>
                      <a:pt x="23" y="156"/>
                      <a:pt x="23" y="156"/>
                    </a:cubicBezTo>
                    <a:cubicBezTo>
                      <a:pt x="31" y="169"/>
                      <a:pt x="41" y="154"/>
                      <a:pt x="41" y="154"/>
                    </a:cubicBezTo>
                    <a:cubicBezTo>
                      <a:pt x="57" y="135"/>
                      <a:pt x="63" y="148"/>
                      <a:pt x="69" y="143"/>
                    </a:cubicBezTo>
                    <a:cubicBezTo>
                      <a:pt x="84" y="125"/>
                      <a:pt x="97" y="129"/>
                      <a:pt x="97" y="129"/>
                    </a:cubicBezTo>
                    <a:cubicBezTo>
                      <a:pt x="109" y="132"/>
                      <a:pt x="104" y="123"/>
                      <a:pt x="104" y="123"/>
                    </a:cubicBezTo>
                    <a:cubicBezTo>
                      <a:pt x="100" y="119"/>
                      <a:pt x="109" y="109"/>
                      <a:pt x="109" y="109"/>
                    </a:cubicBezTo>
                    <a:cubicBezTo>
                      <a:pt x="110" y="91"/>
                      <a:pt x="121" y="95"/>
                      <a:pt x="121" y="95"/>
                    </a:cubicBezTo>
                    <a:cubicBezTo>
                      <a:pt x="143" y="91"/>
                      <a:pt x="160" y="96"/>
                      <a:pt x="160" y="96"/>
                    </a:cubicBezTo>
                    <a:cubicBezTo>
                      <a:pt x="164" y="104"/>
                      <a:pt x="174" y="96"/>
                      <a:pt x="174" y="96"/>
                    </a:cubicBezTo>
                    <a:cubicBezTo>
                      <a:pt x="187" y="88"/>
                      <a:pt x="191" y="97"/>
                      <a:pt x="191" y="97"/>
                    </a:cubicBezTo>
                    <a:cubicBezTo>
                      <a:pt x="194" y="105"/>
                      <a:pt x="212" y="93"/>
                      <a:pt x="212" y="93"/>
                    </a:cubicBezTo>
                    <a:cubicBezTo>
                      <a:pt x="211" y="84"/>
                      <a:pt x="220" y="75"/>
                      <a:pt x="220" y="75"/>
                    </a:cubicBezTo>
                    <a:cubicBezTo>
                      <a:pt x="214" y="57"/>
                      <a:pt x="232" y="63"/>
                      <a:pt x="232" y="63"/>
                    </a:cubicBezTo>
                    <a:cubicBezTo>
                      <a:pt x="242" y="57"/>
                      <a:pt x="257" y="66"/>
                      <a:pt x="257" y="66"/>
                    </a:cubicBezTo>
                    <a:cubicBezTo>
                      <a:pt x="261" y="82"/>
                      <a:pt x="270" y="67"/>
                      <a:pt x="270" y="67"/>
                    </a:cubicBezTo>
                    <a:cubicBezTo>
                      <a:pt x="278" y="55"/>
                      <a:pt x="283" y="65"/>
                      <a:pt x="283" y="65"/>
                    </a:cubicBezTo>
                    <a:cubicBezTo>
                      <a:pt x="295" y="71"/>
                      <a:pt x="293" y="56"/>
                      <a:pt x="293" y="56"/>
                    </a:cubicBezTo>
                    <a:cubicBezTo>
                      <a:pt x="292" y="46"/>
                      <a:pt x="301" y="44"/>
                      <a:pt x="301" y="44"/>
                    </a:cubicBezTo>
                    <a:cubicBezTo>
                      <a:pt x="307" y="40"/>
                      <a:pt x="314" y="32"/>
                      <a:pt x="314" y="32"/>
                    </a:cubicBezTo>
                    <a:cubicBezTo>
                      <a:pt x="317" y="40"/>
                      <a:pt x="324" y="40"/>
                      <a:pt x="324" y="40"/>
                    </a:cubicBezTo>
                    <a:cubicBezTo>
                      <a:pt x="336" y="47"/>
                      <a:pt x="337" y="58"/>
                      <a:pt x="337" y="58"/>
                    </a:cubicBezTo>
                    <a:cubicBezTo>
                      <a:pt x="347" y="62"/>
                      <a:pt x="354" y="53"/>
                      <a:pt x="354" y="53"/>
                    </a:cubicBezTo>
                    <a:cubicBezTo>
                      <a:pt x="362" y="49"/>
                      <a:pt x="362" y="61"/>
                      <a:pt x="371" y="51"/>
                    </a:cubicBezTo>
                    <a:cubicBezTo>
                      <a:pt x="378" y="43"/>
                      <a:pt x="371" y="29"/>
                      <a:pt x="371" y="29"/>
                    </a:cubicBezTo>
                    <a:cubicBezTo>
                      <a:pt x="367" y="14"/>
                      <a:pt x="356" y="18"/>
                      <a:pt x="367" y="0"/>
                    </a:cubicBezTo>
                    <a:cubicBezTo>
                      <a:pt x="375" y="2"/>
                      <a:pt x="379" y="9"/>
                      <a:pt x="379" y="9"/>
                    </a:cubicBezTo>
                    <a:cubicBezTo>
                      <a:pt x="403" y="10"/>
                      <a:pt x="409" y="20"/>
                      <a:pt x="409" y="20"/>
                    </a:cubicBezTo>
                    <a:cubicBezTo>
                      <a:pt x="415" y="26"/>
                      <a:pt x="419" y="33"/>
                      <a:pt x="419" y="33"/>
                    </a:cubicBezTo>
                    <a:cubicBezTo>
                      <a:pt x="435" y="33"/>
                      <a:pt x="433" y="44"/>
                      <a:pt x="433" y="44"/>
                    </a:cubicBezTo>
                    <a:cubicBezTo>
                      <a:pt x="437" y="64"/>
                      <a:pt x="445" y="52"/>
                      <a:pt x="451" y="58"/>
                    </a:cubicBezTo>
                    <a:cubicBezTo>
                      <a:pt x="458" y="62"/>
                      <a:pt x="468" y="59"/>
                      <a:pt x="468" y="59"/>
                    </a:cubicBezTo>
                    <a:cubicBezTo>
                      <a:pt x="498" y="54"/>
                      <a:pt x="502" y="67"/>
                      <a:pt x="502" y="67"/>
                    </a:cubicBezTo>
                    <a:cubicBezTo>
                      <a:pt x="502" y="67"/>
                      <a:pt x="502" y="67"/>
                      <a:pt x="502" y="67"/>
                    </a:cubicBezTo>
                    <a:cubicBezTo>
                      <a:pt x="492" y="84"/>
                      <a:pt x="492" y="84"/>
                      <a:pt x="492" y="84"/>
                    </a:cubicBezTo>
                    <a:cubicBezTo>
                      <a:pt x="492" y="84"/>
                      <a:pt x="492" y="84"/>
                      <a:pt x="492" y="84"/>
                    </a:cubicBezTo>
                    <a:cubicBezTo>
                      <a:pt x="492" y="84"/>
                      <a:pt x="488" y="74"/>
                      <a:pt x="472" y="81"/>
                    </a:cubicBezTo>
                    <a:cubicBezTo>
                      <a:pt x="472" y="81"/>
                      <a:pt x="445" y="81"/>
                      <a:pt x="472" y="96"/>
                    </a:cubicBezTo>
                    <a:cubicBezTo>
                      <a:pt x="472" y="96"/>
                      <a:pt x="488" y="95"/>
                      <a:pt x="491" y="102"/>
                    </a:cubicBezTo>
                    <a:cubicBezTo>
                      <a:pt x="491" y="102"/>
                      <a:pt x="490" y="110"/>
                      <a:pt x="478" y="117"/>
                    </a:cubicBezTo>
                    <a:cubicBezTo>
                      <a:pt x="478" y="117"/>
                      <a:pt x="478" y="117"/>
                      <a:pt x="478" y="117"/>
                    </a:cubicBezTo>
                    <a:cubicBezTo>
                      <a:pt x="461" y="123"/>
                      <a:pt x="461" y="123"/>
                      <a:pt x="461" y="123"/>
                    </a:cubicBezTo>
                    <a:cubicBezTo>
                      <a:pt x="461" y="123"/>
                      <a:pt x="461" y="123"/>
                      <a:pt x="461" y="123"/>
                    </a:cubicBezTo>
                    <a:cubicBezTo>
                      <a:pt x="461" y="123"/>
                      <a:pt x="445" y="131"/>
                      <a:pt x="454" y="143"/>
                    </a:cubicBezTo>
                    <a:cubicBezTo>
                      <a:pt x="454" y="143"/>
                      <a:pt x="458" y="147"/>
                      <a:pt x="458" y="164"/>
                    </a:cubicBezTo>
                    <a:cubicBezTo>
                      <a:pt x="458" y="164"/>
                      <a:pt x="467" y="182"/>
                      <a:pt x="444" y="194"/>
                    </a:cubicBezTo>
                    <a:cubicBezTo>
                      <a:pt x="444" y="194"/>
                      <a:pt x="429" y="194"/>
                      <a:pt x="427" y="209"/>
                    </a:cubicBezTo>
                    <a:cubicBezTo>
                      <a:pt x="427" y="209"/>
                      <a:pt x="409" y="212"/>
                      <a:pt x="403" y="227"/>
                    </a:cubicBezTo>
                    <a:cubicBezTo>
                      <a:pt x="403" y="227"/>
                      <a:pt x="403" y="227"/>
                      <a:pt x="403" y="227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35" name="Freeform 39"/>
              <p:cNvSpPr>
                <a:spLocks/>
              </p:cNvSpPr>
              <p:nvPr/>
            </p:nvSpPr>
            <p:spPr bwMode="auto">
              <a:xfrm>
                <a:off x="2339175" y="4014468"/>
                <a:ext cx="1134986" cy="1364758"/>
              </a:xfrm>
              <a:custGeom>
                <a:avLst/>
                <a:gdLst>
                  <a:gd name="T0" fmla="*/ 2147483647 w 401"/>
                  <a:gd name="T1" fmla="*/ 2147483647 h 546"/>
                  <a:gd name="T2" fmla="*/ 2147483647 w 401"/>
                  <a:gd name="T3" fmla="*/ 2147483647 h 546"/>
                  <a:gd name="T4" fmla="*/ 2147483647 w 401"/>
                  <a:gd name="T5" fmla="*/ 2147483647 h 546"/>
                  <a:gd name="T6" fmla="*/ 2147483647 w 401"/>
                  <a:gd name="T7" fmla="*/ 2147483647 h 546"/>
                  <a:gd name="T8" fmla="*/ 2147483647 w 401"/>
                  <a:gd name="T9" fmla="*/ 2147483647 h 546"/>
                  <a:gd name="T10" fmla="*/ 2147483647 w 401"/>
                  <a:gd name="T11" fmla="*/ 2147483647 h 546"/>
                  <a:gd name="T12" fmla="*/ 2147483647 w 401"/>
                  <a:gd name="T13" fmla="*/ 2147483647 h 546"/>
                  <a:gd name="T14" fmla="*/ 2147483647 w 401"/>
                  <a:gd name="T15" fmla="*/ 2147483647 h 546"/>
                  <a:gd name="T16" fmla="*/ 2147483647 w 401"/>
                  <a:gd name="T17" fmla="*/ 2147483647 h 546"/>
                  <a:gd name="T18" fmla="*/ 2147483647 w 401"/>
                  <a:gd name="T19" fmla="*/ 2147483647 h 546"/>
                  <a:gd name="T20" fmla="*/ 2147483647 w 401"/>
                  <a:gd name="T21" fmla="*/ 2147483647 h 546"/>
                  <a:gd name="T22" fmla="*/ 2147483647 w 401"/>
                  <a:gd name="T23" fmla="*/ 2147483647 h 546"/>
                  <a:gd name="T24" fmla="*/ 2147483647 w 401"/>
                  <a:gd name="T25" fmla="*/ 2147483647 h 546"/>
                  <a:gd name="T26" fmla="*/ 2147483647 w 401"/>
                  <a:gd name="T27" fmla="*/ 2147483647 h 546"/>
                  <a:gd name="T28" fmla="*/ 2147483647 w 401"/>
                  <a:gd name="T29" fmla="*/ 2147483647 h 546"/>
                  <a:gd name="T30" fmla="*/ 2147483647 w 401"/>
                  <a:gd name="T31" fmla="*/ 2147483647 h 546"/>
                  <a:gd name="T32" fmla="*/ 2147483647 w 401"/>
                  <a:gd name="T33" fmla="*/ 2147483647 h 546"/>
                  <a:gd name="T34" fmla="*/ 2147483647 w 401"/>
                  <a:gd name="T35" fmla="*/ 2147483647 h 546"/>
                  <a:gd name="T36" fmla="*/ 2147483647 w 401"/>
                  <a:gd name="T37" fmla="*/ 2147483647 h 546"/>
                  <a:gd name="T38" fmla="*/ 2147483647 w 401"/>
                  <a:gd name="T39" fmla="*/ 2147483647 h 546"/>
                  <a:gd name="T40" fmla="*/ 2147483647 w 401"/>
                  <a:gd name="T41" fmla="*/ 2147483647 h 546"/>
                  <a:gd name="T42" fmla="*/ 2147483647 w 401"/>
                  <a:gd name="T43" fmla="*/ 2147483647 h 546"/>
                  <a:gd name="T44" fmla="*/ 2147483647 w 401"/>
                  <a:gd name="T45" fmla="*/ 2147483647 h 546"/>
                  <a:gd name="T46" fmla="*/ 2147483647 w 401"/>
                  <a:gd name="T47" fmla="*/ 2147483647 h 546"/>
                  <a:gd name="T48" fmla="*/ 2147483647 w 401"/>
                  <a:gd name="T49" fmla="*/ 2147483647 h 546"/>
                  <a:gd name="T50" fmla="*/ 2147483647 w 401"/>
                  <a:gd name="T51" fmla="*/ 2147483647 h 546"/>
                  <a:gd name="T52" fmla="*/ 2147483647 w 401"/>
                  <a:gd name="T53" fmla="*/ 2147483647 h 546"/>
                  <a:gd name="T54" fmla="*/ 2147483647 w 401"/>
                  <a:gd name="T55" fmla="*/ 2147483647 h 546"/>
                  <a:gd name="T56" fmla="*/ 2147483647 w 401"/>
                  <a:gd name="T57" fmla="*/ 2147483647 h 546"/>
                  <a:gd name="T58" fmla="*/ 2147483647 w 401"/>
                  <a:gd name="T59" fmla="*/ 2147483647 h 546"/>
                  <a:gd name="T60" fmla="*/ 2147483647 w 401"/>
                  <a:gd name="T61" fmla="*/ 2147483647 h 546"/>
                  <a:gd name="T62" fmla="*/ 2147483647 w 401"/>
                  <a:gd name="T63" fmla="*/ 2147483647 h 546"/>
                  <a:gd name="T64" fmla="*/ 2147483647 w 401"/>
                  <a:gd name="T65" fmla="*/ 2147483647 h 546"/>
                  <a:gd name="T66" fmla="*/ 2147483647 w 401"/>
                  <a:gd name="T67" fmla="*/ 2147483647 h 546"/>
                  <a:gd name="T68" fmla="*/ 2147483647 w 401"/>
                  <a:gd name="T69" fmla="*/ 2147483647 h 546"/>
                  <a:gd name="T70" fmla="*/ 2147483647 w 401"/>
                  <a:gd name="T71" fmla="*/ 2147483647 h 546"/>
                  <a:gd name="T72" fmla="*/ 2147483647 w 401"/>
                  <a:gd name="T73" fmla="*/ 2147483647 h 546"/>
                  <a:gd name="T74" fmla="*/ 2147483647 w 401"/>
                  <a:gd name="T75" fmla="*/ 2147483647 h 546"/>
                  <a:gd name="T76" fmla="*/ 2147483647 w 401"/>
                  <a:gd name="T77" fmla="*/ 2147483647 h 546"/>
                  <a:gd name="T78" fmla="*/ 2147483647 w 401"/>
                  <a:gd name="T79" fmla="*/ 2147483647 h 546"/>
                  <a:gd name="T80" fmla="*/ 2147483647 w 401"/>
                  <a:gd name="T81" fmla="*/ 2147483647 h 546"/>
                  <a:gd name="T82" fmla="*/ 2147483647 w 401"/>
                  <a:gd name="T83" fmla="*/ 2147483647 h 546"/>
                  <a:gd name="T84" fmla="*/ 2147483647 w 401"/>
                  <a:gd name="T85" fmla="*/ 2147483647 h 546"/>
                  <a:gd name="T86" fmla="*/ 2147483647 w 401"/>
                  <a:gd name="T87" fmla="*/ 2147483647 h 546"/>
                  <a:gd name="T88" fmla="*/ 2147483647 w 401"/>
                  <a:gd name="T89" fmla="*/ 2147483647 h 546"/>
                  <a:gd name="T90" fmla="*/ 2147483647 w 401"/>
                  <a:gd name="T91" fmla="*/ 2147483647 h 546"/>
                  <a:gd name="T92" fmla="*/ 2147483647 w 401"/>
                  <a:gd name="T93" fmla="*/ 2147483647 h 546"/>
                  <a:gd name="T94" fmla="*/ 2147483647 w 401"/>
                  <a:gd name="T95" fmla="*/ 2147483647 h 546"/>
                  <a:gd name="T96" fmla="*/ 2147483647 w 401"/>
                  <a:gd name="T97" fmla="*/ 2147483647 h 546"/>
                  <a:gd name="T98" fmla="*/ 2147483647 w 401"/>
                  <a:gd name="T99" fmla="*/ 2147483647 h 546"/>
                  <a:gd name="T100" fmla="*/ 2147483647 w 401"/>
                  <a:gd name="T101" fmla="*/ 2147483647 h 546"/>
                  <a:gd name="T102" fmla="*/ 2147483647 w 401"/>
                  <a:gd name="T103" fmla="*/ 2147483647 h 546"/>
                  <a:gd name="T104" fmla="*/ 2147483647 w 401"/>
                  <a:gd name="T105" fmla="*/ 2147483647 h 546"/>
                  <a:gd name="T106" fmla="*/ 2147483647 w 401"/>
                  <a:gd name="T107" fmla="*/ 2147483647 h 546"/>
                  <a:gd name="T108" fmla="*/ 2147483647 w 401"/>
                  <a:gd name="T109" fmla="*/ 2147483647 h 546"/>
                  <a:gd name="T110" fmla="*/ 2147483647 w 401"/>
                  <a:gd name="T111" fmla="*/ 2147483647 h 546"/>
                  <a:gd name="T112" fmla="*/ 2147483647 w 401"/>
                  <a:gd name="T113" fmla="*/ 2147483647 h 546"/>
                  <a:gd name="T114" fmla="*/ 2147483647 w 401"/>
                  <a:gd name="T115" fmla="*/ 2147483647 h 546"/>
                  <a:gd name="T116" fmla="*/ 2147483647 w 401"/>
                  <a:gd name="T117" fmla="*/ 2147483647 h 54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401"/>
                  <a:gd name="T178" fmla="*/ 0 h 546"/>
                  <a:gd name="T179" fmla="*/ 401 w 401"/>
                  <a:gd name="T180" fmla="*/ 546 h 54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401" h="546">
                    <a:moveTo>
                      <a:pt x="101" y="35"/>
                    </a:moveTo>
                    <a:cubicBezTo>
                      <a:pt x="113" y="32"/>
                      <a:pt x="117" y="19"/>
                      <a:pt x="117" y="19"/>
                    </a:cubicBezTo>
                    <a:cubicBezTo>
                      <a:pt x="120" y="0"/>
                      <a:pt x="128" y="17"/>
                      <a:pt x="128" y="17"/>
                    </a:cubicBezTo>
                    <a:cubicBezTo>
                      <a:pt x="138" y="27"/>
                      <a:pt x="156" y="23"/>
                      <a:pt x="156" y="23"/>
                    </a:cubicBezTo>
                    <a:cubicBezTo>
                      <a:pt x="167" y="13"/>
                      <a:pt x="174" y="24"/>
                      <a:pt x="174" y="24"/>
                    </a:cubicBezTo>
                    <a:cubicBezTo>
                      <a:pt x="195" y="27"/>
                      <a:pt x="195" y="16"/>
                      <a:pt x="195" y="16"/>
                    </a:cubicBezTo>
                    <a:cubicBezTo>
                      <a:pt x="193" y="5"/>
                      <a:pt x="208" y="5"/>
                      <a:pt x="208" y="5"/>
                    </a:cubicBezTo>
                    <a:cubicBezTo>
                      <a:pt x="220" y="8"/>
                      <a:pt x="223" y="1"/>
                      <a:pt x="223" y="1"/>
                    </a:cubicBezTo>
                    <a:cubicBezTo>
                      <a:pt x="235" y="1"/>
                      <a:pt x="241" y="19"/>
                      <a:pt x="251" y="15"/>
                    </a:cubicBezTo>
                    <a:cubicBezTo>
                      <a:pt x="260" y="18"/>
                      <a:pt x="269" y="15"/>
                      <a:pt x="269" y="15"/>
                    </a:cubicBezTo>
                    <a:cubicBezTo>
                      <a:pt x="274" y="24"/>
                      <a:pt x="265" y="23"/>
                      <a:pt x="265" y="23"/>
                    </a:cubicBezTo>
                    <a:cubicBezTo>
                      <a:pt x="252" y="32"/>
                      <a:pt x="264" y="47"/>
                      <a:pt x="264" y="47"/>
                    </a:cubicBezTo>
                    <a:cubicBezTo>
                      <a:pt x="274" y="53"/>
                      <a:pt x="272" y="77"/>
                      <a:pt x="272" y="77"/>
                    </a:cubicBezTo>
                    <a:cubicBezTo>
                      <a:pt x="282" y="76"/>
                      <a:pt x="281" y="93"/>
                      <a:pt x="281" y="93"/>
                    </a:cubicBezTo>
                    <a:cubicBezTo>
                      <a:pt x="278" y="118"/>
                      <a:pt x="304" y="110"/>
                      <a:pt x="304" y="110"/>
                    </a:cubicBezTo>
                    <a:cubicBezTo>
                      <a:pt x="321" y="112"/>
                      <a:pt x="331" y="104"/>
                      <a:pt x="331" y="118"/>
                    </a:cubicBezTo>
                    <a:cubicBezTo>
                      <a:pt x="344" y="133"/>
                      <a:pt x="333" y="142"/>
                      <a:pt x="333" y="142"/>
                    </a:cubicBezTo>
                    <a:cubicBezTo>
                      <a:pt x="332" y="152"/>
                      <a:pt x="337" y="166"/>
                      <a:pt x="337" y="166"/>
                    </a:cubicBezTo>
                    <a:cubicBezTo>
                      <a:pt x="339" y="178"/>
                      <a:pt x="359" y="176"/>
                      <a:pt x="359" y="176"/>
                    </a:cubicBezTo>
                    <a:cubicBezTo>
                      <a:pt x="384" y="172"/>
                      <a:pt x="366" y="187"/>
                      <a:pt x="368" y="190"/>
                    </a:cubicBezTo>
                    <a:cubicBezTo>
                      <a:pt x="369" y="196"/>
                      <a:pt x="387" y="196"/>
                      <a:pt x="388" y="203"/>
                    </a:cubicBezTo>
                    <a:cubicBezTo>
                      <a:pt x="401" y="225"/>
                      <a:pt x="373" y="228"/>
                      <a:pt x="373" y="228"/>
                    </a:cubicBezTo>
                    <a:cubicBezTo>
                      <a:pt x="353" y="228"/>
                      <a:pt x="359" y="236"/>
                      <a:pt x="359" y="236"/>
                    </a:cubicBezTo>
                    <a:cubicBezTo>
                      <a:pt x="356" y="243"/>
                      <a:pt x="366" y="247"/>
                      <a:pt x="366" y="247"/>
                    </a:cubicBezTo>
                    <a:cubicBezTo>
                      <a:pt x="376" y="255"/>
                      <a:pt x="373" y="269"/>
                      <a:pt x="373" y="269"/>
                    </a:cubicBezTo>
                    <a:cubicBezTo>
                      <a:pt x="370" y="286"/>
                      <a:pt x="380" y="286"/>
                      <a:pt x="380" y="286"/>
                    </a:cubicBezTo>
                    <a:cubicBezTo>
                      <a:pt x="373" y="293"/>
                      <a:pt x="360" y="294"/>
                      <a:pt x="360" y="294"/>
                    </a:cubicBezTo>
                    <a:cubicBezTo>
                      <a:pt x="355" y="298"/>
                      <a:pt x="336" y="299"/>
                      <a:pt x="336" y="299"/>
                    </a:cubicBezTo>
                    <a:cubicBezTo>
                      <a:pt x="326" y="297"/>
                      <a:pt x="333" y="319"/>
                      <a:pt x="333" y="319"/>
                    </a:cubicBezTo>
                    <a:cubicBezTo>
                      <a:pt x="331" y="336"/>
                      <a:pt x="317" y="342"/>
                      <a:pt x="317" y="342"/>
                    </a:cubicBezTo>
                    <a:cubicBezTo>
                      <a:pt x="319" y="353"/>
                      <a:pt x="309" y="361"/>
                      <a:pt x="309" y="361"/>
                    </a:cubicBezTo>
                    <a:cubicBezTo>
                      <a:pt x="303" y="378"/>
                      <a:pt x="296" y="379"/>
                      <a:pt x="296" y="379"/>
                    </a:cubicBezTo>
                    <a:cubicBezTo>
                      <a:pt x="284" y="371"/>
                      <a:pt x="283" y="357"/>
                      <a:pt x="283" y="357"/>
                    </a:cubicBezTo>
                    <a:cubicBezTo>
                      <a:pt x="283" y="357"/>
                      <a:pt x="283" y="357"/>
                      <a:pt x="283" y="357"/>
                    </a:cubicBezTo>
                    <a:cubicBezTo>
                      <a:pt x="272" y="346"/>
                      <a:pt x="272" y="346"/>
                      <a:pt x="272" y="346"/>
                    </a:cubicBezTo>
                    <a:cubicBezTo>
                      <a:pt x="272" y="346"/>
                      <a:pt x="272" y="346"/>
                      <a:pt x="272" y="346"/>
                    </a:cubicBezTo>
                    <a:cubicBezTo>
                      <a:pt x="271" y="337"/>
                      <a:pt x="260" y="329"/>
                      <a:pt x="250" y="337"/>
                    </a:cubicBezTo>
                    <a:cubicBezTo>
                      <a:pt x="238" y="346"/>
                      <a:pt x="251" y="351"/>
                      <a:pt x="251" y="351"/>
                    </a:cubicBezTo>
                    <a:cubicBezTo>
                      <a:pt x="251" y="351"/>
                      <a:pt x="251" y="351"/>
                      <a:pt x="251" y="351"/>
                    </a:cubicBezTo>
                    <a:cubicBezTo>
                      <a:pt x="265" y="360"/>
                      <a:pt x="265" y="360"/>
                      <a:pt x="265" y="360"/>
                    </a:cubicBezTo>
                    <a:cubicBezTo>
                      <a:pt x="265" y="360"/>
                      <a:pt x="265" y="360"/>
                      <a:pt x="265" y="360"/>
                    </a:cubicBezTo>
                    <a:cubicBezTo>
                      <a:pt x="278" y="366"/>
                      <a:pt x="280" y="379"/>
                      <a:pt x="280" y="379"/>
                    </a:cubicBezTo>
                    <a:cubicBezTo>
                      <a:pt x="293" y="397"/>
                      <a:pt x="278" y="405"/>
                      <a:pt x="278" y="405"/>
                    </a:cubicBezTo>
                    <a:cubicBezTo>
                      <a:pt x="278" y="405"/>
                      <a:pt x="278" y="405"/>
                      <a:pt x="278" y="405"/>
                    </a:cubicBezTo>
                    <a:cubicBezTo>
                      <a:pt x="248" y="437"/>
                      <a:pt x="248" y="437"/>
                      <a:pt x="248" y="437"/>
                    </a:cubicBezTo>
                    <a:cubicBezTo>
                      <a:pt x="248" y="426"/>
                      <a:pt x="248" y="426"/>
                      <a:pt x="248" y="426"/>
                    </a:cubicBezTo>
                    <a:cubicBezTo>
                      <a:pt x="234" y="434"/>
                      <a:pt x="234" y="434"/>
                      <a:pt x="234" y="434"/>
                    </a:cubicBezTo>
                    <a:cubicBezTo>
                      <a:pt x="234" y="434"/>
                      <a:pt x="234" y="434"/>
                      <a:pt x="234" y="434"/>
                    </a:cubicBezTo>
                    <a:cubicBezTo>
                      <a:pt x="219" y="434"/>
                      <a:pt x="220" y="448"/>
                      <a:pt x="220" y="448"/>
                    </a:cubicBezTo>
                    <a:cubicBezTo>
                      <a:pt x="216" y="453"/>
                      <a:pt x="206" y="450"/>
                      <a:pt x="206" y="450"/>
                    </a:cubicBezTo>
                    <a:cubicBezTo>
                      <a:pt x="203" y="456"/>
                      <a:pt x="214" y="457"/>
                      <a:pt x="210" y="466"/>
                    </a:cubicBezTo>
                    <a:cubicBezTo>
                      <a:pt x="199" y="475"/>
                      <a:pt x="191" y="463"/>
                      <a:pt x="191" y="463"/>
                    </a:cubicBezTo>
                    <a:cubicBezTo>
                      <a:pt x="191" y="463"/>
                      <a:pt x="191" y="463"/>
                      <a:pt x="191" y="463"/>
                    </a:cubicBezTo>
                    <a:cubicBezTo>
                      <a:pt x="190" y="448"/>
                      <a:pt x="190" y="448"/>
                      <a:pt x="190" y="448"/>
                    </a:cubicBezTo>
                    <a:cubicBezTo>
                      <a:pt x="187" y="438"/>
                      <a:pt x="187" y="438"/>
                      <a:pt x="187" y="438"/>
                    </a:cubicBezTo>
                    <a:cubicBezTo>
                      <a:pt x="187" y="438"/>
                      <a:pt x="187" y="438"/>
                      <a:pt x="187" y="438"/>
                    </a:cubicBezTo>
                    <a:cubicBezTo>
                      <a:pt x="179" y="443"/>
                      <a:pt x="183" y="458"/>
                      <a:pt x="183" y="458"/>
                    </a:cubicBezTo>
                    <a:cubicBezTo>
                      <a:pt x="175" y="474"/>
                      <a:pt x="183" y="485"/>
                      <a:pt x="183" y="485"/>
                    </a:cubicBezTo>
                    <a:cubicBezTo>
                      <a:pt x="179" y="505"/>
                      <a:pt x="189" y="500"/>
                      <a:pt x="189" y="500"/>
                    </a:cubicBezTo>
                    <a:cubicBezTo>
                      <a:pt x="201" y="498"/>
                      <a:pt x="199" y="519"/>
                      <a:pt x="199" y="519"/>
                    </a:cubicBezTo>
                    <a:cubicBezTo>
                      <a:pt x="197" y="544"/>
                      <a:pt x="185" y="544"/>
                      <a:pt x="185" y="544"/>
                    </a:cubicBezTo>
                    <a:cubicBezTo>
                      <a:pt x="185" y="544"/>
                      <a:pt x="190" y="525"/>
                      <a:pt x="180" y="517"/>
                    </a:cubicBezTo>
                    <a:cubicBezTo>
                      <a:pt x="180" y="517"/>
                      <a:pt x="179" y="506"/>
                      <a:pt x="158" y="503"/>
                    </a:cubicBezTo>
                    <a:cubicBezTo>
                      <a:pt x="158" y="503"/>
                      <a:pt x="131" y="498"/>
                      <a:pt x="119" y="513"/>
                    </a:cubicBezTo>
                    <a:cubicBezTo>
                      <a:pt x="119" y="513"/>
                      <a:pt x="98" y="514"/>
                      <a:pt x="91" y="531"/>
                    </a:cubicBezTo>
                    <a:cubicBezTo>
                      <a:pt x="91" y="531"/>
                      <a:pt x="91" y="531"/>
                      <a:pt x="91" y="531"/>
                    </a:cubicBezTo>
                    <a:cubicBezTo>
                      <a:pt x="80" y="522"/>
                      <a:pt x="80" y="522"/>
                      <a:pt x="80" y="522"/>
                    </a:cubicBezTo>
                    <a:cubicBezTo>
                      <a:pt x="80" y="522"/>
                      <a:pt x="80" y="522"/>
                      <a:pt x="80" y="522"/>
                    </a:cubicBezTo>
                    <a:cubicBezTo>
                      <a:pt x="80" y="522"/>
                      <a:pt x="69" y="525"/>
                      <a:pt x="73" y="532"/>
                    </a:cubicBezTo>
                    <a:cubicBezTo>
                      <a:pt x="73" y="532"/>
                      <a:pt x="73" y="546"/>
                      <a:pt x="47" y="534"/>
                    </a:cubicBezTo>
                    <a:cubicBezTo>
                      <a:pt x="36" y="522"/>
                      <a:pt x="25" y="529"/>
                      <a:pt x="18" y="519"/>
                    </a:cubicBezTo>
                    <a:cubicBezTo>
                      <a:pt x="18" y="519"/>
                      <a:pt x="7" y="514"/>
                      <a:pt x="7" y="497"/>
                    </a:cubicBezTo>
                    <a:cubicBezTo>
                      <a:pt x="7" y="497"/>
                      <a:pt x="1" y="498"/>
                      <a:pt x="0" y="492"/>
                    </a:cubicBezTo>
                    <a:cubicBezTo>
                      <a:pt x="0" y="492"/>
                      <a:pt x="8" y="477"/>
                      <a:pt x="19" y="485"/>
                    </a:cubicBezTo>
                    <a:cubicBezTo>
                      <a:pt x="19" y="485"/>
                      <a:pt x="25" y="481"/>
                      <a:pt x="33" y="485"/>
                    </a:cubicBezTo>
                    <a:cubicBezTo>
                      <a:pt x="33" y="485"/>
                      <a:pt x="47" y="489"/>
                      <a:pt x="42" y="462"/>
                    </a:cubicBezTo>
                    <a:cubicBezTo>
                      <a:pt x="42" y="462"/>
                      <a:pt x="27" y="459"/>
                      <a:pt x="51" y="444"/>
                    </a:cubicBezTo>
                    <a:cubicBezTo>
                      <a:pt x="51" y="444"/>
                      <a:pt x="63" y="440"/>
                      <a:pt x="64" y="431"/>
                    </a:cubicBezTo>
                    <a:cubicBezTo>
                      <a:pt x="64" y="431"/>
                      <a:pt x="76" y="434"/>
                      <a:pt x="73" y="417"/>
                    </a:cubicBezTo>
                    <a:cubicBezTo>
                      <a:pt x="73" y="417"/>
                      <a:pt x="65" y="404"/>
                      <a:pt x="89" y="402"/>
                    </a:cubicBezTo>
                    <a:cubicBezTo>
                      <a:pt x="89" y="402"/>
                      <a:pt x="102" y="401"/>
                      <a:pt x="100" y="390"/>
                    </a:cubicBezTo>
                    <a:cubicBezTo>
                      <a:pt x="100" y="390"/>
                      <a:pt x="93" y="382"/>
                      <a:pt x="103" y="375"/>
                    </a:cubicBezTo>
                    <a:cubicBezTo>
                      <a:pt x="103" y="375"/>
                      <a:pt x="117" y="366"/>
                      <a:pt x="103" y="358"/>
                    </a:cubicBezTo>
                    <a:cubicBezTo>
                      <a:pt x="103" y="358"/>
                      <a:pt x="97" y="357"/>
                      <a:pt x="97" y="347"/>
                    </a:cubicBezTo>
                    <a:cubicBezTo>
                      <a:pt x="97" y="347"/>
                      <a:pt x="105" y="342"/>
                      <a:pt x="97" y="330"/>
                    </a:cubicBezTo>
                    <a:cubicBezTo>
                      <a:pt x="97" y="330"/>
                      <a:pt x="93" y="319"/>
                      <a:pt x="108" y="310"/>
                    </a:cubicBezTo>
                    <a:cubicBezTo>
                      <a:pt x="108" y="310"/>
                      <a:pt x="118" y="310"/>
                      <a:pt x="124" y="303"/>
                    </a:cubicBezTo>
                    <a:cubicBezTo>
                      <a:pt x="124" y="303"/>
                      <a:pt x="135" y="294"/>
                      <a:pt x="135" y="320"/>
                    </a:cubicBezTo>
                    <a:cubicBezTo>
                      <a:pt x="128" y="337"/>
                      <a:pt x="145" y="331"/>
                      <a:pt x="143" y="324"/>
                    </a:cubicBezTo>
                    <a:cubicBezTo>
                      <a:pt x="143" y="324"/>
                      <a:pt x="145" y="310"/>
                      <a:pt x="150" y="319"/>
                    </a:cubicBezTo>
                    <a:cubicBezTo>
                      <a:pt x="150" y="319"/>
                      <a:pt x="152" y="324"/>
                      <a:pt x="161" y="316"/>
                    </a:cubicBezTo>
                    <a:cubicBezTo>
                      <a:pt x="168" y="306"/>
                      <a:pt x="166" y="324"/>
                      <a:pt x="178" y="324"/>
                    </a:cubicBezTo>
                    <a:cubicBezTo>
                      <a:pt x="178" y="337"/>
                      <a:pt x="191" y="337"/>
                      <a:pt x="191" y="326"/>
                    </a:cubicBezTo>
                    <a:cubicBezTo>
                      <a:pt x="191" y="326"/>
                      <a:pt x="202" y="310"/>
                      <a:pt x="210" y="331"/>
                    </a:cubicBezTo>
                    <a:cubicBezTo>
                      <a:pt x="210" y="331"/>
                      <a:pt x="210" y="348"/>
                      <a:pt x="220" y="332"/>
                    </a:cubicBezTo>
                    <a:cubicBezTo>
                      <a:pt x="220" y="332"/>
                      <a:pt x="244" y="335"/>
                      <a:pt x="248" y="330"/>
                    </a:cubicBezTo>
                    <a:cubicBezTo>
                      <a:pt x="248" y="330"/>
                      <a:pt x="241" y="318"/>
                      <a:pt x="234" y="320"/>
                    </a:cubicBezTo>
                    <a:cubicBezTo>
                      <a:pt x="232" y="312"/>
                      <a:pt x="216" y="309"/>
                      <a:pt x="219" y="303"/>
                    </a:cubicBezTo>
                    <a:cubicBezTo>
                      <a:pt x="219" y="303"/>
                      <a:pt x="229" y="304"/>
                      <a:pt x="226" y="286"/>
                    </a:cubicBezTo>
                    <a:cubicBezTo>
                      <a:pt x="226" y="286"/>
                      <a:pt x="230" y="271"/>
                      <a:pt x="226" y="265"/>
                    </a:cubicBezTo>
                    <a:cubicBezTo>
                      <a:pt x="226" y="265"/>
                      <a:pt x="230" y="248"/>
                      <a:pt x="201" y="243"/>
                    </a:cubicBezTo>
                    <a:cubicBezTo>
                      <a:pt x="193" y="231"/>
                      <a:pt x="186" y="236"/>
                      <a:pt x="183" y="226"/>
                    </a:cubicBezTo>
                    <a:cubicBezTo>
                      <a:pt x="183" y="226"/>
                      <a:pt x="183" y="226"/>
                      <a:pt x="183" y="226"/>
                    </a:cubicBezTo>
                    <a:cubicBezTo>
                      <a:pt x="185" y="206"/>
                      <a:pt x="185" y="206"/>
                      <a:pt x="185" y="206"/>
                    </a:cubicBezTo>
                    <a:cubicBezTo>
                      <a:pt x="185" y="206"/>
                      <a:pt x="185" y="206"/>
                      <a:pt x="185" y="206"/>
                    </a:cubicBezTo>
                    <a:cubicBezTo>
                      <a:pt x="185" y="206"/>
                      <a:pt x="165" y="201"/>
                      <a:pt x="174" y="197"/>
                    </a:cubicBezTo>
                    <a:cubicBezTo>
                      <a:pt x="183" y="198"/>
                      <a:pt x="175" y="179"/>
                      <a:pt x="181" y="175"/>
                    </a:cubicBezTo>
                    <a:cubicBezTo>
                      <a:pt x="181" y="175"/>
                      <a:pt x="189" y="153"/>
                      <a:pt x="172" y="158"/>
                    </a:cubicBezTo>
                    <a:cubicBezTo>
                      <a:pt x="172" y="166"/>
                      <a:pt x="156" y="174"/>
                      <a:pt x="155" y="156"/>
                    </a:cubicBezTo>
                    <a:cubicBezTo>
                      <a:pt x="155" y="156"/>
                      <a:pt x="151" y="137"/>
                      <a:pt x="132" y="138"/>
                    </a:cubicBezTo>
                    <a:cubicBezTo>
                      <a:pt x="132" y="138"/>
                      <a:pt x="125" y="132"/>
                      <a:pt x="128" y="115"/>
                    </a:cubicBezTo>
                    <a:cubicBezTo>
                      <a:pt x="128" y="115"/>
                      <a:pt x="139" y="108"/>
                      <a:pt x="135" y="96"/>
                    </a:cubicBezTo>
                    <a:cubicBezTo>
                      <a:pt x="135" y="96"/>
                      <a:pt x="134" y="86"/>
                      <a:pt x="139" y="84"/>
                    </a:cubicBezTo>
                    <a:cubicBezTo>
                      <a:pt x="139" y="84"/>
                      <a:pt x="148" y="80"/>
                      <a:pt x="138" y="71"/>
                    </a:cubicBezTo>
                    <a:cubicBezTo>
                      <a:pt x="135" y="64"/>
                      <a:pt x="150" y="70"/>
                      <a:pt x="135" y="49"/>
                    </a:cubicBezTo>
                    <a:cubicBezTo>
                      <a:pt x="135" y="49"/>
                      <a:pt x="133" y="33"/>
                      <a:pt x="120" y="41"/>
                    </a:cubicBezTo>
                    <a:cubicBezTo>
                      <a:pt x="120" y="41"/>
                      <a:pt x="118" y="60"/>
                      <a:pt x="101" y="35"/>
                    </a:cubicBezTo>
                    <a:cubicBezTo>
                      <a:pt x="101" y="35"/>
                      <a:pt x="101" y="35"/>
                      <a:pt x="101" y="35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36" name="Freeform 38"/>
              <p:cNvSpPr>
                <a:spLocks/>
              </p:cNvSpPr>
              <p:nvPr/>
            </p:nvSpPr>
            <p:spPr bwMode="auto">
              <a:xfrm>
                <a:off x="3052861" y="4048050"/>
                <a:ext cx="1037967" cy="760163"/>
              </a:xfrm>
              <a:custGeom>
                <a:avLst/>
                <a:gdLst>
                  <a:gd name="T0" fmla="*/ 2147483647 w 367"/>
                  <a:gd name="T1" fmla="*/ 2147483647 h 304"/>
                  <a:gd name="T2" fmla="*/ 2147483647 w 367"/>
                  <a:gd name="T3" fmla="*/ 2147483647 h 304"/>
                  <a:gd name="T4" fmla="*/ 2147483647 w 367"/>
                  <a:gd name="T5" fmla="*/ 2147483647 h 304"/>
                  <a:gd name="T6" fmla="*/ 2147483647 w 367"/>
                  <a:gd name="T7" fmla="*/ 2147483647 h 304"/>
                  <a:gd name="T8" fmla="*/ 2147483647 w 367"/>
                  <a:gd name="T9" fmla="*/ 2147483647 h 304"/>
                  <a:gd name="T10" fmla="*/ 2147483647 w 367"/>
                  <a:gd name="T11" fmla="*/ 2147483647 h 304"/>
                  <a:gd name="T12" fmla="*/ 2147483647 w 367"/>
                  <a:gd name="T13" fmla="*/ 2147483647 h 304"/>
                  <a:gd name="T14" fmla="*/ 2147483647 w 367"/>
                  <a:gd name="T15" fmla="*/ 2147483647 h 304"/>
                  <a:gd name="T16" fmla="*/ 2147483647 w 367"/>
                  <a:gd name="T17" fmla="*/ 2147483647 h 304"/>
                  <a:gd name="T18" fmla="*/ 2147483647 w 367"/>
                  <a:gd name="T19" fmla="*/ 2147483647 h 304"/>
                  <a:gd name="T20" fmla="*/ 2147483647 w 367"/>
                  <a:gd name="T21" fmla="*/ 2147483647 h 304"/>
                  <a:gd name="T22" fmla="*/ 2147483647 w 367"/>
                  <a:gd name="T23" fmla="*/ 2147483647 h 304"/>
                  <a:gd name="T24" fmla="*/ 2147483647 w 367"/>
                  <a:gd name="T25" fmla="*/ 2147483647 h 304"/>
                  <a:gd name="T26" fmla="*/ 2147483647 w 367"/>
                  <a:gd name="T27" fmla="*/ 2147483647 h 304"/>
                  <a:gd name="T28" fmla="*/ 2147483647 w 367"/>
                  <a:gd name="T29" fmla="*/ 2147483647 h 304"/>
                  <a:gd name="T30" fmla="*/ 2147483647 w 367"/>
                  <a:gd name="T31" fmla="*/ 2147483647 h 304"/>
                  <a:gd name="T32" fmla="*/ 2147483647 w 367"/>
                  <a:gd name="T33" fmla="*/ 2147483647 h 304"/>
                  <a:gd name="T34" fmla="*/ 2147483647 w 367"/>
                  <a:gd name="T35" fmla="*/ 2147483647 h 304"/>
                  <a:gd name="T36" fmla="*/ 2147483647 w 367"/>
                  <a:gd name="T37" fmla="*/ 2147483647 h 304"/>
                  <a:gd name="T38" fmla="*/ 2147483647 w 367"/>
                  <a:gd name="T39" fmla="*/ 2147483647 h 304"/>
                  <a:gd name="T40" fmla="*/ 2147483647 w 367"/>
                  <a:gd name="T41" fmla="*/ 2147483647 h 304"/>
                  <a:gd name="T42" fmla="*/ 2147483647 w 367"/>
                  <a:gd name="T43" fmla="*/ 2147483647 h 304"/>
                  <a:gd name="T44" fmla="*/ 2147483647 w 367"/>
                  <a:gd name="T45" fmla="*/ 2147483647 h 304"/>
                  <a:gd name="T46" fmla="*/ 2147483647 w 367"/>
                  <a:gd name="T47" fmla="*/ 2147483647 h 304"/>
                  <a:gd name="T48" fmla="*/ 2147483647 w 367"/>
                  <a:gd name="T49" fmla="*/ 2147483647 h 304"/>
                  <a:gd name="T50" fmla="*/ 2147483647 w 367"/>
                  <a:gd name="T51" fmla="*/ 2147483647 h 304"/>
                  <a:gd name="T52" fmla="*/ 2147483647 w 367"/>
                  <a:gd name="T53" fmla="*/ 2147483647 h 304"/>
                  <a:gd name="T54" fmla="*/ 2147483647 w 367"/>
                  <a:gd name="T55" fmla="*/ 2147483647 h 304"/>
                  <a:gd name="T56" fmla="*/ 2147483647 w 367"/>
                  <a:gd name="T57" fmla="*/ 2147483647 h 304"/>
                  <a:gd name="T58" fmla="*/ 2147483647 w 367"/>
                  <a:gd name="T59" fmla="*/ 2147483647 h 304"/>
                  <a:gd name="T60" fmla="*/ 2147483647 w 367"/>
                  <a:gd name="T61" fmla="*/ 2147483647 h 304"/>
                  <a:gd name="T62" fmla="*/ 2147483647 w 367"/>
                  <a:gd name="T63" fmla="*/ 2147483647 h 304"/>
                  <a:gd name="T64" fmla="*/ 2147483647 w 367"/>
                  <a:gd name="T65" fmla="*/ 2147483647 h 304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367"/>
                  <a:gd name="T100" fmla="*/ 0 h 304"/>
                  <a:gd name="T101" fmla="*/ 367 w 367"/>
                  <a:gd name="T102" fmla="*/ 304 h 304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367" h="304">
                    <a:moveTo>
                      <a:pt x="127" y="294"/>
                    </a:moveTo>
                    <a:cubicBezTo>
                      <a:pt x="127" y="294"/>
                      <a:pt x="118" y="294"/>
                      <a:pt x="121" y="277"/>
                    </a:cubicBezTo>
                    <a:cubicBezTo>
                      <a:pt x="121" y="277"/>
                      <a:pt x="124" y="263"/>
                      <a:pt x="114" y="255"/>
                    </a:cubicBezTo>
                    <a:cubicBezTo>
                      <a:pt x="114" y="255"/>
                      <a:pt x="104" y="251"/>
                      <a:pt x="107" y="244"/>
                    </a:cubicBezTo>
                    <a:cubicBezTo>
                      <a:pt x="107" y="244"/>
                      <a:pt x="101" y="236"/>
                      <a:pt x="121" y="236"/>
                    </a:cubicBezTo>
                    <a:cubicBezTo>
                      <a:pt x="121" y="236"/>
                      <a:pt x="149" y="233"/>
                      <a:pt x="136" y="211"/>
                    </a:cubicBezTo>
                    <a:cubicBezTo>
                      <a:pt x="135" y="204"/>
                      <a:pt x="117" y="204"/>
                      <a:pt x="116" y="198"/>
                    </a:cubicBezTo>
                    <a:cubicBezTo>
                      <a:pt x="114" y="195"/>
                      <a:pt x="132" y="180"/>
                      <a:pt x="107" y="184"/>
                    </a:cubicBezTo>
                    <a:cubicBezTo>
                      <a:pt x="107" y="184"/>
                      <a:pt x="87" y="186"/>
                      <a:pt x="85" y="174"/>
                    </a:cubicBezTo>
                    <a:cubicBezTo>
                      <a:pt x="85" y="174"/>
                      <a:pt x="80" y="160"/>
                      <a:pt x="81" y="150"/>
                    </a:cubicBezTo>
                    <a:cubicBezTo>
                      <a:pt x="81" y="150"/>
                      <a:pt x="92" y="141"/>
                      <a:pt x="79" y="126"/>
                    </a:cubicBezTo>
                    <a:cubicBezTo>
                      <a:pt x="79" y="112"/>
                      <a:pt x="69" y="120"/>
                      <a:pt x="52" y="118"/>
                    </a:cubicBezTo>
                    <a:cubicBezTo>
                      <a:pt x="52" y="118"/>
                      <a:pt x="26" y="126"/>
                      <a:pt x="29" y="101"/>
                    </a:cubicBezTo>
                    <a:cubicBezTo>
                      <a:pt x="29" y="101"/>
                      <a:pt x="30" y="84"/>
                      <a:pt x="20" y="85"/>
                    </a:cubicBezTo>
                    <a:cubicBezTo>
                      <a:pt x="20" y="85"/>
                      <a:pt x="22" y="61"/>
                      <a:pt x="12" y="55"/>
                    </a:cubicBezTo>
                    <a:cubicBezTo>
                      <a:pt x="12" y="55"/>
                      <a:pt x="0" y="40"/>
                      <a:pt x="13" y="31"/>
                    </a:cubicBezTo>
                    <a:cubicBezTo>
                      <a:pt x="13" y="31"/>
                      <a:pt x="22" y="33"/>
                      <a:pt x="18" y="24"/>
                    </a:cubicBezTo>
                    <a:cubicBezTo>
                      <a:pt x="28" y="12"/>
                      <a:pt x="48" y="20"/>
                      <a:pt x="48" y="20"/>
                    </a:cubicBezTo>
                    <a:cubicBezTo>
                      <a:pt x="54" y="27"/>
                      <a:pt x="57" y="18"/>
                      <a:pt x="64" y="19"/>
                    </a:cubicBezTo>
                    <a:cubicBezTo>
                      <a:pt x="88" y="12"/>
                      <a:pt x="87" y="29"/>
                      <a:pt x="96" y="16"/>
                    </a:cubicBezTo>
                    <a:cubicBezTo>
                      <a:pt x="118" y="0"/>
                      <a:pt x="126" y="20"/>
                      <a:pt x="126" y="20"/>
                    </a:cubicBezTo>
                    <a:cubicBezTo>
                      <a:pt x="129" y="33"/>
                      <a:pt x="147" y="28"/>
                      <a:pt x="147" y="28"/>
                    </a:cubicBezTo>
                    <a:cubicBezTo>
                      <a:pt x="168" y="25"/>
                      <a:pt x="163" y="38"/>
                      <a:pt x="163" y="38"/>
                    </a:cubicBezTo>
                    <a:cubicBezTo>
                      <a:pt x="177" y="23"/>
                      <a:pt x="182" y="31"/>
                      <a:pt x="182" y="31"/>
                    </a:cubicBezTo>
                    <a:cubicBezTo>
                      <a:pt x="204" y="33"/>
                      <a:pt x="191" y="44"/>
                      <a:pt x="191" y="44"/>
                    </a:cubicBezTo>
                    <a:cubicBezTo>
                      <a:pt x="180" y="47"/>
                      <a:pt x="198" y="59"/>
                      <a:pt x="198" y="59"/>
                    </a:cubicBezTo>
                    <a:cubicBezTo>
                      <a:pt x="208" y="63"/>
                      <a:pt x="208" y="75"/>
                      <a:pt x="208" y="75"/>
                    </a:cubicBezTo>
                    <a:cubicBezTo>
                      <a:pt x="200" y="92"/>
                      <a:pt x="217" y="86"/>
                      <a:pt x="217" y="86"/>
                    </a:cubicBezTo>
                    <a:cubicBezTo>
                      <a:pt x="227" y="76"/>
                      <a:pt x="234" y="90"/>
                      <a:pt x="234" y="90"/>
                    </a:cubicBezTo>
                    <a:cubicBezTo>
                      <a:pt x="237" y="104"/>
                      <a:pt x="249" y="86"/>
                      <a:pt x="249" y="86"/>
                    </a:cubicBezTo>
                    <a:cubicBezTo>
                      <a:pt x="255" y="72"/>
                      <a:pt x="273" y="86"/>
                      <a:pt x="273" y="86"/>
                    </a:cubicBezTo>
                    <a:cubicBezTo>
                      <a:pt x="310" y="92"/>
                      <a:pt x="303" y="68"/>
                      <a:pt x="303" y="68"/>
                    </a:cubicBezTo>
                    <a:cubicBezTo>
                      <a:pt x="303" y="42"/>
                      <a:pt x="320" y="50"/>
                      <a:pt x="320" y="50"/>
                    </a:cubicBezTo>
                    <a:cubicBezTo>
                      <a:pt x="334" y="55"/>
                      <a:pt x="330" y="28"/>
                      <a:pt x="348" y="46"/>
                    </a:cubicBezTo>
                    <a:cubicBezTo>
                      <a:pt x="348" y="46"/>
                      <a:pt x="345" y="53"/>
                      <a:pt x="349" y="60"/>
                    </a:cubicBezTo>
                    <a:cubicBezTo>
                      <a:pt x="349" y="60"/>
                      <a:pt x="356" y="64"/>
                      <a:pt x="352" y="75"/>
                    </a:cubicBezTo>
                    <a:cubicBezTo>
                      <a:pt x="352" y="75"/>
                      <a:pt x="358" y="91"/>
                      <a:pt x="351" y="96"/>
                    </a:cubicBezTo>
                    <a:cubicBezTo>
                      <a:pt x="351" y="96"/>
                      <a:pt x="337" y="94"/>
                      <a:pt x="348" y="110"/>
                    </a:cubicBezTo>
                    <a:cubicBezTo>
                      <a:pt x="348" y="110"/>
                      <a:pt x="343" y="119"/>
                      <a:pt x="357" y="123"/>
                    </a:cubicBezTo>
                    <a:cubicBezTo>
                      <a:pt x="356" y="132"/>
                      <a:pt x="365" y="133"/>
                      <a:pt x="361" y="140"/>
                    </a:cubicBezTo>
                    <a:cubicBezTo>
                      <a:pt x="361" y="140"/>
                      <a:pt x="367" y="154"/>
                      <a:pt x="353" y="149"/>
                    </a:cubicBezTo>
                    <a:cubicBezTo>
                      <a:pt x="353" y="149"/>
                      <a:pt x="348" y="150"/>
                      <a:pt x="348" y="156"/>
                    </a:cubicBezTo>
                    <a:cubicBezTo>
                      <a:pt x="348" y="156"/>
                      <a:pt x="360" y="157"/>
                      <a:pt x="361" y="161"/>
                    </a:cubicBezTo>
                    <a:cubicBezTo>
                      <a:pt x="361" y="161"/>
                      <a:pt x="363" y="171"/>
                      <a:pt x="362" y="181"/>
                    </a:cubicBezTo>
                    <a:cubicBezTo>
                      <a:pt x="362" y="181"/>
                      <a:pt x="367" y="194"/>
                      <a:pt x="348" y="196"/>
                    </a:cubicBezTo>
                    <a:cubicBezTo>
                      <a:pt x="348" y="196"/>
                      <a:pt x="334" y="202"/>
                      <a:pt x="340" y="215"/>
                    </a:cubicBezTo>
                    <a:cubicBezTo>
                      <a:pt x="338" y="218"/>
                      <a:pt x="356" y="218"/>
                      <a:pt x="356" y="225"/>
                    </a:cubicBezTo>
                    <a:cubicBezTo>
                      <a:pt x="357" y="237"/>
                      <a:pt x="338" y="225"/>
                      <a:pt x="341" y="233"/>
                    </a:cubicBezTo>
                    <a:cubicBezTo>
                      <a:pt x="341" y="233"/>
                      <a:pt x="351" y="236"/>
                      <a:pt x="346" y="240"/>
                    </a:cubicBezTo>
                    <a:cubicBezTo>
                      <a:pt x="346" y="240"/>
                      <a:pt x="340" y="247"/>
                      <a:pt x="327" y="250"/>
                    </a:cubicBezTo>
                    <a:cubicBezTo>
                      <a:pt x="327" y="250"/>
                      <a:pt x="348" y="252"/>
                      <a:pt x="331" y="257"/>
                    </a:cubicBezTo>
                    <a:cubicBezTo>
                      <a:pt x="331" y="257"/>
                      <a:pt x="317" y="263"/>
                      <a:pt x="312" y="258"/>
                    </a:cubicBezTo>
                    <a:cubicBezTo>
                      <a:pt x="312" y="258"/>
                      <a:pt x="295" y="249"/>
                      <a:pt x="290" y="262"/>
                    </a:cubicBezTo>
                    <a:cubicBezTo>
                      <a:pt x="280" y="266"/>
                      <a:pt x="273" y="253"/>
                      <a:pt x="269" y="266"/>
                    </a:cubicBezTo>
                    <a:cubicBezTo>
                      <a:pt x="269" y="266"/>
                      <a:pt x="257" y="258"/>
                      <a:pt x="246" y="277"/>
                    </a:cubicBezTo>
                    <a:cubicBezTo>
                      <a:pt x="246" y="277"/>
                      <a:pt x="227" y="275"/>
                      <a:pt x="224" y="280"/>
                    </a:cubicBezTo>
                    <a:cubicBezTo>
                      <a:pt x="218" y="257"/>
                      <a:pt x="229" y="240"/>
                      <a:pt x="229" y="240"/>
                    </a:cubicBezTo>
                    <a:cubicBezTo>
                      <a:pt x="209" y="264"/>
                      <a:pt x="214" y="273"/>
                      <a:pt x="214" y="273"/>
                    </a:cubicBezTo>
                    <a:cubicBezTo>
                      <a:pt x="222" y="304"/>
                      <a:pt x="210" y="300"/>
                      <a:pt x="210" y="300"/>
                    </a:cubicBezTo>
                    <a:cubicBezTo>
                      <a:pt x="204" y="302"/>
                      <a:pt x="191" y="294"/>
                      <a:pt x="191" y="294"/>
                    </a:cubicBezTo>
                    <a:cubicBezTo>
                      <a:pt x="180" y="298"/>
                      <a:pt x="166" y="299"/>
                      <a:pt x="166" y="299"/>
                    </a:cubicBezTo>
                    <a:cubicBezTo>
                      <a:pt x="166" y="299"/>
                      <a:pt x="166" y="299"/>
                      <a:pt x="166" y="299"/>
                    </a:cubicBezTo>
                    <a:cubicBezTo>
                      <a:pt x="174" y="274"/>
                      <a:pt x="174" y="274"/>
                      <a:pt x="174" y="274"/>
                    </a:cubicBezTo>
                    <a:cubicBezTo>
                      <a:pt x="174" y="274"/>
                      <a:pt x="174" y="274"/>
                      <a:pt x="174" y="274"/>
                    </a:cubicBezTo>
                    <a:cubicBezTo>
                      <a:pt x="165" y="292"/>
                      <a:pt x="152" y="301"/>
                      <a:pt x="152" y="301"/>
                    </a:cubicBezTo>
                    <a:cubicBezTo>
                      <a:pt x="142" y="304"/>
                      <a:pt x="127" y="294"/>
                      <a:pt x="127" y="294"/>
                    </a:cubicBezTo>
                    <a:cubicBezTo>
                      <a:pt x="127" y="294"/>
                      <a:pt x="127" y="294"/>
                      <a:pt x="127" y="294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37" name="Freeform 37"/>
              <p:cNvSpPr>
                <a:spLocks/>
              </p:cNvSpPr>
              <p:nvPr/>
            </p:nvSpPr>
            <p:spPr bwMode="auto">
              <a:xfrm>
                <a:off x="4460297" y="4052764"/>
                <a:ext cx="1052587" cy="860339"/>
              </a:xfrm>
              <a:custGeom>
                <a:avLst/>
                <a:gdLst>
                  <a:gd name="T0" fmla="*/ 2147483647 w 372"/>
                  <a:gd name="T1" fmla="*/ 2147483647 h 344"/>
                  <a:gd name="T2" fmla="*/ 2147483647 w 372"/>
                  <a:gd name="T3" fmla="*/ 2147483647 h 344"/>
                  <a:gd name="T4" fmla="*/ 2147483647 w 372"/>
                  <a:gd name="T5" fmla="*/ 2147483647 h 344"/>
                  <a:gd name="T6" fmla="*/ 2147483647 w 372"/>
                  <a:gd name="T7" fmla="*/ 2147483647 h 344"/>
                  <a:gd name="T8" fmla="*/ 2147483647 w 372"/>
                  <a:gd name="T9" fmla="*/ 2147483647 h 344"/>
                  <a:gd name="T10" fmla="*/ 2147483647 w 372"/>
                  <a:gd name="T11" fmla="*/ 2147483647 h 344"/>
                  <a:gd name="T12" fmla="*/ 2147483647 w 372"/>
                  <a:gd name="T13" fmla="*/ 2147483647 h 344"/>
                  <a:gd name="T14" fmla="*/ 2147483647 w 372"/>
                  <a:gd name="T15" fmla="*/ 2147483647 h 344"/>
                  <a:gd name="T16" fmla="*/ 2147483647 w 372"/>
                  <a:gd name="T17" fmla="*/ 2147483647 h 344"/>
                  <a:gd name="T18" fmla="*/ 2147483647 w 372"/>
                  <a:gd name="T19" fmla="*/ 2147483647 h 344"/>
                  <a:gd name="T20" fmla="*/ 2147483647 w 372"/>
                  <a:gd name="T21" fmla="*/ 2147483647 h 344"/>
                  <a:gd name="T22" fmla="*/ 2147483647 w 372"/>
                  <a:gd name="T23" fmla="*/ 2147483647 h 344"/>
                  <a:gd name="T24" fmla="*/ 2147483647 w 372"/>
                  <a:gd name="T25" fmla="*/ 2147483647 h 344"/>
                  <a:gd name="T26" fmla="*/ 2147483647 w 372"/>
                  <a:gd name="T27" fmla="*/ 2147483647 h 344"/>
                  <a:gd name="T28" fmla="*/ 2147483647 w 372"/>
                  <a:gd name="T29" fmla="*/ 2147483647 h 344"/>
                  <a:gd name="T30" fmla="*/ 2147483647 w 372"/>
                  <a:gd name="T31" fmla="*/ 2147483647 h 344"/>
                  <a:gd name="T32" fmla="*/ 2147483647 w 372"/>
                  <a:gd name="T33" fmla="*/ 2147483647 h 344"/>
                  <a:gd name="T34" fmla="*/ 2147483647 w 372"/>
                  <a:gd name="T35" fmla="*/ 2147483647 h 344"/>
                  <a:gd name="T36" fmla="*/ 2147483647 w 372"/>
                  <a:gd name="T37" fmla="*/ 2147483647 h 344"/>
                  <a:gd name="T38" fmla="*/ 2147483647 w 372"/>
                  <a:gd name="T39" fmla="*/ 2147483647 h 344"/>
                  <a:gd name="T40" fmla="*/ 2147483647 w 372"/>
                  <a:gd name="T41" fmla="*/ 2147483647 h 344"/>
                  <a:gd name="T42" fmla="*/ 2147483647 w 372"/>
                  <a:gd name="T43" fmla="*/ 2147483647 h 344"/>
                  <a:gd name="T44" fmla="*/ 2147483647 w 372"/>
                  <a:gd name="T45" fmla="*/ 2147483647 h 344"/>
                  <a:gd name="T46" fmla="*/ 2147483647 w 372"/>
                  <a:gd name="T47" fmla="*/ 2147483647 h 344"/>
                  <a:gd name="T48" fmla="*/ 2147483647 w 372"/>
                  <a:gd name="T49" fmla="*/ 2147483647 h 344"/>
                  <a:gd name="T50" fmla="*/ 2147483647 w 372"/>
                  <a:gd name="T51" fmla="*/ 2147483647 h 344"/>
                  <a:gd name="T52" fmla="*/ 2147483647 w 372"/>
                  <a:gd name="T53" fmla="*/ 2147483647 h 344"/>
                  <a:gd name="T54" fmla="*/ 2147483647 w 372"/>
                  <a:gd name="T55" fmla="*/ 2147483647 h 344"/>
                  <a:gd name="T56" fmla="*/ 2147483647 w 372"/>
                  <a:gd name="T57" fmla="*/ 2147483647 h 344"/>
                  <a:gd name="T58" fmla="*/ 2147483647 w 372"/>
                  <a:gd name="T59" fmla="*/ 2147483647 h 344"/>
                  <a:gd name="T60" fmla="*/ 2147483647 w 372"/>
                  <a:gd name="T61" fmla="*/ 2147483647 h 344"/>
                  <a:gd name="T62" fmla="*/ 2147483647 w 372"/>
                  <a:gd name="T63" fmla="*/ 2147483647 h 344"/>
                  <a:gd name="T64" fmla="*/ 2147483647 w 372"/>
                  <a:gd name="T65" fmla="*/ 2147483647 h 344"/>
                  <a:gd name="T66" fmla="*/ 2147483647 w 372"/>
                  <a:gd name="T67" fmla="*/ 2147483647 h 344"/>
                  <a:gd name="T68" fmla="*/ 2147483647 w 372"/>
                  <a:gd name="T69" fmla="*/ 2147483647 h 344"/>
                  <a:gd name="T70" fmla="*/ 0 w 372"/>
                  <a:gd name="T71" fmla="*/ 2147483647 h 344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372"/>
                  <a:gd name="T109" fmla="*/ 0 h 344"/>
                  <a:gd name="T110" fmla="*/ 372 w 372"/>
                  <a:gd name="T111" fmla="*/ 344 h 344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372" h="344">
                    <a:moveTo>
                      <a:pt x="0" y="133"/>
                    </a:moveTo>
                    <a:cubicBezTo>
                      <a:pt x="0" y="133"/>
                      <a:pt x="5" y="128"/>
                      <a:pt x="15" y="128"/>
                    </a:cubicBezTo>
                    <a:cubicBezTo>
                      <a:pt x="15" y="128"/>
                      <a:pt x="27" y="125"/>
                      <a:pt x="32" y="119"/>
                    </a:cubicBezTo>
                    <a:cubicBezTo>
                      <a:pt x="32" y="119"/>
                      <a:pt x="43" y="110"/>
                      <a:pt x="60" y="117"/>
                    </a:cubicBezTo>
                    <a:cubicBezTo>
                      <a:pt x="60" y="117"/>
                      <a:pt x="61" y="122"/>
                      <a:pt x="77" y="121"/>
                    </a:cubicBezTo>
                    <a:cubicBezTo>
                      <a:pt x="77" y="121"/>
                      <a:pt x="86" y="124"/>
                      <a:pt x="82" y="106"/>
                    </a:cubicBezTo>
                    <a:cubicBezTo>
                      <a:pt x="82" y="106"/>
                      <a:pt x="82" y="96"/>
                      <a:pt x="84" y="92"/>
                    </a:cubicBezTo>
                    <a:cubicBezTo>
                      <a:pt x="93" y="80"/>
                      <a:pt x="75" y="86"/>
                      <a:pt x="79" y="66"/>
                    </a:cubicBezTo>
                    <a:cubicBezTo>
                      <a:pt x="79" y="66"/>
                      <a:pt x="67" y="59"/>
                      <a:pt x="67" y="55"/>
                    </a:cubicBezTo>
                    <a:cubicBezTo>
                      <a:pt x="67" y="45"/>
                      <a:pt x="85" y="46"/>
                      <a:pt x="78" y="43"/>
                    </a:cubicBezTo>
                    <a:cubicBezTo>
                      <a:pt x="78" y="43"/>
                      <a:pt x="72" y="34"/>
                      <a:pt x="65" y="34"/>
                    </a:cubicBezTo>
                    <a:cubicBezTo>
                      <a:pt x="65" y="34"/>
                      <a:pt x="71" y="29"/>
                      <a:pt x="69" y="25"/>
                    </a:cubicBezTo>
                    <a:cubicBezTo>
                      <a:pt x="69" y="25"/>
                      <a:pt x="68" y="16"/>
                      <a:pt x="86" y="18"/>
                    </a:cubicBezTo>
                    <a:cubicBezTo>
                      <a:pt x="86" y="18"/>
                      <a:pt x="89" y="7"/>
                      <a:pt x="102" y="11"/>
                    </a:cubicBezTo>
                    <a:cubicBezTo>
                      <a:pt x="104" y="10"/>
                      <a:pt x="105" y="9"/>
                      <a:pt x="107" y="10"/>
                    </a:cubicBezTo>
                    <a:cubicBezTo>
                      <a:pt x="109" y="11"/>
                      <a:pt x="110" y="12"/>
                      <a:pt x="112" y="11"/>
                    </a:cubicBezTo>
                    <a:cubicBezTo>
                      <a:pt x="112" y="11"/>
                      <a:pt x="119" y="7"/>
                      <a:pt x="137" y="11"/>
                    </a:cubicBezTo>
                    <a:cubicBezTo>
                      <a:pt x="137" y="11"/>
                      <a:pt x="146" y="18"/>
                      <a:pt x="157" y="11"/>
                    </a:cubicBezTo>
                    <a:cubicBezTo>
                      <a:pt x="157" y="11"/>
                      <a:pt x="167" y="0"/>
                      <a:pt x="177" y="9"/>
                    </a:cubicBezTo>
                    <a:cubicBezTo>
                      <a:pt x="177" y="9"/>
                      <a:pt x="183" y="15"/>
                      <a:pt x="194" y="15"/>
                    </a:cubicBezTo>
                    <a:cubicBezTo>
                      <a:pt x="194" y="15"/>
                      <a:pt x="205" y="5"/>
                      <a:pt x="206" y="18"/>
                    </a:cubicBezTo>
                    <a:cubicBezTo>
                      <a:pt x="206" y="18"/>
                      <a:pt x="209" y="24"/>
                      <a:pt x="214" y="15"/>
                    </a:cubicBezTo>
                    <a:cubicBezTo>
                      <a:pt x="214" y="15"/>
                      <a:pt x="210" y="22"/>
                      <a:pt x="219" y="34"/>
                    </a:cubicBezTo>
                    <a:cubicBezTo>
                      <a:pt x="219" y="34"/>
                      <a:pt x="236" y="38"/>
                      <a:pt x="222" y="48"/>
                    </a:cubicBezTo>
                    <a:cubicBezTo>
                      <a:pt x="222" y="48"/>
                      <a:pt x="222" y="57"/>
                      <a:pt x="233" y="52"/>
                    </a:cubicBezTo>
                    <a:cubicBezTo>
                      <a:pt x="233" y="52"/>
                      <a:pt x="235" y="45"/>
                      <a:pt x="245" y="55"/>
                    </a:cubicBezTo>
                    <a:cubicBezTo>
                      <a:pt x="245" y="55"/>
                      <a:pt x="245" y="62"/>
                      <a:pt x="257" y="52"/>
                    </a:cubicBezTo>
                    <a:cubicBezTo>
                      <a:pt x="257" y="52"/>
                      <a:pt x="265" y="58"/>
                      <a:pt x="269" y="53"/>
                    </a:cubicBezTo>
                    <a:cubicBezTo>
                      <a:pt x="269" y="53"/>
                      <a:pt x="273" y="47"/>
                      <a:pt x="283" y="51"/>
                    </a:cubicBezTo>
                    <a:cubicBezTo>
                      <a:pt x="284" y="61"/>
                      <a:pt x="290" y="59"/>
                      <a:pt x="290" y="59"/>
                    </a:cubicBezTo>
                    <a:cubicBezTo>
                      <a:pt x="297" y="59"/>
                      <a:pt x="298" y="70"/>
                      <a:pt x="298" y="70"/>
                    </a:cubicBezTo>
                    <a:cubicBezTo>
                      <a:pt x="302" y="78"/>
                      <a:pt x="308" y="89"/>
                      <a:pt x="308" y="89"/>
                    </a:cubicBezTo>
                    <a:cubicBezTo>
                      <a:pt x="318" y="86"/>
                      <a:pt x="323" y="95"/>
                      <a:pt x="323" y="95"/>
                    </a:cubicBezTo>
                    <a:cubicBezTo>
                      <a:pt x="327" y="102"/>
                      <a:pt x="331" y="89"/>
                      <a:pt x="338" y="100"/>
                    </a:cubicBezTo>
                    <a:cubicBezTo>
                      <a:pt x="346" y="101"/>
                      <a:pt x="354" y="111"/>
                      <a:pt x="354" y="111"/>
                    </a:cubicBezTo>
                    <a:cubicBezTo>
                      <a:pt x="372" y="110"/>
                      <a:pt x="366" y="121"/>
                      <a:pt x="366" y="121"/>
                    </a:cubicBezTo>
                    <a:cubicBezTo>
                      <a:pt x="348" y="125"/>
                      <a:pt x="360" y="128"/>
                      <a:pt x="360" y="128"/>
                    </a:cubicBezTo>
                    <a:cubicBezTo>
                      <a:pt x="360" y="128"/>
                      <a:pt x="368" y="132"/>
                      <a:pt x="354" y="135"/>
                    </a:cubicBezTo>
                    <a:cubicBezTo>
                      <a:pt x="347" y="134"/>
                      <a:pt x="356" y="146"/>
                      <a:pt x="344" y="142"/>
                    </a:cubicBezTo>
                    <a:cubicBezTo>
                      <a:pt x="323" y="144"/>
                      <a:pt x="334" y="154"/>
                      <a:pt x="334" y="154"/>
                    </a:cubicBezTo>
                    <a:cubicBezTo>
                      <a:pt x="339" y="161"/>
                      <a:pt x="328" y="166"/>
                      <a:pt x="328" y="166"/>
                    </a:cubicBezTo>
                    <a:cubicBezTo>
                      <a:pt x="347" y="170"/>
                      <a:pt x="347" y="186"/>
                      <a:pt x="347" y="186"/>
                    </a:cubicBezTo>
                    <a:cubicBezTo>
                      <a:pt x="368" y="186"/>
                      <a:pt x="363" y="196"/>
                      <a:pt x="363" y="196"/>
                    </a:cubicBezTo>
                    <a:cubicBezTo>
                      <a:pt x="365" y="203"/>
                      <a:pt x="358" y="204"/>
                      <a:pt x="358" y="204"/>
                    </a:cubicBezTo>
                    <a:cubicBezTo>
                      <a:pt x="341" y="207"/>
                      <a:pt x="356" y="220"/>
                      <a:pt x="356" y="220"/>
                    </a:cubicBezTo>
                    <a:cubicBezTo>
                      <a:pt x="340" y="230"/>
                      <a:pt x="328" y="245"/>
                      <a:pt x="328" y="245"/>
                    </a:cubicBezTo>
                    <a:cubicBezTo>
                      <a:pt x="295" y="231"/>
                      <a:pt x="267" y="272"/>
                      <a:pt x="267" y="272"/>
                    </a:cubicBezTo>
                    <a:cubicBezTo>
                      <a:pt x="250" y="258"/>
                      <a:pt x="234" y="267"/>
                      <a:pt x="234" y="267"/>
                    </a:cubicBezTo>
                    <a:cubicBezTo>
                      <a:pt x="204" y="272"/>
                      <a:pt x="194" y="293"/>
                      <a:pt x="194" y="293"/>
                    </a:cubicBezTo>
                    <a:cubicBezTo>
                      <a:pt x="192" y="303"/>
                      <a:pt x="178" y="309"/>
                      <a:pt x="178" y="309"/>
                    </a:cubicBezTo>
                    <a:cubicBezTo>
                      <a:pt x="178" y="309"/>
                      <a:pt x="178" y="309"/>
                      <a:pt x="178" y="309"/>
                    </a:cubicBezTo>
                    <a:cubicBezTo>
                      <a:pt x="152" y="333"/>
                      <a:pt x="152" y="333"/>
                      <a:pt x="152" y="333"/>
                    </a:cubicBezTo>
                    <a:cubicBezTo>
                      <a:pt x="152" y="333"/>
                      <a:pt x="152" y="333"/>
                      <a:pt x="152" y="333"/>
                    </a:cubicBezTo>
                    <a:cubicBezTo>
                      <a:pt x="139" y="337"/>
                      <a:pt x="145" y="322"/>
                      <a:pt x="145" y="322"/>
                    </a:cubicBezTo>
                    <a:cubicBezTo>
                      <a:pt x="141" y="310"/>
                      <a:pt x="136" y="322"/>
                      <a:pt x="136" y="322"/>
                    </a:cubicBezTo>
                    <a:cubicBezTo>
                      <a:pt x="134" y="332"/>
                      <a:pt x="130" y="338"/>
                      <a:pt x="125" y="343"/>
                    </a:cubicBezTo>
                    <a:cubicBezTo>
                      <a:pt x="110" y="344"/>
                      <a:pt x="113" y="334"/>
                      <a:pt x="113" y="334"/>
                    </a:cubicBezTo>
                    <a:cubicBezTo>
                      <a:pt x="115" y="308"/>
                      <a:pt x="101" y="311"/>
                      <a:pt x="101" y="311"/>
                    </a:cubicBezTo>
                    <a:cubicBezTo>
                      <a:pt x="87" y="309"/>
                      <a:pt x="87" y="300"/>
                      <a:pt x="87" y="300"/>
                    </a:cubicBezTo>
                    <a:cubicBezTo>
                      <a:pt x="68" y="297"/>
                      <a:pt x="72" y="287"/>
                      <a:pt x="72" y="287"/>
                    </a:cubicBezTo>
                    <a:cubicBezTo>
                      <a:pt x="75" y="280"/>
                      <a:pt x="65" y="276"/>
                      <a:pt x="65" y="276"/>
                    </a:cubicBezTo>
                    <a:cubicBezTo>
                      <a:pt x="49" y="275"/>
                      <a:pt x="65" y="264"/>
                      <a:pt x="65" y="264"/>
                    </a:cubicBezTo>
                    <a:cubicBezTo>
                      <a:pt x="74" y="261"/>
                      <a:pt x="70" y="252"/>
                      <a:pt x="70" y="252"/>
                    </a:cubicBezTo>
                    <a:cubicBezTo>
                      <a:pt x="86" y="243"/>
                      <a:pt x="70" y="237"/>
                      <a:pt x="70" y="237"/>
                    </a:cubicBezTo>
                    <a:cubicBezTo>
                      <a:pt x="70" y="227"/>
                      <a:pt x="58" y="229"/>
                      <a:pt x="58" y="229"/>
                    </a:cubicBezTo>
                    <a:cubicBezTo>
                      <a:pt x="52" y="229"/>
                      <a:pt x="50" y="220"/>
                      <a:pt x="50" y="220"/>
                    </a:cubicBezTo>
                    <a:cubicBezTo>
                      <a:pt x="39" y="216"/>
                      <a:pt x="42" y="202"/>
                      <a:pt x="42" y="202"/>
                    </a:cubicBezTo>
                    <a:cubicBezTo>
                      <a:pt x="31" y="195"/>
                      <a:pt x="37" y="176"/>
                      <a:pt x="37" y="176"/>
                    </a:cubicBezTo>
                    <a:cubicBezTo>
                      <a:pt x="29" y="151"/>
                      <a:pt x="23" y="169"/>
                      <a:pt x="23" y="169"/>
                    </a:cubicBezTo>
                    <a:cubicBezTo>
                      <a:pt x="9" y="176"/>
                      <a:pt x="9" y="158"/>
                      <a:pt x="9" y="158"/>
                    </a:cubicBezTo>
                    <a:cubicBezTo>
                      <a:pt x="0" y="148"/>
                      <a:pt x="0" y="133"/>
                      <a:pt x="0" y="133"/>
                    </a:cubicBezTo>
                    <a:cubicBezTo>
                      <a:pt x="0" y="133"/>
                      <a:pt x="0" y="133"/>
                      <a:pt x="0" y="133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38" name="Freeform 36"/>
              <p:cNvSpPr>
                <a:spLocks/>
              </p:cNvSpPr>
              <p:nvPr/>
            </p:nvSpPr>
            <p:spPr bwMode="auto">
              <a:xfrm>
                <a:off x="3620354" y="4335616"/>
                <a:ext cx="1193463" cy="729521"/>
              </a:xfrm>
              <a:custGeom>
                <a:avLst/>
                <a:gdLst>
                  <a:gd name="T0" fmla="*/ 2147483647 w 421"/>
                  <a:gd name="T1" fmla="*/ 2147483647 h 292"/>
                  <a:gd name="T2" fmla="*/ 2147483647 w 421"/>
                  <a:gd name="T3" fmla="*/ 2147483647 h 292"/>
                  <a:gd name="T4" fmla="*/ 2147483647 w 421"/>
                  <a:gd name="T5" fmla="*/ 2147483647 h 292"/>
                  <a:gd name="T6" fmla="*/ 2147483647 w 421"/>
                  <a:gd name="T7" fmla="*/ 2147483647 h 292"/>
                  <a:gd name="T8" fmla="*/ 2147483647 w 421"/>
                  <a:gd name="T9" fmla="*/ 2147483647 h 292"/>
                  <a:gd name="T10" fmla="*/ 2147483647 w 421"/>
                  <a:gd name="T11" fmla="*/ 2147483647 h 292"/>
                  <a:gd name="T12" fmla="*/ 2147483647 w 421"/>
                  <a:gd name="T13" fmla="*/ 2147483647 h 292"/>
                  <a:gd name="T14" fmla="*/ 2147483647 w 421"/>
                  <a:gd name="T15" fmla="*/ 2147483647 h 292"/>
                  <a:gd name="T16" fmla="*/ 2147483647 w 421"/>
                  <a:gd name="T17" fmla="*/ 2147483647 h 292"/>
                  <a:gd name="T18" fmla="*/ 2147483647 w 421"/>
                  <a:gd name="T19" fmla="*/ 2147483647 h 292"/>
                  <a:gd name="T20" fmla="*/ 2147483647 w 421"/>
                  <a:gd name="T21" fmla="*/ 2147483647 h 292"/>
                  <a:gd name="T22" fmla="*/ 2147483647 w 421"/>
                  <a:gd name="T23" fmla="*/ 2147483647 h 292"/>
                  <a:gd name="T24" fmla="*/ 2147483647 w 421"/>
                  <a:gd name="T25" fmla="*/ 2147483647 h 292"/>
                  <a:gd name="T26" fmla="*/ 2147483647 w 421"/>
                  <a:gd name="T27" fmla="*/ 2147483647 h 292"/>
                  <a:gd name="T28" fmla="*/ 2147483647 w 421"/>
                  <a:gd name="T29" fmla="*/ 2147483647 h 292"/>
                  <a:gd name="T30" fmla="*/ 2147483647 w 421"/>
                  <a:gd name="T31" fmla="*/ 2147483647 h 292"/>
                  <a:gd name="T32" fmla="*/ 2147483647 w 421"/>
                  <a:gd name="T33" fmla="*/ 2147483647 h 292"/>
                  <a:gd name="T34" fmla="*/ 2147483647 w 421"/>
                  <a:gd name="T35" fmla="*/ 2147483647 h 292"/>
                  <a:gd name="T36" fmla="*/ 2147483647 w 421"/>
                  <a:gd name="T37" fmla="*/ 2147483647 h 292"/>
                  <a:gd name="T38" fmla="*/ 2147483647 w 421"/>
                  <a:gd name="T39" fmla="*/ 2147483647 h 292"/>
                  <a:gd name="T40" fmla="*/ 2147483647 w 421"/>
                  <a:gd name="T41" fmla="*/ 2147483647 h 292"/>
                  <a:gd name="T42" fmla="*/ 2147483647 w 421"/>
                  <a:gd name="T43" fmla="*/ 2147483647 h 292"/>
                  <a:gd name="T44" fmla="*/ 2147483647 w 421"/>
                  <a:gd name="T45" fmla="*/ 2147483647 h 292"/>
                  <a:gd name="T46" fmla="*/ 2147483647 w 421"/>
                  <a:gd name="T47" fmla="*/ 2147483647 h 292"/>
                  <a:gd name="T48" fmla="*/ 2147483647 w 421"/>
                  <a:gd name="T49" fmla="*/ 2147483647 h 292"/>
                  <a:gd name="T50" fmla="*/ 2147483647 w 421"/>
                  <a:gd name="T51" fmla="*/ 2147483647 h 292"/>
                  <a:gd name="T52" fmla="*/ 2147483647 w 421"/>
                  <a:gd name="T53" fmla="*/ 2147483647 h 292"/>
                  <a:gd name="T54" fmla="*/ 2147483647 w 421"/>
                  <a:gd name="T55" fmla="*/ 2147483647 h 292"/>
                  <a:gd name="T56" fmla="*/ 2147483647 w 421"/>
                  <a:gd name="T57" fmla="*/ 2147483647 h 292"/>
                  <a:gd name="T58" fmla="*/ 2147483647 w 421"/>
                  <a:gd name="T59" fmla="*/ 2147483647 h 292"/>
                  <a:gd name="T60" fmla="*/ 2147483647 w 421"/>
                  <a:gd name="T61" fmla="*/ 2147483647 h 292"/>
                  <a:gd name="T62" fmla="*/ 2147483647 w 421"/>
                  <a:gd name="T63" fmla="*/ 2147483647 h 292"/>
                  <a:gd name="T64" fmla="*/ 2147483647 w 421"/>
                  <a:gd name="T65" fmla="*/ 2147483647 h 292"/>
                  <a:gd name="T66" fmla="*/ 0 w 421"/>
                  <a:gd name="T67" fmla="*/ 2147483647 h 292"/>
                  <a:gd name="T68" fmla="*/ 2147483647 w 421"/>
                  <a:gd name="T69" fmla="*/ 2147483647 h 292"/>
                  <a:gd name="T70" fmla="*/ 2147483647 w 421"/>
                  <a:gd name="T71" fmla="*/ 2147483647 h 292"/>
                  <a:gd name="T72" fmla="*/ 2147483647 w 421"/>
                  <a:gd name="T73" fmla="*/ 2147483647 h 292"/>
                  <a:gd name="T74" fmla="*/ 2147483647 w 421"/>
                  <a:gd name="T75" fmla="*/ 2147483647 h 292"/>
                  <a:gd name="T76" fmla="*/ 2147483647 w 421"/>
                  <a:gd name="T77" fmla="*/ 2147483647 h 292"/>
                  <a:gd name="T78" fmla="*/ 2147483647 w 421"/>
                  <a:gd name="T79" fmla="*/ 2147483647 h 292"/>
                  <a:gd name="T80" fmla="*/ 2147483647 w 421"/>
                  <a:gd name="T81" fmla="*/ 2147483647 h 292"/>
                  <a:gd name="T82" fmla="*/ 2147483647 w 421"/>
                  <a:gd name="T83" fmla="*/ 2147483647 h 292"/>
                  <a:gd name="T84" fmla="*/ 2147483647 w 421"/>
                  <a:gd name="T85" fmla="*/ 2147483647 h 29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421"/>
                  <a:gd name="T130" fmla="*/ 0 h 292"/>
                  <a:gd name="T131" fmla="*/ 421 w 421"/>
                  <a:gd name="T132" fmla="*/ 292 h 29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421" h="292">
                    <a:moveTo>
                      <a:pt x="23" y="165"/>
                    </a:moveTo>
                    <a:cubicBezTo>
                      <a:pt x="26" y="160"/>
                      <a:pt x="45" y="162"/>
                      <a:pt x="45" y="162"/>
                    </a:cubicBezTo>
                    <a:cubicBezTo>
                      <a:pt x="56" y="143"/>
                      <a:pt x="68" y="151"/>
                      <a:pt x="68" y="151"/>
                    </a:cubicBezTo>
                    <a:cubicBezTo>
                      <a:pt x="72" y="138"/>
                      <a:pt x="79" y="151"/>
                      <a:pt x="89" y="147"/>
                    </a:cubicBezTo>
                    <a:cubicBezTo>
                      <a:pt x="94" y="134"/>
                      <a:pt x="111" y="143"/>
                      <a:pt x="111" y="143"/>
                    </a:cubicBezTo>
                    <a:cubicBezTo>
                      <a:pt x="116" y="148"/>
                      <a:pt x="130" y="142"/>
                      <a:pt x="130" y="142"/>
                    </a:cubicBezTo>
                    <a:cubicBezTo>
                      <a:pt x="147" y="137"/>
                      <a:pt x="126" y="135"/>
                      <a:pt x="126" y="135"/>
                    </a:cubicBezTo>
                    <a:cubicBezTo>
                      <a:pt x="139" y="132"/>
                      <a:pt x="145" y="125"/>
                      <a:pt x="145" y="125"/>
                    </a:cubicBezTo>
                    <a:cubicBezTo>
                      <a:pt x="150" y="121"/>
                      <a:pt x="140" y="118"/>
                      <a:pt x="140" y="118"/>
                    </a:cubicBezTo>
                    <a:cubicBezTo>
                      <a:pt x="137" y="110"/>
                      <a:pt x="156" y="122"/>
                      <a:pt x="155" y="110"/>
                    </a:cubicBezTo>
                    <a:cubicBezTo>
                      <a:pt x="155" y="103"/>
                      <a:pt x="137" y="103"/>
                      <a:pt x="139" y="100"/>
                    </a:cubicBezTo>
                    <a:cubicBezTo>
                      <a:pt x="133" y="87"/>
                      <a:pt x="147" y="81"/>
                      <a:pt x="147" y="81"/>
                    </a:cubicBezTo>
                    <a:cubicBezTo>
                      <a:pt x="166" y="79"/>
                      <a:pt x="161" y="66"/>
                      <a:pt x="161" y="66"/>
                    </a:cubicBezTo>
                    <a:cubicBezTo>
                      <a:pt x="162" y="56"/>
                      <a:pt x="160" y="46"/>
                      <a:pt x="160" y="46"/>
                    </a:cubicBezTo>
                    <a:cubicBezTo>
                      <a:pt x="159" y="42"/>
                      <a:pt x="147" y="41"/>
                      <a:pt x="147" y="41"/>
                    </a:cubicBezTo>
                    <a:cubicBezTo>
                      <a:pt x="147" y="35"/>
                      <a:pt x="152" y="34"/>
                      <a:pt x="152" y="34"/>
                    </a:cubicBezTo>
                    <a:cubicBezTo>
                      <a:pt x="166" y="39"/>
                      <a:pt x="160" y="25"/>
                      <a:pt x="160" y="25"/>
                    </a:cubicBezTo>
                    <a:cubicBezTo>
                      <a:pt x="164" y="18"/>
                      <a:pt x="155" y="17"/>
                      <a:pt x="156" y="8"/>
                    </a:cubicBezTo>
                    <a:cubicBezTo>
                      <a:pt x="156" y="8"/>
                      <a:pt x="165" y="5"/>
                      <a:pt x="170" y="12"/>
                    </a:cubicBezTo>
                    <a:cubicBezTo>
                      <a:pt x="170" y="12"/>
                      <a:pt x="180" y="11"/>
                      <a:pt x="182" y="15"/>
                    </a:cubicBezTo>
                    <a:cubicBezTo>
                      <a:pt x="182" y="15"/>
                      <a:pt x="188" y="26"/>
                      <a:pt x="191" y="19"/>
                    </a:cubicBezTo>
                    <a:cubicBezTo>
                      <a:pt x="191" y="12"/>
                      <a:pt x="200" y="18"/>
                      <a:pt x="202" y="14"/>
                    </a:cubicBezTo>
                    <a:cubicBezTo>
                      <a:pt x="202" y="14"/>
                      <a:pt x="211" y="0"/>
                      <a:pt x="221" y="15"/>
                    </a:cubicBezTo>
                    <a:cubicBezTo>
                      <a:pt x="221" y="15"/>
                      <a:pt x="218" y="25"/>
                      <a:pt x="246" y="19"/>
                    </a:cubicBezTo>
                    <a:cubicBezTo>
                      <a:pt x="246" y="19"/>
                      <a:pt x="251" y="12"/>
                      <a:pt x="262" y="18"/>
                    </a:cubicBezTo>
                    <a:cubicBezTo>
                      <a:pt x="262" y="18"/>
                      <a:pt x="263" y="23"/>
                      <a:pt x="272" y="20"/>
                    </a:cubicBezTo>
                    <a:cubicBezTo>
                      <a:pt x="272" y="20"/>
                      <a:pt x="287" y="21"/>
                      <a:pt x="297" y="20"/>
                    </a:cubicBezTo>
                    <a:cubicBezTo>
                      <a:pt x="297" y="20"/>
                      <a:pt x="296" y="35"/>
                      <a:pt x="305" y="45"/>
                    </a:cubicBezTo>
                    <a:cubicBezTo>
                      <a:pt x="305" y="45"/>
                      <a:pt x="305" y="63"/>
                      <a:pt x="319" y="56"/>
                    </a:cubicBezTo>
                    <a:cubicBezTo>
                      <a:pt x="319" y="56"/>
                      <a:pt x="325" y="38"/>
                      <a:pt x="333" y="63"/>
                    </a:cubicBezTo>
                    <a:cubicBezTo>
                      <a:pt x="333" y="63"/>
                      <a:pt x="327" y="82"/>
                      <a:pt x="338" y="89"/>
                    </a:cubicBezTo>
                    <a:cubicBezTo>
                      <a:pt x="338" y="89"/>
                      <a:pt x="335" y="103"/>
                      <a:pt x="346" y="107"/>
                    </a:cubicBezTo>
                    <a:cubicBezTo>
                      <a:pt x="346" y="107"/>
                      <a:pt x="348" y="116"/>
                      <a:pt x="354" y="116"/>
                    </a:cubicBezTo>
                    <a:cubicBezTo>
                      <a:pt x="354" y="116"/>
                      <a:pt x="366" y="114"/>
                      <a:pt x="366" y="124"/>
                    </a:cubicBezTo>
                    <a:cubicBezTo>
                      <a:pt x="366" y="124"/>
                      <a:pt x="382" y="130"/>
                      <a:pt x="366" y="139"/>
                    </a:cubicBezTo>
                    <a:cubicBezTo>
                      <a:pt x="366" y="139"/>
                      <a:pt x="370" y="148"/>
                      <a:pt x="361" y="151"/>
                    </a:cubicBezTo>
                    <a:cubicBezTo>
                      <a:pt x="361" y="151"/>
                      <a:pt x="345" y="162"/>
                      <a:pt x="361" y="163"/>
                    </a:cubicBezTo>
                    <a:cubicBezTo>
                      <a:pt x="361" y="163"/>
                      <a:pt x="371" y="167"/>
                      <a:pt x="368" y="174"/>
                    </a:cubicBezTo>
                    <a:cubicBezTo>
                      <a:pt x="368" y="174"/>
                      <a:pt x="364" y="184"/>
                      <a:pt x="383" y="187"/>
                    </a:cubicBezTo>
                    <a:cubicBezTo>
                      <a:pt x="383" y="187"/>
                      <a:pt x="383" y="196"/>
                      <a:pt x="397" y="198"/>
                    </a:cubicBezTo>
                    <a:cubicBezTo>
                      <a:pt x="397" y="198"/>
                      <a:pt x="411" y="195"/>
                      <a:pt x="409" y="221"/>
                    </a:cubicBezTo>
                    <a:cubicBezTo>
                      <a:pt x="409" y="221"/>
                      <a:pt x="406" y="231"/>
                      <a:pt x="421" y="230"/>
                    </a:cubicBezTo>
                    <a:cubicBezTo>
                      <a:pt x="410" y="240"/>
                      <a:pt x="396" y="241"/>
                      <a:pt x="396" y="241"/>
                    </a:cubicBezTo>
                    <a:cubicBezTo>
                      <a:pt x="384" y="250"/>
                      <a:pt x="386" y="261"/>
                      <a:pt x="386" y="261"/>
                    </a:cubicBezTo>
                    <a:cubicBezTo>
                      <a:pt x="377" y="252"/>
                      <a:pt x="370" y="253"/>
                      <a:pt x="370" y="253"/>
                    </a:cubicBezTo>
                    <a:cubicBezTo>
                      <a:pt x="364" y="253"/>
                      <a:pt x="360" y="258"/>
                      <a:pt x="360" y="258"/>
                    </a:cubicBezTo>
                    <a:cubicBezTo>
                      <a:pt x="353" y="263"/>
                      <a:pt x="340" y="258"/>
                      <a:pt x="340" y="258"/>
                    </a:cubicBezTo>
                    <a:cubicBezTo>
                      <a:pt x="332" y="258"/>
                      <a:pt x="329" y="247"/>
                      <a:pt x="316" y="249"/>
                    </a:cubicBezTo>
                    <a:cubicBezTo>
                      <a:pt x="309" y="249"/>
                      <a:pt x="308" y="236"/>
                      <a:pt x="301" y="237"/>
                    </a:cubicBezTo>
                    <a:cubicBezTo>
                      <a:pt x="303" y="250"/>
                      <a:pt x="291" y="252"/>
                      <a:pt x="291" y="252"/>
                    </a:cubicBezTo>
                    <a:cubicBezTo>
                      <a:pt x="291" y="252"/>
                      <a:pt x="291" y="252"/>
                      <a:pt x="291" y="252"/>
                    </a:cubicBezTo>
                    <a:cubicBezTo>
                      <a:pt x="277" y="248"/>
                      <a:pt x="277" y="248"/>
                      <a:pt x="277" y="248"/>
                    </a:cubicBezTo>
                    <a:cubicBezTo>
                      <a:pt x="250" y="252"/>
                      <a:pt x="250" y="252"/>
                      <a:pt x="250" y="252"/>
                    </a:cubicBezTo>
                    <a:cubicBezTo>
                      <a:pt x="250" y="252"/>
                      <a:pt x="250" y="252"/>
                      <a:pt x="250" y="252"/>
                    </a:cubicBezTo>
                    <a:cubicBezTo>
                      <a:pt x="249" y="253"/>
                      <a:pt x="248" y="255"/>
                      <a:pt x="248" y="257"/>
                    </a:cubicBezTo>
                    <a:cubicBezTo>
                      <a:pt x="248" y="257"/>
                      <a:pt x="242" y="251"/>
                      <a:pt x="234" y="253"/>
                    </a:cubicBezTo>
                    <a:cubicBezTo>
                      <a:pt x="234" y="253"/>
                      <a:pt x="235" y="261"/>
                      <a:pt x="232" y="265"/>
                    </a:cubicBezTo>
                    <a:cubicBezTo>
                      <a:pt x="228" y="264"/>
                      <a:pt x="227" y="275"/>
                      <a:pt x="227" y="275"/>
                    </a:cubicBezTo>
                    <a:cubicBezTo>
                      <a:pt x="212" y="292"/>
                      <a:pt x="202" y="270"/>
                      <a:pt x="202" y="270"/>
                    </a:cubicBezTo>
                    <a:cubicBezTo>
                      <a:pt x="188" y="272"/>
                      <a:pt x="184" y="253"/>
                      <a:pt x="184" y="253"/>
                    </a:cubicBezTo>
                    <a:cubicBezTo>
                      <a:pt x="180" y="275"/>
                      <a:pt x="163" y="264"/>
                      <a:pt x="163" y="264"/>
                    </a:cubicBezTo>
                    <a:cubicBezTo>
                      <a:pt x="159" y="275"/>
                      <a:pt x="126" y="272"/>
                      <a:pt x="126" y="272"/>
                    </a:cubicBezTo>
                    <a:cubicBezTo>
                      <a:pt x="88" y="285"/>
                      <a:pt x="78" y="276"/>
                      <a:pt x="78" y="276"/>
                    </a:cubicBezTo>
                    <a:cubicBezTo>
                      <a:pt x="66" y="272"/>
                      <a:pt x="63" y="261"/>
                      <a:pt x="63" y="261"/>
                    </a:cubicBezTo>
                    <a:cubicBezTo>
                      <a:pt x="47" y="260"/>
                      <a:pt x="42" y="253"/>
                      <a:pt x="42" y="253"/>
                    </a:cubicBezTo>
                    <a:cubicBezTo>
                      <a:pt x="37" y="246"/>
                      <a:pt x="16" y="244"/>
                      <a:pt x="16" y="244"/>
                    </a:cubicBezTo>
                    <a:cubicBezTo>
                      <a:pt x="2" y="247"/>
                      <a:pt x="0" y="237"/>
                      <a:pt x="0" y="237"/>
                    </a:cubicBezTo>
                    <a:cubicBezTo>
                      <a:pt x="0" y="237"/>
                      <a:pt x="0" y="237"/>
                      <a:pt x="0" y="237"/>
                    </a:cubicBezTo>
                    <a:cubicBezTo>
                      <a:pt x="20" y="233"/>
                      <a:pt x="20" y="233"/>
                      <a:pt x="20" y="233"/>
                    </a:cubicBezTo>
                    <a:cubicBezTo>
                      <a:pt x="20" y="233"/>
                      <a:pt x="20" y="233"/>
                      <a:pt x="20" y="233"/>
                    </a:cubicBezTo>
                    <a:cubicBezTo>
                      <a:pt x="29" y="237"/>
                      <a:pt x="35" y="224"/>
                      <a:pt x="35" y="224"/>
                    </a:cubicBezTo>
                    <a:cubicBezTo>
                      <a:pt x="30" y="212"/>
                      <a:pt x="16" y="211"/>
                      <a:pt x="16" y="211"/>
                    </a:cubicBezTo>
                    <a:cubicBezTo>
                      <a:pt x="12" y="210"/>
                      <a:pt x="8" y="210"/>
                      <a:pt x="5" y="210"/>
                    </a:cubicBezTo>
                    <a:cubicBezTo>
                      <a:pt x="1" y="206"/>
                      <a:pt x="10" y="203"/>
                      <a:pt x="9" y="198"/>
                    </a:cubicBezTo>
                    <a:cubicBezTo>
                      <a:pt x="19" y="198"/>
                      <a:pt x="24" y="195"/>
                      <a:pt x="24" y="195"/>
                    </a:cubicBezTo>
                    <a:cubicBezTo>
                      <a:pt x="38" y="196"/>
                      <a:pt x="46" y="203"/>
                      <a:pt x="46" y="203"/>
                    </a:cubicBezTo>
                    <a:cubicBezTo>
                      <a:pt x="57" y="211"/>
                      <a:pt x="71" y="199"/>
                      <a:pt x="71" y="199"/>
                    </a:cubicBezTo>
                    <a:cubicBezTo>
                      <a:pt x="71" y="199"/>
                      <a:pt x="71" y="199"/>
                      <a:pt x="71" y="199"/>
                    </a:cubicBezTo>
                    <a:cubicBezTo>
                      <a:pt x="82" y="196"/>
                      <a:pt x="82" y="196"/>
                      <a:pt x="82" y="196"/>
                    </a:cubicBezTo>
                    <a:cubicBezTo>
                      <a:pt x="82" y="196"/>
                      <a:pt x="82" y="196"/>
                      <a:pt x="82" y="196"/>
                    </a:cubicBezTo>
                    <a:cubicBezTo>
                      <a:pt x="79" y="191"/>
                      <a:pt x="62" y="187"/>
                      <a:pt x="62" y="187"/>
                    </a:cubicBezTo>
                    <a:cubicBezTo>
                      <a:pt x="62" y="187"/>
                      <a:pt x="62" y="187"/>
                      <a:pt x="62" y="187"/>
                    </a:cubicBezTo>
                    <a:cubicBezTo>
                      <a:pt x="41" y="187"/>
                      <a:pt x="41" y="187"/>
                      <a:pt x="41" y="187"/>
                    </a:cubicBezTo>
                    <a:cubicBezTo>
                      <a:pt x="41" y="187"/>
                      <a:pt x="41" y="187"/>
                      <a:pt x="41" y="187"/>
                    </a:cubicBezTo>
                    <a:cubicBezTo>
                      <a:pt x="27" y="182"/>
                      <a:pt x="23" y="165"/>
                      <a:pt x="23" y="165"/>
                    </a:cubicBezTo>
                    <a:cubicBezTo>
                      <a:pt x="23" y="165"/>
                      <a:pt x="23" y="165"/>
                      <a:pt x="23" y="165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39" name="Freeform 35"/>
              <p:cNvSpPr>
                <a:spLocks/>
              </p:cNvSpPr>
              <p:nvPr/>
            </p:nvSpPr>
            <p:spPr bwMode="auto">
              <a:xfrm>
                <a:off x="338995" y="3515347"/>
                <a:ext cx="835956" cy="596345"/>
              </a:xfrm>
              <a:custGeom>
                <a:avLst/>
                <a:gdLst>
                  <a:gd name="T0" fmla="*/ 2147483647 w 295"/>
                  <a:gd name="T1" fmla="*/ 2147483647 h 238"/>
                  <a:gd name="T2" fmla="*/ 2147483647 w 295"/>
                  <a:gd name="T3" fmla="*/ 2147483647 h 238"/>
                  <a:gd name="T4" fmla="*/ 2147483647 w 295"/>
                  <a:gd name="T5" fmla="*/ 2147483647 h 238"/>
                  <a:gd name="T6" fmla="*/ 2147483647 w 295"/>
                  <a:gd name="T7" fmla="*/ 2147483647 h 238"/>
                  <a:gd name="T8" fmla="*/ 2147483647 w 295"/>
                  <a:gd name="T9" fmla="*/ 2147483647 h 238"/>
                  <a:gd name="T10" fmla="*/ 2147483647 w 295"/>
                  <a:gd name="T11" fmla="*/ 2147483647 h 238"/>
                  <a:gd name="T12" fmla="*/ 2147483647 w 295"/>
                  <a:gd name="T13" fmla="*/ 2147483647 h 238"/>
                  <a:gd name="T14" fmla="*/ 2147483647 w 295"/>
                  <a:gd name="T15" fmla="*/ 2147483647 h 238"/>
                  <a:gd name="T16" fmla="*/ 2147483647 w 295"/>
                  <a:gd name="T17" fmla="*/ 2147483647 h 238"/>
                  <a:gd name="T18" fmla="*/ 2147483647 w 295"/>
                  <a:gd name="T19" fmla="*/ 2147483647 h 238"/>
                  <a:gd name="T20" fmla="*/ 2147483647 w 295"/>
                  <a:gd name="T21" fmla="*/ 2147483647 h 238"/>
                  <a:gd name="T22" fmla="*/ 2147483647 w 295"/>
                  <a:gd name="T23" fmla="*/ 2147483647 h 238"/>
                  <a:gd name="T24" fmla="*/ 2147483647 w 295"/>
                  <a:gd name="T25" fmla="*/ 2147483647 h 238"/>
                  <a:gd name="T26" fmla="*/ 2147483647 w 295"/>
                  <a:gd name="T27" fmla="*/ 2147483647 h 238"/>
                  <a:gd name="T28" fmla="*/ 2147483647 w 295"/>
                  <a:gd name="T29" fmla="*/ 2147483647 h 238"/>
                  <a:gd name="T30" fmla="*/ 2147483647 w 295"/>
                  <a:gd name="T31" fmla="*/ 2147483647 h 238"/>
                  <a:gd name="T32" fmla="*/ 2147483647 w 295"/>
                  <a:gd name="T33" fmla="*/ 2147483647 h 238"/>
                  <a:gd name="T34" fmla="*/ 2147483647 w 295"/>
                  <a:gd name="T35" fmla="*/ 2147483647 h 238"/>
                  <a:gd name="T36" fmla="*/ 2147483647 w 295"/>
                  <a:gd name="T37" fmla="*/ 2147483647 h 238"/>
                  <a:gd name="T38" fmla="*/ 2147483647 w 295"/>
                  <a:gd name="T39" fmla="*/ 2147483647 h 238"/>
                  <a:gd name="T40" fmla="*/ 2147483647 w 295"/>
                  <a:gd name="T41" fmla="*/ 2147483647 h 238"/>
                  <a:gd name="T42" fmla="*/ 2147483647 w 295"/>
                  <a:gd name="T43" fmla="*/ 2147483647 h 238"/>
                  <a:gd name="T44" fmla="*/ 2147483647 w 295"/>
                  <a:gd name="T45" fmla="*/ 2147483647 h 238"/>
                  <a:gd name="T46" fmla="*/ 2147483647 w 295"/>
                  <a:gd name="T47" fmla="*/ 2147483647 h 238"/>
                  <a:gd name="T48" fmla="*/ 2147483647 w 295"/>
                  <a:gd name="T49" fmla="*/ 2147483647 h 238"/>
                  <a:gd name="T50" fmla="*/ 2147483647 w 295"/>
                  <a:gd name="T51" fmla="*/ 2147483647 h 238"/>
                  <a:gd name="T52" fmla="*/ 2147483647 w 295"/>
                  <a:gd name="T53" fmla="*/ 2147483647 h 238"/>
                  <a:gd name="T54" fmla="*/ 2147483647 w 295"/>
                  <a:gd name="T55" fmla="*/ 2147483647 h 238"/>
                  <a:gd name="T56" fmla="*/ 2147483647 w 295"/>
                  <a:gd name="T57" fmla="*/ 2147483647 h 238"/>
                  <a:gd name="T58" fmla="*/ 2147483647 w 295"/>
                  <a:gd name="T59" fmla="*/ 2147483647 h 238"/>
                  <a:gd name="T60" fmla="*/ 2147483647 w 295"/>
                  <a:gd name="T61" fmla="*/ 2147483647 h 238"/>
                  <a:gd name="T62" fmla="*/ 2147483647 w 295"/>
                  <a:gd name="T63" fmla="*/ 2147483647 h 238"/>
                  <a:gd name="T64" fmla="*/ 2147483647 w 295"/>
                  <a:gd name="T65" fmla="*/ 2147483647 h 238"/>
                  <a:gd name="T66" fmla="*/ 2147483647 w 295"/>
                  <a:gd name="T67" fmla="*/ 2147483647 h 238"/>
                  <a:gd name="T68" fmla="*/ 2147483647 w 295"/>
                  <a:gd name="T69" fmla="*/ 2147483647 h 238"/>
                  <a:gd name="T70" fmla="*/ 2147483647 w 295"/>
                  <a:gd name="T71" fmla="*/ 2147483647 h 238"/>
                  <a:gd name="T72" fmla="*/ 2147483647 w 295"/>
                  <a:gd name="T73" fmla="*/ 2147483647 h 238"/>
                  <a:gd name="T74" fmla="*/ 2147483647 w 295"/>
                  <a:gd name="T75" fmla="*/ 2147483647 h 238"/>
                  <a:gd name="T76" fmla="*/ 2147483647 w 295"/>
                  <a:gd name="T77" fmla="*/ 2147483647 h 238"/>
                  <a:gd name="T78" fmla="*/ 2147483647 w 295"/>
                  <a:gd name="T79" fmla="*/ 2147483647 h 238"/>
                  <a:gd name="T80" fmla="*/ 2147483647 w 295"/>
                  <a:gd name="T81" fmla="*/ 2147483647 h 238"/>
                  <a:gd name="T82" fmla="*/ 2147483647 w 295"/>
                  <a:gd name="T83" fmla="*/ 2147483647 h 238"/>
                  <a:gd name="T84" fmla="*/ 2147483647 w 295"/>
                  <a:gd name="T85" fmla="*/ 2147483647 h 23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95"/>
                  <a:gd name="T130" fmla="*/ 0 h 238"/>
                  <a:gd name="T131" fmla="*/ 295 w 295"/>
                  <a:gd name="T132" fmla="*/ 238 h 238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95" h="238">
                    <a:moveTo>
                      <a:pt x="171" y="84"/>
                    </a:moveTo>
                    <a:cubicBezTo>
                      <a:pt x="155" y="83"/>
                      <a:pt x="155" y="83"/>
                      <a:pt x="155" y="83"/>
                    </a:cubicBezTo>
                    <a:cubicBezTo>
                      <a:pt x="155" y="83"/>
                      <a:pt x="155" y="83"/>
                      <a:pt x="155" y="83"/>
                    </a:cubicBezTo>
                    <a:cubicBezTo>
                      <a:pt x="155" y="83"/>
                      <a:pt x="152" y="74"/>
                      <a:pt x="141" y="74"/>
                    </a:cubicBezTo>
                    <a:cubicBezTo>
                      <a:pt x="141" y="74"/>
                      <a:pt x="129" y="76"/>
                      <a:pt x="127" y="63"/>
                    </a:cubicBezTo>
                    <a:cubicBezTo>
                      <a:pt x="127" y="63"/>
                      <a:pt x="127" y="47"/>
                      <a:pt x="115" y="54"/>
                    </a:cubicBezTo>
                    <a:cubicBezTo>
                      <a:pt x="115" y="54"/>
                      <a:pt x="105" y="53"/>
                      <a:pt x="103" y="45"/>
                    </a:cubicBezTo>
                    <a:cubicBezTo>
                      <a:pt x="103" y="45"/>
                      <a:pt x="97" y="42"/>
                      <a:pt x="100" y="17"/>
                    </a:cubicBezTo>
                    <a:cubicBezTo>
                      <a:pt x="100" y="17"/>
                      <a:pt x="100" y="17"/>
                      <a:pt x="100" y="17"/>
                    </a:cubicBezTo>
                    <a:cubicBezTo>
                      <a:pt x="79" y="12"/>
                      <a:pt x="79" y="12"/>
                      <a:pt x="79" y="12"/>
                    </a:cubicBezTo>
                    <a:cubicBezTo>
                      <a:pt x="79" y="12"/>
                      <a:pt x="79" y="12"/>
                      <a:pt x="79" y="12"/>
                    </a:cubicBezTo>
                    <a:cubicBezTo>
                      <a:pt x="71" y="0"/>
                      <a:pt x="66" y="1"/>
                      <a:pt x="63" y="4"/>
                    </a:cubicBezTo>
                    <a:cubicBezTo>
                      <a:pt x="61" y="6"/>
                      <a:pt x="61" y="11"/>
                      <a:pt x="61" y="11"/>
                    </a:cubicBezTo>
                    <a:cubicBezTo>
                      <a:pt x="46" y="19"/>
                      <a:pt x="44" y="32"/>
                      <a:pt x="44" y="32"/>
                    </a:cubicBezTo>
                    <a:cubicBezTo>
                      <a:pt x="35" y="39"/>
                      <a:pt x="35" y="55"/>
                      <a:pt x="35" y="55"/>
                    </a:cubicBezTo>
                    <a:cubicBezTo>
                      <a:pt x="35" y="55"/>
                      <a:pt x="28" y="75"/>
                      <a:pt x="6" y="86"/>
                    </a:cubicBezTo>
                    <a:cubicBezTo>
                      <a:pt x="0" y="98"/>
                      <a:pt x="1" y="118"/>
                      <a:pt x="1" y="118"/>
                    </a:cubicBezTo>
                    <a:cubicBezTo>
                      <a:pt x="16" y="113"/>
                      <a:pt x="14" y="130"/>
                      <a:pt x="14" y="130"/>
                    </a:cubicBezTo>
                    <a:cubicBezTo>
                      <a:pt x="24" y="131"/>
                      <a:pt x="21" y="142"/>
                      <a:pt x="21" y="142"/>
                    </a:cubicBezTo>
                    <a:cubicBezTo>
                      <a:pt x="20" y="154"/>
                      <a:pt x="30" y="152"/>
                      <a:pt x="30" y="152"/>
                    </a:cubicBezTo>
                    <a:cubicBezTo>
                      <a:pt x="45" y="149"/>
                      <a:pt x="35" y="164"/>
                      <a:pt x="46" y="167"/>
                    </a:cubicBezTo>
                    <a:cubicBezTo>
                      <a:pt x="46" y="189"/>
                      <a:pt x="61" y="182"/>
                      <a:pt x="61" y="182"/>
                    </a:cubicBezTo>
                    <a:cubicBezTo>
                      <a:pt x="76" y="175"/>
                      <a:pt x="83" y="195"/>
                      <a:pt x="75" y="197"/>
                    </a:cubicBezTo>
                    <a:cubicBezTo>
                      <a:pt x="72" y="209"/>
                      <a:pt x="76" y="212"/>
                      <a:pt x="76" y="212"/>
                    </a:cubicBezTo>
                    <a:cubicBezTo>
                      <a:pt x="87" y="212"/>
                      <a:pt x="84" y="196"/>
                      <a:pt x="104" y="202"/>
                    </a:cubicBezTo>
                    <a:cubicBezTo>
                      <a:pt x="113" y="175"/>
                      <a:pt x="129" y="196"/>
                      <a:pt x="129" y="196"/>
                    </a:cubicBezTo>
                    <a:cubicBezTo>
                      <a:pt x="139" y="214"/>
                      <a:pt x="155" y="211"/>
                      <a:pt x="155" y="211"/>
                    </a:cubicBezTo>
                    <a:cubicBezTo>
                      <a:pt x="164" y="205"/>
                      <a:pt x="179" y="216"/>
                      <a:pt x="179" y="216"/>
                    </a:cubicBezTo>
                    <a:cubicBezTo>
                      <a:pt x="189" y="215"/>
                      <a:pt x="195" y="230"/>
                      <a:pt x="210" y="226"/>
                    </a:cubicBezTo>
                    <a:cubicBezTo>
                      <a:pt x="220" y="224"/>
                      <a:pt x="230" y="238"/>
                      <a:pt x="250" y="233"/>
                    </a:cubicBezTo>
                    <a:cubicBezTo>
                      <a:pt x="266" y="229"/>
                      <a:pt x="277" y="230"/>
                      <a:pt x="283" y="233"/>
                    </a:cubicBezTo>
                    <a:cubicBezTo>
                      <a:pt x="295" y="212"/>
                      <a:pt x="282" y="204"/>
                      <a:pt x="282" y="204"/>
                    </a:cubicBezTo>
                    <a:cubicBezTo>
                      <a:pt x="273" y="200"/>
                      <a:pt x="284" y="190"/>
                      <a:pt x="277" y="186"/>
                    </a:cubicBezTo>
                    <a:cubicBezTo>
                      <a:pt x="271" y="167"/>
                      <a:pt x="262" y="165"/>
                      <a:pt x="262" y="165"/>
                    </a:cubicBezTo>
                    <a:cubicBezTo>
                      <a:pt x="255" y="149"/>
                      <a:pt x="249" y="161"/>
                      <a:pt x="249" y="161"/>
                    </a:cubicBezTo>
                    <a:cubicBezTo>
                      <a:pt x="224" y="164"/>
                      <a:pt x="233" y="149"/>
                      <a:pt x="233" y="149"/>
                    </a:cubicBezTo>
                    <a:cubicBezTo>
                      <a:pt x="238" y="120"/>
                      <a:pt x="231" y="128"/>
                      <a:pt x="231" y="128"/>
                    </a:cubicBezTo>
                    <a:cubicBezTo>
                      <a:pt x="220" y="127"/>
                      <a:pt x="216" y="134"/>
                      <a:pt x="216" y="134"/>
                    </a:cubicBezTo>
                    <a:cubicBezTo>
                      <a:pt x="203" y="136"/>
                      <a:pt x="211" y="125"/>
                      <a:pt x="211" y="125"/>
                    </a:cubicBezTo>
                    <a:cubicBezTo>
                      <a:pt x="210" y="118"/>
                      <a:pt x="203" y="117"/>
                      <a:pt x="203" y="117"/>
                    </a:cubicBezTo>
                    <a:cubicBezTo>
                      <a:pt x="194" y="115"/>
                      <a:pt x="200" y="100"/>
                      <a:pt x="183" y="101"/>
                    </a:cubicBezTo>
                    <a:cubicBezTo>
                      <a:pt x="184" y="92"/>
                      <a:pt x="171" y="84"/>
                      <a:pt x="171" y="84"/>
                    </a:cubicBezTo>
                    <a:cubicBezTo>
                      <a:pt x="171" y="84"/>
                      <a:pt x="171" y="84"/>
                      <a:pt x="171" y="84"/>
                    </a:cubicBezTo>
                    <a:close/>
                  </a:path>
                </a:pathLst>
              </a:custGeom>
              <a:solidFill>
                <a:srgbClr val="F8F8A2"/>
              </a:solidFill>
              <a:ln w="9525">
                <a:solidFill>
                  <a:schemeClr val="tx2">
                    <a:lumMod val="40000"/>
                    <a:lumOff val="60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0" name="Freeform 128"/>
              <p:cNvSpPr>
                <a:spLocks/>
              </p:cNvSpPr>
              <p:nvPr/>
            </p:nvSpPr>
            <p:spPr bwMode="auto">
              <a:xfrm>
                <a:off x="3850925" y="4962794"/>
                <a:ext cx="1537694" cy="842470"/>
              </a:xfrm>
              <a:custGeom>
                <a:avLst/>
                <a:gdLst/>
                <a:ahLst/>
                <a:cxnLst>
                  <a:cxn ang="0">
                    <a:pos x="172" y="17"/>
                  </a:cxn>
                  <a:cxn ang="0">
                    <a:pos x="192" y="29"/>
                  </a:cxn>
                  <a:cxn ang="0">
                    <a:pos x="219" y="32"/>
                  </a:cxn>
                  <a:cxn ang="0">
                    <a:pos x="221" y="46"/>
                  </a:cxn>
                  <a:cxn ang="0">
                    <a:pos x="228" y="39"/>
                  </a:cxn>
                  <a:cxn ang="0">
                    <a:pos x="250" y="47"/>
                  </a:cxn>
                  <a:cxn ang="0">
                    <a:pos x="272" y="51"/>
                  </a:cxn>
                  <a:cxn ang="0">
                    <a:pos x="260" y="41"/>
                  </a:cxn>
                  <a:cxn ang="0">
                    <a:pos x="275" y="57"/>
                  </a:cxn>
                  <a:cxn ang="0">
                    <a:pos x="280" y="65"/>
                  </a:cxn>
                  <a:cxn ang="0">
                    <a:pos x="289" y="72"/>
                  </a:cxn>
                  <a:cxn ang="0">
                    <a:pos x="298" y="65"/>
                  </a:cxn>
                  <a:cxn ang="0">
                    <a:pos x="300" y="83"/>
                  </a:cxn>
                  <a:cxn ang="0">
                    <a:pos x="334" y="105"/>
                  </a:cxn>
                  <a:cxn ang="0">
                    <a:pos x="343" y="117"/>
                  </a:cxn>
                  <a:cxn ang="0">
                    <a:pos x="343" y="131"/>
                  </a:cxn>
                  <a:cxn ang="0">
                    <a:pos x="363" y="154"/>
                  </a:cxn>
                  <a:cxn ang="0">
                    <a:pos x="399" y="159"/>
                  </a:cxn>
                  <a:cxn ang="0">
                    <a:pos x="342" y="104"/>
                  </a:cxn>
                  <a:cxn ang="0">
                    <a:pos x="310" y="49"/>
                  </a:cxn>
                  <a:cxn ang="0">
                    <a:pos x="289" y="19"/>
                  </a:cxn>
                  <a:cxn ang="0">
                    <a:pos x="301" y="15"/>
                  </a:cxn>
                  <a:cxn ang="0">
                    <a:pos x="305" y="12"/>
                  </a:cxn>
                  <a:cxn ang="0">
                    <a:pos x="330" y="81"/>
                  </a:cxn>
                  <a:cxn ang="0">
                    <a:pos x="385" y="149"/>
                  </a:cxn>
                  <a:cxn ang="0">
                    <a:pos x="441" y="121"/>
                  </a:cxn>
                  <a:cxn ang="0">
                    <a:pos x="494" y="119"/>
                  </a:cxn>
                  <a:cxn ang="0">
                    <a:pos x="543" y="132"/>
                  </a:cxn>
                  <a:cxn ang="0">
                    <a:pos x="520" y="177"/>
                  </a:cxn>
                  <a:cxn ang="0">
                    <a:pos x="499" y="201"/>
                  </a:cxn>
                  <a:cxn ang="0">
                    <a:pos x="460" y="205"/>
                  </a:cxn>
                  <a:cxn ang="0">
                    <a:pos x="429" y="192"/>
                  </a:cxn>
                  <a:cxn ang="0">
                    <a:pos x="391" y="205"/>
                  </a:cxn>
                  <a:cxn ang="0">
                    <a:pos x="357" y="247"/>
                  </a:cxn>
                  <a:cxn ang="0">
                    <a:pos x="316" y="247"/>
                  </a:cxn>
                  <a:cxn ang="0">
                    <a:pos x="268" y="279"/>
                  </a:cxn>
                  <a:cxn ang="0">
                    <a:pos x="217" y="331"/>
                  </a:cxn>
                  <a:cxn ang="0">
                    <a:pos x="165" y="319"/>
                  </a:cxn>
                  <a:cxn ang="0">
                    <a:pos x="133" y="297"/>
                  </a:cxn>
                  <a:cxn ang="0">
                    <a:pos x="161" y="246"/>
                  </a:cxn>
                  <a:cxn ang="0">
                    <a:pos x="128" y="185"/>
                  </a:cxn>
                  <a:cxn ang="0">
                    <a:pos x="85" y="171"/>
                  </a:cxn>
                  <a:cxn ang="0">
                    <a:pos x="25" y="167"/>
                  </a:cxn>
                  <a:cxn ang="0">
                    <a:pos x="49" y="123"/>
                  </a:cxn>
                  <a:cxn ang="0">
                    <a:pos x="98" y="82"/>
                  </a:cxn>
                  <a:cxn ang="0">
                    <a:pos x="129" y="71"/>
                  </a:cxn>
                  <a:cxn ang="0">
                    <a:pos x="148" y="62"/>
                  </a:cxn>
                  <a:cxn ang="0">
                    <a:pos x="165" y="58"/>
                  </a:cxn>
                  <a:cxn ang="0">
                    <a:pos x="170" y="47"/>
                  </a:cxn>
                  <a:cxn ang="0">
                    <a:pos x="158" y="31"/>
                  </a:cxn>
                  <a:cxn ang="0">
                    <a:pos x="154" y="21"/>
                  </a:cxn>
                  <a:cxn ang="0">
                    <a:pos x="153" y="2"/>
                  </a:cxn>
                  <a:cxn ang="0">
                    <a:pos x="168" y="6"/>
                  </a:cxn>
                </a:cxnLst>
                <a:rect l="0" t="0" r="r" b="b"/>
                <a:pathLst>
                  <a:path w="543" h="337">
                    <a:moveTo>
                      <a:pt x="168" y="6"/>
                    </a:moveTo>
                    <a:cubicBezTo>
                      <a:pt x="168" y="13"/>
                      <a:pt x="172" y="17"/>
                      <a:pt x="172" y="17"/>
                    </a:cubicBezTo>
                    <a:cubicBezTo>
                      <a:pt x="177" y="10"/>
                      <a:pt x="185" y="22"/>
                      <a:pt x="185" y="22"/>
                    </a:cubicBezTo>
                    <a:cubicBezTo>
                      <a:pt x="185" y="35"/>
                      <a:pt x="192" y="29"/>
                      <a:pt x="192" y="29"/>
                    </a:cubicBezTo>
                    <a:cubicBezTo>
                      <a:pt x="192" y="18"/>
                      <a:pt x="200" y="21"/>
                      <a:pt x="200" y="21"/>
                    </a:cubicBezTo>
                    <a:cubicBezTo>
                      <a:pt x="213" y="17"/>
                      <a:pt x="219" y="32"/>
                      <a:pt x="219" y="32"/>
                    </a:cubicBezTo>
                    <a:cubicBezTo>
                      <a:pt x="219" y="32"/>
                      <a:pt x="219" y="32"/>
                      <a:pt x="219" y="32"/>
                    </a:cubicBezTo>
                    <a:cubicBezTo>
                      <a:pt x="221" y="46"/>
                      <a:pt x="221" y="46"/>
                      <a:pt x="221" y="46"/>
                    </a:cubicBezTo>
                    <a:cubicBezTo>
                      <a:pt x="221" y="46"/>
                      <a:pt x="221" y="46"/>
                      <a:pt x="221" y="46"/>
                    </a:cubicBezTo>
                    <a:cubicBezTo>
                      <a:pt x="224" y="36"/>
                      <a:pt x="228" y="39"/>
                      <a:pt x="228" y="39"/>
                    </a:cubicBezTo>
                    <a:cubicBezTo>
                      <a:pt x="228" y="33"/>
                      <a:pt x="237" y="35"/>
                      <a:pt x="237" y="35"/>
                    </a:cubicBezTo>
                    <a:cubicBezTo>
                      <a:pt x="246" y="33"/>
                      <a:pt x="250" y="47"/>
                      <a:pt x="250" y="47"/>
                    </a:cubicBezTo>
                    <a:cubicBezTo>
                      <a:pt x="249" y="60"/>
                      <a:pt x="261" y="61"/>
                      <a:pt x="261" y="61"/>
                    </a:cubicBezTo>
                    <a:cubicBezTo>
                      <a:pt x="267" y="61"/>
                      <a:pt x="272" y="51"/>
                      <a:pt x="272" y="51"/>
                    </a:cubicBezTo>
                    <a:cubicBezTo>
                      <a:pt x="272" y="45"/>
                      <a:pt x="264" y="44"/>
                      <a:pt x="264" y="44"/>
                    </a:cubicBezTo>
                    <a:cubicBezTo>
                      <a:pt x="262" y="43"/>
                      <a:pt x="261" y="43"/>
                      <a:pt x="260" y="41"/>
                    </a:cubicBezTo>
                    <a:cubicBezTo>
                      <a:pt x="266" y="31"/>
                      <a:pt x="279" y="41"/>
                      <a:pt x="279" y="41"/>
                    </a:cubicBezTo>
                    <a:cubicBezTo>
                      <a:pt x="280" y="54"/>
                      <a:pt x="275" y="57"/>
                      <a:pt x="275" y="57"/>
                    </a:cubicBezTo>
                    <a:cubicBezTo>
                      <a:pt x="266" y="68"/>
                      <a:pt x="268" y="76"/>
                      <a:pt x="268" y="76"/>
                    </a:cubicBezTo>
                    <a:cubicBezTo>
                      <a:pt x="275" y="78"/>
                      <a:pt x="280" y="65"/>
                      <a:pt x="280" y="65"/>
                    </a:cubicBezTo>
                    <a:cubicBezTo>
                      <a:pt x="286" y="53"/>
                      <a:pt x="294" y="51"/>
                      <a:pt x="294" y="51"/>
                    </a:cubicBezTo>
                    <a:cubicBezTo>
                      <a:pt x="290" y="63"/>
                      <a:pt x="289" y="72"/>
                      <a:pt x="289" y="72"/>
                    </a:cubicBezTo>
                    <a:cubicBezTo>
                      <a:pt x="289" y="72"/>
                      <a:pt x="289" y="72"/>
                      <a:pt x="289" y="72"/>
                    </a:cubicBezTo>
                    <a:cubicBezTo>
                      <a:pt x="298" y="65"/>
                      <a:pt x="298" y="65"/>
                      <a:pt x="298" y="65"/>
                    </a:cubicBezTo>
                    <a:cubicBezTo>
                      <a:pt x="298" y="65"/>
                      <a:pt x="298" y="65"/>
                      <a:pt x="298" y="65"/>
                    </a:cubicBezTo>
                    <a:cubicBezTo>
                      <a:pt x="302" y="70"/>
                      <a:pt x="300" y="83"/>
                      <a:pt x="300" y="83"/>
                    </a:cubicBezTo>
                    <a:cubicBezTo>
                      <a:pt x="315" y="83"/>
                      <a:pt x="319" y="92"/>
                      <a:pt x="319" y="92"/>
                    </a:cubicBezTo>
                    <a:cubicBezTo>
                      <a:pt x="330" y="93"/>
                      <a:pt x="334" y="105"/>
                      <a:pt x="334" y="105"/>
                    </a:cubicBezTo>
                    <a:cubicBezTo>
                      <a:pt x="343" y="110"/>
                      <a:pt x="343" y="117"/>
                      <a:pt x="343" y="117"/>
                    </a:cubicBezTo>
                    <a:cubicBezTo>
                      <a:pt x="343" y="117"/>
                      <a:pt x="343" y="117"/>
                      <a:pt x="343" y="117"/>
                    </a:cubicBezTo>
                    <a:cubicBezTo>
                      <a:pt x="343" y="131"/>
                      <a:pt x="343" y="131"/>
                      <a:pt x="343" y="131"/>
                    </a:cubicBezTo>
                    <a:cubicBezTo>
                      <a:pt x="343" y="131"/>
                      <a:pt x="343" y="131"/>
                      <a:pt x="343" y="131"/>
                    </a:cubicBezTo>
                    <a:cubicBezTo>
                      <a:pt x="338" y="141"/>
                      <a:pt x="346" y="147"/>
                      <a:pt x="346" y="147"/>
                    </a:cubicBezTo>
                    <a:cubicBezTo>
                      <a:pt x="356" y="148"/>
                      <a:pt x="363" y="154"/>
                      <a:pt x="363" y="154"/>
                    </a:cubicBezTo>
                    <a:cubicBezTo>
                      <a:pt x="378" y="157"/>
                      <a:pt x="390" y="166"/>
                      <a:pt x="390" y="166"/>
                    </a:cubicBezTo>
                    <a:cubicBezTo>
                      <a:pt x="392" y="161"/>
                      <a:pt x="399" y="159"/>
                      <a:pt x="399" y="159"/>
                    </a:cubicBezTo>
                    <a:cubicBezTo>
                      <a:pt x="385" y="160"/>
                      <a:pt x="374" y="144"/>
                      <a:pt x="374" y="144"/>
                    </a:cubicBezTo>
                    <a:cubicBezTo>
                      <a:pt x="360" y="127"/>
                      <a:pt x="342" y="104"/>
                      <a:pt x="342" y="104"/>
                    </a:cubicBezTo>
                    <a:cubicBezTo>
                      <a:pt x="327" y="84"/>
                      <a:pt x="319" y="65"/>
                      <a:pt x="319" y="65"/>
                    </a:cubicBezTo>
                    <a:cubicBezTo>
                      <a:pt x="305" y="75"/>
                      <a:pt x="310" y="49"/>
                      <a:pt x="310" y="49"/>
                    </a:cubicBezTo>
                    <a:cubicBezTo>
                      <a:pt x="302" y="46"/>
                      <a:pt x="307" y="32"/>
                      <a:pt x="307" y="32"/>
                    </a:cubicBezTo>
                    <a:cubicBezTo>
                      <a:pt x="295" y="32"/>
                      <a:pt x="289" y="19"/>
                      <a:pt x="289" y="19"/>
                    </a:cubicBezTo>
                    <a:cubicBezTo>
                      <a:pt x="287" y="13"/>
                      <a:pt x="301" y="15"/>
                      <a:pt x="301" y="15"/>
                    </a:cubicBezTo>
                    <a:cubicBezTo>
                      <a:pt x="301" y="15"/>
                      <a:pt x="301" y="15"/>
                      <a:pt x="301" y="15"/>
                    </a:cubicBezTo>
                    <a:cubicBezTo>
                      <a:pt x="305" y="12"/>
                      <a:pt x="305" y="12"/>
                      <a:pt x="305" y="12"/>
                    </a:cubicBezTo>
                    <a:cubicBezTo>
                      <a:pt x="305" y="12"/>
                      <a:pt x="305" y="12"/>
                      <a:pt x="305" y="12"/>
                    </a:cubicBezTo>
                    <a:cubicBezTo>
                      <a:pt x="305" y="26"/>
                      <a:pt x="312" y="35"/>
                      <a:pt x="312" y="35"/>
                    </a:cubicBezTo>
                    <a:cubicBezTo>
                      <a:pt x="313" y="50"/>
                      <a:pt x="330" y="81"/>
                      <a:pt x="330" y="81"/>
                    </a:cubicBezTo>
                    <a:cubicBezTo>
                      <a:pt x="335" y="87"/>
                      <a:pt x="355" y="115"/>
                      <a:pt x="355" y="115"/>
                    </a:cubicBezTo>
                    <a:cubicBezTo>
                      <a:pt x="369" y="134"/>
                      <a:pt x="385" y="149"/>
                      <a:pt x="385" y="149"/>
                    </a:cubicBezTo>
                    <a:cubicBezTo>
                      <a:pt x="393" y="161"/>
                      <a:pt x="423" y="147"/>
                      <a:pt x="423" y="147"/>
                    </a:cubicBezTo>
                    <a:cubicBezTo>
                      <a:pt x="430" y="144"/>
                      <a:pt x="441" y="121"/>
                      <a:pt x="441" y="121"/>
                    </a:cubicBezTo>
                    <a:cubicBezTo>
                      <a:pt x="455" y="146"/>
                      <a:pt x="470" y="132"/>
                      <a:pt x="470" y="132"/>
                    </a:cubicBezTo>
                    <a:cubicBezTo>
                      <a:pt x="474" y="116"/>
                      <a:pt x="494" y="119"/>
                      <a:pt x="494" y="119"/>
                    </a:cubicBezTo>
                    <a:cubicBezTo>
                      <a:pt x="512" y="115"/>
                      <a:pt x="527" y="120"/>
                      <a:pt x="527" y="120"/>
                    </a:cubicBezTo>
                    <a:cubicBezTo>
                      <a:pt x="541" y="122"/>
                      <a:pt x="543" y="132"/>
                      <a:pt x="543" y="132"/>
                    </a:cubicBezTo>
                    <a:cubicBezTo>
                      <a:pt x="540" y="144"/>
                      <a:pt x="521" y="153"/>
                      <a:pt x="521" y="153"/>
                    </a:cubicBezTo>
                    <a:cubicBezTo>
                      <a:pt x="517" y="159"/>
                      <a:pt x="520" y="177"/>
                      <a:pt x="520" y="177"/>
                    </a:cubicBezTo>
                    <a:cubicBezTo>
                      <a:pt x="536" y="190"/>
                      <a:pt x="513" y="193"/>
                      <a:pt x="513" y="193"/>
                    </a:cubicBezTo>
                    <a:cubicBezTo>
                      <a:pt x="501" y="191"/>
                      <a:pt x="499" y="201"/>
                      <a:pt x="499" y="201"/>
                    </a:cubicBezTo>
                    <a:cubicBezTo>
                      <a:pt x="492" y="204"/>
                      <a:pt x="472" y="197"/>
                      <a:pt x="472" y="197"/>
                    </a:cubicBezTo>
                    <a:cubicBezTo>
                      <a:pt x="469" y="207"/>
                      <a:pt x="460" y="205"/>
                      <a:pt x="460" y="205"/>
                    </a:cubicBezTo>
                    <a:cubicBezTo>
                      <a:pt x="451" y="215"/>
                      <a:pt x="441" y="200"/>
                      <a:pt x="441" y="200"/>
                    </a:cubicBezTo>
                    <a:cubicBezTo>
                      <a:pt x="438" y="193"/>
                      <a:pt x="429" y="192"/>
                      <a:pt x="429" y="192"/>
                    </a:cubicBezTo>
                    <a:cubicBezTo>
                      <a:pt x="420" y="179"/>
                      <a:pt x="399" y="189"/>
                      <a:pt x="399" y="189"/>
                    </a:cubicBezTo>
                    <a:cubicBezTo>
                      <a:pt x="391" y="199"/>
                      <a:pt x="391" y="205"/>
                      <a:pt x="391" y="205"/>
                    </a:cubicBezTo>
                    <a:cubicBezTo>
                      <a:pt x="385" y="216"/>
                      <a:pt x="373" y="222"/>
                      <a:pt x="373" y="222"/>
                    </a:cubicBezTo>
                    <a:cubicBezTo>
                      <a:pt x="356" y="226"/>
                      <a:pt x="357" y="247"/>
                      <a:pt x="357" y="247"/>
                    </a:cubicBezTo>
                    <a:cubicBezTo>
                      <a:pt x="351" y="257"/>
                      <a:pt x="338" y="240"/>
                      <a:pt x="338" y="240"/>
                    </a:cubicBezTo>
                    <a:cubicBezTo>
                      <a:pt x="327" y="250"/>
                      <a:pt x="316" y="247"/>
                      <a:pt x="316" y="247"/>
                    </a:cubicBezTo>
                    <a:cubicBezTo>
                      <a:pt x="302" y="247"/>
                      <a:pt x="296" y="259"/>
                      <a:pt x="296" y="259"/>
                    </a:cubicBezTo>
                    <a:cubicBezTo>
                      <a:pt x="286" y="255"/>
                      <a:pt x="268" y="279"/>
                      <a:pt x="268" y="279"/>
                    </a:cubicBezTo>
                    <a:cubicBezTo>
                      <a:pt x="258" y="285"/>
                      <a:pt x="267" y="303"/>
                      <a:pt x="249" y="302"/>
                    </a:cubicBezTo>
                    <a:cubicBezTo>
                      <a:pt x="240" y="315"/>
                      <a:pt x="229" y="327"/>
                      <a:pt x="217" y="331"/>
                    </a:cubicBezTo>
                    <a:cubicBezTo>
                      <a:pt x="195" y="337"/>
                      <a:pt x="176" y="331"/>
                      <a:pt x="176" y="331"/>
                    </a:cubicBezTo>
                    <a:cubicBezTo>
                      <a:pt x="171" y="324"/>
                      <a:pt x="165" y="319"/>
                      <a:pt x="165" y="319"/>
                    </a:cubicBezTo>
                    <a:cubicBezTo>
                      <a:pt x="163" y="310"/>
                      <a:pt x="148" y="314"/>
                      <a:pt x="148" y="314"/>
                    </a:cubicBezTo>
                    <a:cubicBezTo>
                      <a:pt x="138" y="311"/>
                      <a:pt x="133" y="297"/>
                      <a:pt x="133" y="297"/>
                    </a:cubicBezTo>
                    <a:cubicBezTo>
                      <a:pt x="134" y="291"/>
                      <a:pt x="143" y="296"/>
                      <a:pt x="154" y="285"/>
                    </a:cubicBezTo>
                    <a:cubicBezTo>
                      <a:pt x="154" y="274"/>
                      <a:pt x="140" y="267"/>
                      <a:pt x="161" y="246"/>
                    </a:cubicBezTo>
                    <a:cubicBezTo>
                      <a:pt x="165" y="226"/>
                      <a:pt x="153" y="205"/>
                      <a:pt x="153" y="205"/>
                    </a:cubicBezTo>
                    <a:cubicBezTo>
                      <a:pt x="144" y="190"/>
                      <a:pt x="128" y="185"/>
                      <a:pt x="128" y="185"/>
                    </a:cubicBezTo>
                    <a:cubicBezTo>
                      <a:pt x="110" y="202"/>
                      <a:pt x="103" y="189"/>
                      <a:pt x="103" y="189"/>
                    </a:cubicBezTo>
                    <a:cubicBezTo>
                      <a:pt x="101" y="183"/>
                      <a:pt x="85" y="171"/>
                      <a:pt x="85" y="171"/>
                    </a:cubicBezTo>
                    <a:cubicBezTo>
                      <a:pt x="63" y="154"/>
                      <a:pt x="52" y="160"/>
                      <a:pt x="52" y="160"/>
                    </a:cubicBezTo>
                    <a:cubicBezTo>
                      <a:pt x="44" y="158"/>
                      <a:pt x="36" y="173"/>
                      <a:pt x="25" y="167"/>
                    </a:cubicBezTo>
                    <a:cubicBezTo>
                      <a:pt x="0" y="153"/>
                      <a:pt x="25" y="138"/>
                      <a:pt x="25" y="138"/>
                    </a:cubicBezTo>
                    <a:cubicBezTo>
                      <a:pt x="27" y="131"/>
                      <a:pt x="49" y="123"/>
                      <a:pt x="49" y="123"/>
                    </a:cubicBezTo>
                    <a:cubicBezTo>
                      <a:pt x="55" y="110"/>
                      <a:pt x="76" y="101"/>
                      <a:pt x="76" y="101"/>
                    </a:cubicBezTo>
                    <a:cubicBezTo>
                      <a:pt x="84" y="89"/>
                      <a:pt x="98" y="82"/>
                      <a:pt x="98" y="82"/>
                    </a:cubicBezTo>
                    <a:cubicBezTo>
                      <a:pt x="118" y="83"/>
                      <a:pt x="129" y="71"/>
                      <a:pt x="129" y="71"/>
                    </a:cubicBezTo>
                    <a:cubicBezTo>
                      <a:pt x="129" y="71"/>
                      <a:pt x="129" y="71"/>
                      <a:pt x="129" y="71"/>
                    </a:cubicBezTo>
                    <a:cubicBezTo>
                      <a:pt x="148" y="62"/>
                      <a:pt x="148" y="62"/>
                      <a:pt x="148" y="62"/>
                    </a:cubicBezTo>
                    <a:cubicBezTo>
                      <a:pt x="148" y="62"/>
                      <a:pt x="148" y="62"/>
                      <a:pt x="148" y="62"/>
                    </a:cubicBezTo>
                    <a:cubicBezTo>
                      <a:pt x="169" y="68"/>
                      <a:pt x="165" y="58"/>
                      <a:pt x="165" y="58"/>
                    </a:cubicBezTo>
                    <a:cubicBezTo>
                      <a:pt x="165" y="58"/>
                      <a:pt x="165" y="58"/>
                      <a:pt x="165" y="58"/>
                    </a:cubicBezTo>
                    <a:cubicBezTo>
                      <a:pt x="170" y="47"/>
                      <a:pt x="170" y="47"/>
                      <a:pt x="170" y="47"/>
                    </a:cubicBezTo>
                    <a:cubicBezTo>
                      <a:pt x="170" y="47"/>
                      <a:pt x="170" y="47"/>
                      <a:pt x="170" y="47"/>
                    </a:cubicBezTo>
                    <a:cubicBezTo>
                      <a:pt x="148" y="61"/>
                      <a:pt x="158" y="31"/>
                      <a:pt x="158" y="31"/>
                    </a:cubicBezTo>
                    <a:cubicBezTo>
                      <a:pt x="158" y="31"/>
                      <a:pt x="158" y="31"/>
                      <a:pt x="158" y="31"/>
                    </a:cubicBezTo>
                    <a:cubicBezTo>
                      <a:pt x="154" y="21"/>
                      <a:pt x="154" y="21"/>
                      <a:pt x="154" y="21"/>
                    </a:cubicBezTo>
                    <a:cubicBezTo>
                      <a:pt x="154" y="21"/>
                      <a:pt x="154" y="21"/>
                      <a:pt x="154" y="21"/>
                    </a:cubicBezTo>
                    <a:cubicBezTo>
                      <a:pt x="154" y="17"/>
                      <a:pt x="151" y="15"/>
                      <a:pt x="151" y="14"/>
                    </a:cubicBezTo>
                    <a:cubicBezTo>
                      <a:pt x="155" y="10"/>
                      <a:pt x="153" y="2"/>
                      <a:pt x="153" y="2"/>
                    </a:cubicBezTo>
                    <a:cubicBezTo>
                      <a:pt x="161" y="0"/>
                      <a:pt x="168" y="6"/>
                      <a:pt x="168" y="6"/>
                    </a:cubicBezTo>
                    <a:cubicBezTo>
                      <a:pt x="168" y="6"/>
                      <a:pt x="168" y="6"/>
                      <a:pt x="168" y="6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2770">
                  <a:defRPr/>
                </a:pPr>
                <a:endParaRPr lang="uk-UA" sz="1100" dirty="0">
                  <a:solidFill>
                    <a:prstClr val="white">
                      <a:lumMod val="65000"/>
                    </a:prstClr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41" name="Line 33"/>
              <p:cNvSpPr>
                <a:spLocks noChangeShapeType="1"/>
              </p:cNvSpPr>
              <p:nvPr/>
            </p:nvSpPr>
            <p:spPr bwMode="auto">
              <a:xfrm flipV="1">
                <a:off x="3199054" y="2689185"/>
                <a:ext cx="1329" cy="27107"/>
              </a:xfrm>
              <a:prstGeom prst="line">
                <a:avLst/>
              </a:prstGeom>
              <a:noFill/>
              <a:ln w="0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2" name="Freeform 32"/>
              <p:cNvSpPr>
                <a:spLocks/>
              </p:cNvSpPr>
              <p:nvPr/>
            </p:nvSpPr>
            <p:spPr bwMode="auto">
              <a:xfrm>
                <a:off x="3842761" y="4702541"/>
                <a:ext cx="325229" cy="119394"/>
              </a:xfrm>
              <a:custGeom>
                <a:avLst/>
                <a:gdLst/>
                <a:ahLst/>
                <a:cxnLst>
                  <a:cxn ang="0">
                    <a:pos x="0" y="48"/>
                  </a:cxn>
                  <a:cxn ang="0">
                    <a:pos x="18" y="37"/>
                  </a:cxn>
                  <a:cxn ang="0">
                    <a:pos x="44" y="24"/>
                  </a:cxn>
                  <a:cxn ang="0">
                    <a:pos x="62" y="16"/>
                  </a:cxn>
                  <a:cxn ang="0">
                    <a:pos x="84" y="8"/>
                  </a:cxn>
                  <a:cxn ang="0">
                    <a:pos x="115" y="5"/>
                  </a:cxn>
                </a:cxnLst>
                <a:rect l="0" t="0" r="r" b="b"/>
                <a:pathLst>
                  <a:path w="115" h="48">
                    <a:moveTo>
                      <a:pt x="0" y="48"/>
                    </a:moveTo>
                    <a:cubicBezTo>
                      <a:pt x="8" y="39"/>
                      <a:pt x="18" y="37"/>
                      <a:pt x="18" y="37"/>
                    </a:cubicBezTo>
                    <a:cubicBezTo>
                      <a:pt x="31" y="24"/>
                      <a:pt x="44" y="24"/>
                      <a:pt x="44" y="24"/>
                    </a:cubicBezTo>
                    <a:cubicBezTo>
                      <a:pt x="51" y="26"/>
                      <a:pt x="62" y="16"/>
                      <a:pt x="62" y="16"/>
                    </a:cubicBezTo>
                    <a:cubicBezTo>
                      <a:pt x="69" y="5"/>
                      <a:pt x="84" y="8"/>
                      <a:pt x="84" y="8"/>
                    </a:cubicBezTo>
                    <a:cubicBezTo>
                      <a:pt x="98" y="0"/>
                      <a:pt x="100" y="14"/>
                      <a:pt x="115" y="5"/>
                    </a:cubicBez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uk-UA" sz="800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43" name="Freeform 31"/>
              <p:cNvSpPr>
                <a:spLocks/>
              </p:cNvSpPr>
              <p:nvPr/>
            </p:nvSpPr>
            <p:spPr bwMode="auto">
              <a:xfrm>
                <a:off x="4727431" y="3911339"/>
                <a:ext cx="59806" cy="299351"/>
              </a:xfrm>
              <a:custGeom>
                <a:avLst/>
                <a:gdLst>
                  <a:gd name="T0" fmla="*/ 2147483647 w 21"/>
                  <a:gd name="T1" fmla="*/ 2147483647 h 120"/>
                  <a:gd name="T2" fmla="*/ 2147483647 w 21"/>
                  <a:gd name="T3" fmla="*/ 2147483647 h 120"/>
                  <a:gd name="T4" fmla="*/ 2147483647 w 21"/>
                  <a:gd name="T5" fmla="*/ 2147483647 h 120"/>
                  <a:gd name="T6" fmla="*/ 2147483647 w 21"/>
                  <a:gd name="T7" fmla="*/ 2147483647 h 120"/>
                  <a:gd name="T8" fmla="*/ 2147483647 w 21"/>
                  <a:gd name="T9" fmla="*/ 2147483647 h 120"/>
                  <a:gd name="T10" fmla="*/ 2147483647 w 21"/>
                  <a:gd name="T11" fmla="*/ 2147483647 h 120"/>
                  <a:gd name="T12" fmla="*/ 2147483647 w 21"/>
                  <a:gd name="T13" fmla="*/ 2147483647 h 120"/>
                  <a:gd name="T14" fmla="*/ 2147483647 w 21"/>
                  <a:gd name="T15" fmla="*/ 0 h 12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"/>
                  <a:gd name="T25" fmla="*/ 0 h 120"/>
                  <a:gd name="T26" fmla="*/ 21 w 21"/>
                  <a:gd name="T27" fmla="*/ 120 h 12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" h="120">
                    <a:moveTo>
                      <a:pt x="13" y="120"/>
                    </a:moveTo>
                    <a:cubicBezTo>
                      <a:pt x="8" y="118"/>
                      <a:pt x="13" y="105"/>
                      <a:pt x="13" y="105"/>
                    </a:cubicBezTo>
                    <a:cubicBezTo>
                      <a:pt x="21" y="85"/>
                      <a:pt x="6" y="79"/>
                      <a:pt x="6" y="79"/>
                    </a:cubicBezTo>
                    <a:cubicBezTo>
                      <a:pt x="1" y="71"/>
                      <a:pt x="7" y="65"/>
                      <a:pt x="12" y="67"/>
                    </a:cubicBezTo>
                    <a:cubicBezTo>
                      <a:pt x="20" y="72"/>
                      <a:pt x="20" y="52"/>
                      <a:pt x="20" y="52"/>
                    </a:cubicBezTo>
                    <a:cubicBezTo>
                      <a:pt x="19" y="40"/>
                      <a:pt x="12" y="32"/>
                      <a:pt x="12" y="32"/>
                    </a:cubicBezTo>
                    <a:cubicBezTo>
                      <a:pt x="12" y="23"/>
                      <a:pt x="6" y="15"/>
                      <a:pt x="6" y="15"/>
                    </a:cubicBezTo>
                    <a:cubicBezTo>
                      <a:pt x="0" y="4"/>
                      <a:pt x="10" y="0"/>
                      <a:pt x="10" y="0"/>
                    </a:cubicBezTo>
                  </a:path>
                </a:pathLst>
              </a:custGeom>
              <a:solidFill>
                <a:schemeClr val="accent1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4" name="Freeform 30"/>
              <p:cNvSpPr>
                <a:spLocks/>
              </p:cNvSpPr>
              <p:nvPr/>
            </p:nvSpPr>
            <p:spPr bwMode="auto">
              <a:xfrm>
                <a:off x="4618451" y="3916053"/>
                <a:ext cx="116954" cy="14143"/>
              </a:xfrm>
              <a:custGeom>
                <a:avLst/>
                <a:gdLst>
                  <a:gd name="T0" fmla="*/ 0 w 42"/>
                  <a:gd name="T1" fmla="*/ 0 h 6"/>
                  <a:gd name="T2" fmla="*/ 2147483647 w 42"/>
                  <a:gd name="T3" fmla="*/ 0 h 6"/>
                  <a:gd name="T4" fmla="*/ 2147483647 w 42"/>
                  <a:gd name="T5" fmla="*/ 2147483647 h 6"/>
                  <a:gd name="T6" fmla="*/ 0 60000 65536"/>
                  <a:gd name="T7" fmla="*/ 0 60000 65536"/>
                  <a:gd name="T8" fmla="*/ 0 60000 65536"/>
                  <a:gd name="T9" fmla="*/ 0 w 42"/>
                  <a:gd name="T10" fmla="*/ 0 h 6"/>
                  <a:gd name="T11" fmla="*/ 42 w 42"/>
                  <a:gd name="T12" fmla="*/ 6 h 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2" h="6">
                    <a:moveTo>
                      <a:pt x="0" y="0"/>
                    </a:moveTo>
                    <a:cubicBezTo>
                      <a:pt x="12" y="4"/>
                      <a:pt x="21" y="0"/>
                      <a:pt x="21" y="0"/>
                    </a:cubicBezTo>
                    <a:cubicBezTo>
                      <a:pt x="34" y="1"/>
                      <a:pt x="42" y="6"/>
                      <a:pt x="42" y="6"/>
                    </a:cubicBezTo>
                  </a:path>
                </a:pathLst>
              </a:custGeom>
              <a:solidFill>
                <a:srgbClr val="99CCFF"/>
              </a:solidFill>
              <a:ln w="8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5" name="Freeform 29"/>
              <p:cNvSpPr>
                <a:spLocks/>
              </p:cNvSpPr>
              <p:nvPr/>
            </p:nvSpPr>
            <p:spPr bwMode="auto">
              <a:xfrm>
                <a:off x="4133357" y="3676808"/>
                <a:ext cx="42529" cy="14143"/>
              </a:xfrm>
              <a:custGeom>
                <a:avLst/>
                <a:gdLst>
                  <a:gd name="T0" fmla="*/ 2147483647 w 15"/>
                  <a:gd name="T1" fmla="*/ 2147483647 h 6"/>
                  <a:gd name="T2" fmla="*/ 0 w 15"/>
                  <a:gd name="T3" fmla="*/ 0 h 6"/>
                  <a:gd name="T4" fmla="*/ 0 60000 65536"/>
                  <a:gd name="T5" fmla="*/ 0 60000 65536"/>
                  <a:gd name="T6" fmla="*/ 0 w 15"/>
                  <a:gd name="T7" fmla="*/ 0 h 6"/>
                  <a:gd name="T8" fmla="*/ 15 w 15"/>
                  <a:gd name="T9" fmla="*/ 6 h 6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15" h="6">
                    <a:moveTo>
                      <a:pt x="15" y="6"/>
                    </a:moveTo>
                    <a:cubicBezTo>
                      <a:pt x="14" y="0"/>
                      <a:pt x="0" y="0"/>
                      <a:pt x="0" y="0"/>
                    </a:cubicBezTo>
                  </a:path>
                </a:pathLst>
              </a:custGeom>
              <a:solidFill>
                <a:srgbClr val="99CCFF"/>
              </a:solidFill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6" name="Line 28"/>
              <p:cNvSpPr>
                <a:spLocks noChangeShapeType="1"/>
              </p:cNvSpPr>
              <p:nvPr/>
            </p:nvSpPr>
            <p:spPr bwMode="auto">
              <a:xfrm flipH="1" flipV="1">
                <a:off x="3612380" y="3452884"/>
                <a:ext cx="25251" cy="12964"/>
              </a:xfrm>
              <a:prstGeom prst="line">
                <a:avLst/>
              </a:prstGeom>
              <a:noFill/>
              <a:ln w="0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7" name="Freeform 27"/>
              <p:cNvSpPr>
                <a:spLocks/>
              </p:cNvSpPr>
              <p:nvPr/>
            </p:nvSpPr>
            <p:spPr bwMode="auto">
              <a:xfrm>
                <a:off x="3496755" y="3366850"/>
                <a:ext cx="65122" cy="54213"/>
              </a:xfrm>
              <a:custGeom>
                <a:avLst/>
                <a:gdLst>
                  <a:gd name="T0" fmla="*/ 2147483647 w 23"/>
                  <a:gd name="T1" fmla="*/ 2147483647 h 22"/>
                  <a:gd name="T2" fmla="*/ 2147483647 w 23"/>
                  <a:gd name="T3" fmla="*/ 2147483647 h 22"/>
                  <a:gd name="T4" fmla="*/ 2147483647 w 23"/>
                  <a:gd name="T5" fmla="*/ 0 h 22"/>
                  <a:gd name="T6" fmla="*/ 0 60000 65536"/>
                  <a:gd name="T7" fmla="*/ 0 60000 65536"/>
                  <a:gd name="T8" fmla="*/ 0 60000 65536"/>
                  <a:gd name="T9" fmla="*/ 0 w 23"/>
                  <a:gd name="T10" fmla="*/ 0 h 22"/>
                  <a:gd name="T11" fmla="*/ 23 w 23"/>
                  <a:gd name="T12" fmla="*/ 22 h 2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3" h="22">
                    <a:moveTo>
                      <a:pt x="23" y="22"/>
                    </a:moveTo>
                    <a:cubicBezTo>
                      <a:pt x="16" y="22"/>
                      <a:pt x="22" y="14"/>
                      <a:pt x="15" y="13"/>
                    </a:cubicBezTo>
                    <a:cubicBezTo>
                      <a:pt x="0" y="6"/>
                      <a:pt x="2" y="0"/>
                      <a:pt x="2" y="0"/>
                    </a:cubicBezTo>
                  </a:path>
                </a:pathLst>
              </a:custGeom>
              <a:solidFill>
                <a:srgbClr val="99CCFF"/>
              </a:solidFill>
              <a:ln w="8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8" name="Freeform 26"/>
              <p:cNvSpPr>
                <a:spLocks/>
              </p:cNvSpPr>
              <p:nvPr/>
            </p:nvSpPr>
            <p:spPr bwMode="auto">
              <a:xfrm>
                <a:off x="3474161" y="3248995"/>
                <a:ext cx="38542" cy="20035"/>
              </a:xfrm>
              <a:custGeom>
                <a:avLst/>
                <a:gdLst>
                  <a:gd name="T0" fmla="*/ 2147483647 w 14"/>
                  <a:gd name="T1" fmla="*/ 2147483647 h 8"/>
                  <a:gd name="T2" fmla="*/ 0 w 14"/>
                  <a:gd name="T3" fmla="*/ 2147483647 h 8"/>
                  <a:gd name="T4" fmla="*/ 0 60000 65536"/>
                  <a:gd name="T5" fmla="*/ 0 60000 65536"/>
                  <a:gd name="T6" fmla="*/ 0 w 14"/>
                  <a:gd name="T7" fmla="*/ 0 h 8"/>
                  <a:gd name="T8" fmla="*/ 14 w 14"/>
                  <a:gd name="T9" fmla="*/ 8 h 8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14" h="8">
                    <a:moveTo>
                      <a:pt x="13" y="8"/>
                    </a:moveTo>
                    <a:cubicBezTo>
                      <a:pt x="14" y="0"/>
                      <a:pt x="0" y="4"/>
                      <a:pt x="0" y="4"/>
                    </a:cubicBezTo>
                  </a:path>
                </a:pathLst>
              </a:custGeom>
              <a:solidFill>
                <a:srgbClr val="99CCFF"/>
              </a:solidFill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9" name="Freeform 25"/>
              <p:cNvSpPr>
                <a:spLocks/>
              </p:cNvSpPr>
              <p:nvPr/>
            </p:nvSpPr>
            <p:spPr bwMode="auto">
              <a:xfrm>
                <a:off x="3192303" y="2988087"/>
                <a:ext cx="57153" cy="160982"/>
              </a:xfrm>
              <a:custGeom>
                <a:avLst/>
                <a:gdLst/>
                <a:ahLst/>
                <a:cxnLst>
                  <a:cxn ang="0">
                    <a:pos x="20" y="64"/>
                  </a:cxn>
                  <a:cxn ang="0">
                    <a:pos x="8" y="42"/>
                  </a:cxn>
                  <a:cxn ang="0">
                    <a:pos x="1" y="21"/>
                  </a:cxn>
                  <a:cxn ang="0">
                    <a:pos x="0" y="0"/>
                  </a:cxn>
                </a:cxnLst>
                <a:rect l="0" t="0" r="r" b="b"/>
                <a:pathLst>
                  <a:path w="20" h="64">
                    <a:moveTo>
                      <a:pt x="20" y="64"/>
                    </a:moveTo>
                    <a:cubicBezTo>
                      <a:pt x="10" y="54"/>
                      <a:pt x="8" y="42"/>
                      <a:pt x="8" y="42"/>
                    </a:cubicBezTo>
                    <a:cubicBezTo>
                      <a:pt x="0" y="30"/>
                      <a:pt x="1" y="21"/>
                      <a:pt x="1" y="21"/>
                    </a:cubicBezTo>
                    <a:cubicBezTo>
                      <a:pt x="3" y="9"/>
                      <a:pt x="0" y="0"/>
                      <a:pt x="0" y="0"/>
                    </a:cubicBez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uk-UA" sz="800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50" name="Freeform 24"/>
              <p:cNvSpPr>
                <a:spLocks/>
              </p:cNvSpPr>
              <p:nvPr/>
            </p:nvSpPr>
            <p:spPr bwMode="auto">
              <a:xfrm>
                <a:off x="4141331" y="4205975"/>
                <a:ext cx="711028" cy="517382"/>
              </a:xfrm>
              <a:custGeom>
                <a:avLst/>
                <a:gdLst>
                  <a:gd name="T0" fmla="*/ 0 w 251"/>
                  <a:gd name="T1" fmla="*/ 2147483647 h 207"/>
                  <a:gd name="T2" fmla="*/ 2147483647 w 251"/>
                  <a:gd name="T3" fmla="*/ 2147483647 h 207"/>
                  <a:gd name="T4" fmla="*/ 2147483647 w 251"/>
                  <a:gd name="T5" fmla="*/ 2147483647 h 207"/>
                  <a:gd name="T6" fmla="*/ 2147483647 w 251"/>
                  <a:gd name="T7" fmla="*/ 2147483647 h 207"/>
                  <a:gd name="T8" fmla="*/ 2147483647 w 251"/>
                  <a:gd name="T9" fmla="*/ 2147483647 h 207"/>
                  <a:gd name="T10" fmla="*/ 2147483647 w 251"/>
                  <a:gd name="T11" fmla="*/ 2147483647 h 207"/>
                  <a:gd name="T12" fmla="*/ 2147483647 w 251"/>
                  <a:gd name="T13" fmla="*/ 2147483647 h 207"/>
                  <a:gd name="T14" fmla="*/ 2147483647 w 251"/>
                  <a:gd name="T15" fmla="*/ 2147483647 h 207"/>
                  <a:gd name="T16" fmla="*/ 2147483647 w 251"/>
                  <a:gd name="T17" fmla="*/ 2147483647 h 207"/>
                  <a:gd name="T18" fmla="*/ 2147483647 w 251"/>
                  <a:gd name="T19" fmla="*/ 2147483647 h 207"/>
                  <a:gd name="T20" fmla="*/ 2147483647 w 251"/>
                  <a:gd name="T21" fmla="*/ 2147483647 h 207"/>
                  <a:gd name="T22" fmla="*/ 2147483647 w 251"/>
                  <a:gd name="T23" fmla="*/ 2147483647 h 207"/>
                  <a:gd name="T24" fmla="*/ 2147483647 w 251"/>
                  <a:gd name="T25" fmla="*/ 2147483647 h 207"/>
                  <a:gd name="T26" fmla="*/ 2147483647 w 251"/>
                  <a:gd name="T27" fmla="*/ 2147483647 h 207"/>
                  <a:gd name="T28" fmla="*/ 2147483647 w 251"/>
                  <a:gd name="T29" fmla="*/ 2147483647 h 207"/>
                  <a:gd name="T30" fmla="*/ 2147483647 w 251"/>
                  <a:gd name="T31" fmla="*/ 2147483647 h 207"/>
                  <a:gd name="T32" fmla="*/ 2147483647 w 251"/>
                  <a:gd name="T33" fmla="*/ 2147483647 h 207"/>
                  <a:gd name="T34" fmla="*/ 2147483647 w 251"/>
                  <a:gd name="T35" fmla="*/ 2147483647 h 207"/>
                  <a:gd name="T36" fmla="*/ 2147483647 w 251"/>
                  <a:gd name="T37" fmla="*/ 2147483647 h 207"/>
                  <a:gd name="T38" fmla="*/ 2147483647 w 251"/>
                  <a:gd name="T39" fmla="*/ 2147483647 h 207"/>
                  <a:gd name="T40" fmla="*/ 2147483647 w 251"/>
                  <a:gd name="T41" fmla="*/ 2147483647 h 207"/>
                  <a:gd name="T42" fmla="*/ 2147483647 w 251"/>
                  <a:gd name="T43" fmla="*/ 2147483647 h 207"/>
                  <a:gd name="T44" fmla="*/ 2147483647 w 251"/>
                  <a:gd name="T45" fmla="*/ 2147483647 h 207"/>
                  <a:gd name="T46" fmla="*/ 2147483647 w 251"/>
                  <a:gd name="T47" fmla="*/ 2147483647 h 207"/>
                  <a:gd name="T48" fmla="*/ 2147483647 w 251"/>
                  <a:gd name="T49" fmla="*/ 2147483647 h 207"/>
                  <a:gd name="T50" fmla="*/ 2147483647 w 251"/>
                  <a:gd name="T51" fmla="*/ 2147483647 h 207"/>
                  <a:gd name="T52" fmla="*/ 2147483647 w 251"/>
                  <a:gd name="T53" fmla="*/ 2147483647 h 207"/>
                  <a:gd name="T54" fmla="*/ 2147483647 w 251"/>
                  <a:gd name="T55" fmla="*/ 2147483647 h 207"/>
                  <a:gd name="T56" fmla="*/ 2147483647 w 251"/>
                  <a:gd name="T57" fmla="*/ 2147483647 h 207"/>
                  <a:gd name="T58" fmla="*/ 2147483647 w 251"/>
                  <a:gd name="T59" fmla="*/ 2147483647 h 207"/>
                  <a:gd name="T60" fmla="*/ 2147483647 w 251"/>
                  <a:gd name="T61" fmla="*/ 2147483647 h 207"/>
                  <a:gd name="T62" fmla="*/ 2147483647 w 251"/>
                  <a:gd name="T63" fmla="*/ 2147483647 h 207"/>
                  <a:gd name="T64" fmla="*/ 2147483647 w 251"/>
                  <a:gd name="T65" fmla="*/ 2147483647 h 207"/>
                  <a:gd name="T66" fmla="*/ 2147483647 w 251"/>
                  <a:gd name="T67" fmla="*/ 2147483647 h 207"/>
                  <a:gd name="T68" fmla="*/ 2147483647 w 251"/>
                  <a:gd name="T69" fmla="*/ 2147483647 h 207"/>
                  <a:gd name="T70" fmla="*/ 2147483647 w 251"/>
                  <a:gd name="T71" fmla="*/ 2147483647 h 207"/>
                  <a:gd name="T72" fmla="*/ 0 w 251"/>
                  <a:gd name="T73" fmla="*/ 2147483647 h 207"/>
                  <a:gd name="T74" fmla="*/ 0 w 251"/>
                  <a:gd name="T75" fmla="*/ 2147483647 h 207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251"/>
                  <a:gd name="T115" fmla="*/ 0 h 207"/>
                  <a:gd name="T116" fmla="*/ 251 w 251"/>
                  <a:gd name="T117" fmla="*/ 207 h 207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251" h="207">
                    <a:moveTo>
                      <a:pt x="0" y="207"/>
                    </a:moveTo>
                    <a:cubicBezTo>
                      <a:pt x="18" y="206"/>
                      <a:pt x="25" y="196"/>
                      <a:pt x="25" y="196"/>
                    </a:cubicBezTo>
                    <a:cubicBezTo>
                      <a:pt x="52" y="196"/>
                      <a:pt x="51" y="181"/>
                      <a:pt x="51" y="181"/>
                    </a:cubicBezTo>
                    <a:cubicBezTo>
                      <a:pt x="51" y="181"/>
                      <a:pt x="56" y="176"/>
                      <a:pt x="55" y="162"/>
                    </a:cubicBezTo>
                    <a:cubicBezTo>
                      <a:pt x="73" y="151"/>
                      <a:pt x="71" y="141"/>
                      <a:pt x="71" y="141"/>
                    </a:cubicBezTo>
                    <a:cubicBezTo>
                      <a:pt x="88" y="122"/>
                      <a:pt x="89" y="106"/>
                      <a:pt x="89" y="106"/>
                    </a:cubicBezTo>
                    <a:cubicBezTo>
                      <a:pt x="95" y="97"/>
                      <a:pt x="107" y="97"/>
                      <a:pt x="107" y="97"/>
                    </a:cubicBezTo>
                    <a:cubicBezTo>
                      <a:pt x="108" y="90"/>
                      <a:pt x="93" y="97"/>
                      <a:pt x="93" y="87"/>
                    </a:cubicBezTo>
                    <a:cubicBezTo>
                      <a:pt x="93" y="83"/>
                      <a:pt x="103" y="82"/>
                      <a:pt x="111" y="82"/>
                    </a:cubicBezTo>
                    <a:cubicBezTo>
                      <a:pt x="133" y="81"/>
                      <a:pt x="134" y="68"/>
                      <a:pt x="134" y="68"/>
                    </a:cubicBezTo>
                    <a:cubicBezTo>
                      <a:pt x="150" y="69"/>
                      <a:pt x="153" y="62"/>
                      <a:pt x="153" y="62"/>
                    </a:cubicBezTo>
                    <a:cubicBezTo>
                      <a:pt x="153" y="62"/>
                      <a:pt x="153" y="62"/>
                      <a:pt x="153" y="62"/>
                    </a:cubicBezTo>
                    <a:cubicBezTo>
                      <a:pt x="176" y="63"/>
                      <a:pt x="176" y="63"/>
                      <a:pt x="176" y="63"/>
                    </a:cubicBezTo>
                    <a:cubicBezTo>
                      <a:pt x="193" y="74"/>
                      <a:pt x="193" y="74"/>
                      <a:pt x="193" y="74"/>
                    </a:cubicBezTo>
                    <a:cubicBezTo>
                      <a:pt x="193" y="74"/>
                      <a:pt x="193" y="74"/>
                      <a:pt x="193" y="74"/>
                    </a:cubicBezTo>
                    <a:cubicBezTo>
                      <a:pt x="205" y="88"/>
                      <a:pt x="215" y="78"/>
                      <a:pt x="215" y="78"/>
                    </a:cubicBezTo>
                    <a:cubicBezTo>
                      <a:pt x="220" y="72"/>
                      <a:pt x="235" y="71"/>
                      <a:pt x="235" y="71"/>
                    </a:cubicBezTo>
                    <a:cubicBezTo>
                      <a:pt x="251" y="73"/>
                      <a:pt x="248" y="54"/>
                      <a:pt x="248" y="54"/>
                    </a:cubicBezTo>
                    <a:cubicBezTo>
                      <a:pt x="248" y="37"/>
                      <a:pt x="236" y="27"/>
                      <a:pt x="236" y="27"/>
                    </a:cubicBezTo>
                    <a:cubicBezTo>
                      <a:pt x="227" y="0"/>
                      <a:pt x="219" y="1"/>
                      <a:pt x="219" y="1"/>
                    </a:cubicBezTo>
                    <a:cubicBezTo>
                      <a:pt x="231" y="29"/>
                      <a:pt x="220" y="34"/>
                      <a:pt x="220" y="34"/>
                    </a:cubicBezTo>
                    <a:cubicBezTo>
                      <a:pt x="212" y="59"/>
                      <a:pt x="195" y="53"/>
                      <a:pt x="195" y="53"/>
                    </a:cubicBezTo>
                    <a:cubicBezTo>
                      <a:pt x="195" y="53"/>
                      <a:pt x="195" y="53"/>
                      <a:pt x="195" y="53"/>
                    </a:cubicBezTo>
                    <a:cubicBezTo>
                      <a:pt x="172" y="50"/>
                      <a:pt x="172" y="50"/>
                      <a:pt x="172" y="50"/>
                    </a:cubicBezTo>
                    <a:cubicBezTo>
                      <a:pt x="172" y="50"/>
                      <a:pt x="172" y="50"/>
                      <a:pt x="172" y="50"/>
                    </a:cubicBezTo>
                    <a:cubicBezTo>
                      <a:pt x="158" y="43"/>
                      <a:pt x="143" y="51"/>
                      <a:pt x="143" y="51"/>
                    </a:cubicBezTo>
                    <a:cubicBezTo>
                      <a:pt x="127" y="43"/>
                      <a:pt x="119" y="49"/>
                      <a:pt x="119" y="49"/>
                    </a:cubicBezTo>
                    <a:cubicBezTo>
                      <a:pt x="118" y="67"/>
                      <a:pt x="103" y="60"/>
                      <a:pt x="103" y="60"/>
                    </a:cubicBezTo>
                    <a:cubicBezTo>
                      <a:pt x="98" y="50"/>
                      <a:pt x="86" y="56"/>
                      <a:pt x="86" y="56"/>
                    </a:cubicBezTo>
                    <a:cubicBezTo>
                      <a:pt x="73" y="67"/>
                      <a:pt x="83" y="71"/>
                      <a:pt x="83" y="80"/>
                    </a:cubicBezTo>
                    <a:cubicBezTo>
                      <a:pt x="93" y="97"/>
                      <a:pt x="77" y="113"/>
                      <a:pt x="77" y="113"/>
                    </a:cubicBezTo>
                    <a:cubicBezTo>
                      <a:pt x="73" y="124"/>
                      <a:pt x="64" y="127"/>
                      <a:pt x="64" y="127"/>
                    </a:cubicBezTo>
                    <a:cubicBezTo>
                      <a:pt x="66" y="138"/>
                      <a:pt x="54" y="148"/>
                      <a:pt x="54" y="148"/>
                    </a:cubicBezTo>
                    <a:cubicBezTo>
                      <a:pt x="36" y="158"/>
                      <a:pt x="44" y="168"/>
                      <a:pt x="44" y="168"/>
                    </a:cubicBezTo>
                    <a:cubicBezTo>
                      <a:pt x="45" y="189"/>
                      <a:pt x="31" y="188"/>
                      <a:pt x="31" y="188"/>
                    </a:cubicBezTo>
                    <a:cubicBezTo>
                      <a:pt x="24" y="185"/>
                      <a:pt x="16" y="195"/>
                      <a:pt x="16" y="195"/>
                    </a:cubicBezTo>
                    <a:cubicBezTo>
                      <a:pt x="12" y="203"/>
                      <a:pt x="0" y="207"/>
                      <a:pt x="0" y="207"/>
                    </a:cubicBezTo>
                    <a:cubicBezTo>
                      <a:pt x="0" y="207"/>
                      <a:pt x="0" y="207"/>
                      <a:pt x="0" y="20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51" name="Freeform 23"/>
              <p:cNvSpPr>
                <a:spLocks/>
              </p:cNvSpPr>
              <p:nvPr/>
            </p:nvSpPr>
            <p:spPr bwMode="auto">
              <a:xfrm>
                <a:off x="4743604" y="3842631"/>
                <a:ext cx="63958" cy="73784"/>
              </a:xfrm>
              <a:custGeom>
                <a:avLst/>
                <a:gdLst/>
                <a:ahLst/>
                <a:cxnLst>
                  <a:cxn ang="0">
                    <a:pos x="7" y="29"/>
                  </a:cxn>
                  <a:cxn ang="0">
                    <a:pos x="13" y="0"/>
                  </a:cxn>
                  <a:cxn ang="0">
                    <a:pos x="7" y="29"/>
                  </a:cxn>
                  <a:cxn ang="0">
                    <a:pos x="7" y="29"/>
                  </a:cxn>
                </a:cxnLst>
                <a:rect l="0" t="0" r="r" b="b"/>
                <a:pathLst>
                  <a:path w="23" h="29">
                    <a:moveTo>
                      <a:pt x="7" y="29"/>
                    </a:moveTo>
                    <a:cubicBezTo>
                      <a:pt x="23" y="23"/>
                      <a:pt x="13" y="0"/>
                      <a:pt x="13" y="0"/>
                    </a:cubicBezTo>
                    <a:cubicBezTo>
                      <a:pt x="0" y="20"/>
                      <a:pt x="7" y="29"/>
                      <a:pt x="7" y="29"/>
                    </a:cubicBezTo>
                    <a:cubicBezTo>
                      <a:pt x="7" y="29"/>
                      <a:pt x="7" y="29"/>
                      <a:pt x="7" y="29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uk-UA" sz="800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52" name="Freeform 22"/>
              <p:cNvSpPr>
                <a:spLocks/>
              </p:cNvSpPr>
              <p:nvPr/>
            </p:nvSpPr>
            <p:spPr bwMode="auto">
              <a:xfrm>
                <a:off x="4158609" y="3676808"/>
                <a:ext cx="459842" cy="241602"/>
              </a:xfrm>
              <a:custGeom>
                <a:avLst/>
                <a:gdLst>
                  <a:gd name="T0" fmla="*/ 2147483647 w 162"/>
                  <a:gd name="T1" fmla="*/ 2147483647 h 97"/>
                  <a:gd name="T2" fmla="*/ 2147483647 w 162"/>
                  <a:gd name="T3" fmla="*/ 2147483647 h 97"/>
                  <a:gd name="T4" fmla="*/ 2147483647 w 162"/>
                  <a:gd name="T5" fmla="*/ 2147483647 h 97"/>
                  <a:gd name="T6" fmla="*/ 2147483647 w 162"/>
                  <a:gd name="T7" fmla="*/ 2147483647 h 97"/>
                  <a:gd name="T8" fmla="*/ 2147483647 w 162"/>
                  <a:gd name="T9" fmla="*/ 2147483647 h 97"/>
                  <a:gd name="T10" fmla="*/ 2147483647 w 162"/>
                  <a:gd name="T11" fmla="*/ 2147483647 h 97"/>
                  <a:gd name="T12" fmla="*/ 2147483647 w 162"/>
                  <a:gd name="T13" fmla="*/ 2147483647 h 97"/>
                  <a:gd name="T14" fmla="*/ 2147483647 w 162"/>
                  <a:gd name="T15" fmla="*/ 2147483647 h 97"/>
                  <a:gd name="T16" fmla="*/ 2147483647 w 162"/>
                  <a:gd name="T17" fmla="*/ 2147483647 h 97"/>
                  <a:gd name="T18" fmla="*/ 2147483647 w 162"/>
                  <a:gd name="T19" fmla="*/ 2147483647 h 97"/>
                  <a:gd name="T20" fmla="*/ 2147483647 w 162"/>
                  <a:gd name="T21" fmla="*/ 2147483647 h 97"/>
                  <a:gd name="T22" fmla="*/ 2147483647 w 162"/>
                  <a:gd name="T23" fmla="*/ 2147483647 h 97"/>
                  <a:gd name="T24" fmla="*/ 2147483647 w 162"/>
                  <a:gd name="T25" fmla="*/ 2147483647 h 97"/>
                  <a:gd name="T26" fmla="*/ 2147483647 w 162"/>
                  <a:gd name="T27" fmla="*/ 2147483647 h 97"/>
                  <a:gd name="T28" fmla="*/ 2147483647 w 162"/>
                  <a:gd name="T29" fmla="*/ 2147483647 h 97"/>
                  <a:gd name="T30" fmla="*/ 2147483647 w 162"/>
                  <a:gd name="T31" fmla="*/ 2147483647 h 97"/>
                  <a:gd name="T32" fmla="*/ 2147483647 w 162"/>
                  <a:gd name="T33" fmla="*/ 2147483647 h 97"/>
                  <a:gd name="T34" fmla="*/ 2147483647 w 162"/>
                  <a:gd name="T35" fmla="*/ 2147483647 h 97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162"/>
                  <a:gd name="T55" fmla="*/ 0 h 97"/>
                  <a:gd name="T56" fmla="*/ 162 w 162"/>
                  <a:gd name="T57" fmla="*/ 97 h 97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162" h="97">
                    <a:moveTo>
                      <a:pt x="162" y="94"/>
                    </a:moveTo>
                    <a:cubicBezTo>
                      <a:pt x="149" y="82"/>
                      <a:pt x="135" y="71"/>
                      <a:pt x="124" y="65"/>
                    </a:cubicBezTo>
                    <a:cubicBezTo>
                      <a:pt x="91" y="46"/>
                      <a:pt x="94" y="33"/>
                      <a:pt x="75" y="34"/>
                    </a:cubicBezTo>
                    <a:cubicBezTo>
                      <a:pt x="82" y="28"/>
                      <a:pt x="82" y="23"/>
                      <a:pt x="82" y="23"/>
                    </a:cubicBezTo>
                    <a:cubicBezTo>
                      <a:pt x="64" y="34"/>
                      <a:pt x="56" y="20"/>
                      <a:pt x="56" y="20"/>
                    </a:cubicBezTo>
                    <a:cubicBezTo>
                      <a:pt x="50" y="16"/>
                      <a:pt x="32" y="16"/>
                      <a:pt x="32" y="16"/>
                    </a:cubicBezTo>
                    <a:cubicBezTo>
                      <a:pt x="26" y="0"/>
                      <a:pt x="2" y="2"/>
                      <a:pt x="2" y="2"/>
                    </a:cubicBezTo>
                    <a:cubicBezTo>
                      <a:pt x="0" y="9"/>
                      <a:pt x="16" y="2"/>
                      <a:pt x="19" y="20"/>
                    </a:cubicBezTo>
                    <a:cubicBezTo>
                      <a:pt x="26" y="31"/>
                      <a:pt x="35" y="20"/>
                      <a:pt x="35" y="20"/>
                    </a:cubicBezTo>
                    <a:cubicBezTo>
                      <a:pt x="53" y="26"/>
                      <a:pt x="53" y="34"/>
                      <a:pt x="53" y="34"/>
                    </a:cubicBezTo>
                    <a:cubicBezTo>
                      <a:pt x="64" y="34"/>
                      <a:pt x="67" y="45"/>
                      <a:pt x="67" y="45"/>
                    </a:cubicBezTo>
                    <a:cubicBezTo>
                      <a:pt x="79" y="41"/>
                      <a:pt x="77" y="50"/>
                      <a:pt x="77" y="50"/>
                    </a:cubicBezTo>
                    <a:cubicBezTo>
                      <a:pt x="91" y="50"/>
                      <a:pt x="93" y="59"/>
                      <a:pt x="93" y="59"/>
                    </a:cubicBezTo>
                    <a:cubicBezTo>
                      <a:pt x="96" y="67"/>
                      <a:pt x="107" y="60"/>
                      <a:pt x="115" y="73"/>
                    </a:cubicBezTo>
                    <a:cubicBezTo>
                      <a:pt x="128" y="71"/>
                      <a:pt x="129" y="86"/>
                      <a:pt x="129" y="86"/>
                    </a:cubicBezTo>
                    <a:cubicBezTo>
                      <a:pt x="141" y="86"/>
                      <a:pt x="149" y="91"/>
                      <a:pt x="149" y="91"/>
                    </a:cubicBezTo>
                    <a:cubicBezTo>
                      <a:pt x="154" y="97"/>
                      <a:pt x="162" y="94"/>
                      <a:pt x="162" y="94"/>
                    </a:cubicBezTo>
                    <a:cubicBezTo>
                      <a:pt x="162" y="94"/>
                      <a:pt x="162" y="94"/>
                      <a:pt x="162" y="9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53" name="Freeform 21"/>
              <p:cNvSpPr>
                <a:spLocks/>
              </p:cNvSpPr>
              <p:nvPr/>
            </p:nvSpPr>
            <p:spPr bwMode="auto">
              <a:xfrm>
                <a:off x="3497120" y="3260414"/>
                <a:ext cx="58514" cy="124761"/>
              </a:xfrm>
              <a:custGeom>
                <a:avLst/>
                <a:gdLst/>
                <a:ahLst/>
                <a:cxnLst>
                  <a:cxn ang="0">
                    <a:pos x="3" y="48"/>
                  </a:cxn>
                  <a:cxn ang="0">
                    <a:pos x="18" y="27"/>
                  </a:cxn>
                  <a:cxn ang="0">
                    <a:pos x="8" y="4"/>
                  </a:cxn>
                  <a:cxn ang="0">
                    <a:pos x="0" y="23"/>
                  </a:cxn>
                  <a:cxn ang="0">
                    <a:pos x="3" y="48"/>
                  </a:cxn>
                  <a:cxn ang="0">
                    <a:pos x="3" y="48"/>
                  </a:cxn>
                </a:cxnLst>
                <a:rect l="0" t="0" r="r" b="b"/>
                <a:pathLst>
                  <a:path w="21" h="50">
                    <a:moveTo>
                      <a:pt x="3" y="48"/>
                    </a:moveTo>
                    <a:cubicBezTo>
                      <a:pt x="15" y="50"/>
                      <a:pt x="18" y="27"/>
                      <a:pt x="18" y="27"/>
                    </a:cubicBezTo>
                    <a:cubicBezTo>
                      <a:pt x="21" y="4"/>
                      <a:pt x="8" y="4"/>
                      <a:pt x="8" y="4"/>
                    </a:cubicBezTo>
                    <a:cubicBezTo>
                      <a:pt x="2" y="0"/>
                      <a:pt x="0" y="23"/>
                      <a:pt x="0" y="23"/>
                    </a:cubicBezTo>
                    <a:cubicBezTo>
                      <a:pt x="5" y="32"/>
                      <a:pt x="3" y="48"/>
                      <a:pt x="3" y="48"/>
                    </a:cubicBezTo>
                    <a:cubicBezTo>
                      <a:pt x="3" y="48"/>
                      <a:pt x="3" y="48"/>
                      <a:pt x="3" y="48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uk-UA" sz="800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54" name="Freeform 20"/>
              <p:cNvSpPr>
                <a:spLocks/>
              </p:cNvSpPr>
              <p:nvPr/>
            </p:nvSpPr>
            <p:spPr bwMode="auto">
              <a:xfrm>
                <a:off x="3587128" y="3446991"/>
                <a:ext cx="580783" cy="276959"/>
              </a:xfrm>
              <a:custGeom>
                <a:avLst/>
                <a:gdLst>
                  <a:gd name="T0" fmla="*/ 2147483647 w 205"/>
                  <a:gd name="T1" fmla="*/ 2147483647 h 111"/>
                  <a:gd name="T2" fmla="*/ 2147483647 w 205"/>
                  <a:gd name="T3" fmla="*/ 2147483647 h 111"/>
                  <a:gd name="T4" fmla="*/ 2147483647 w 205"/>
                  <a:gd name="T5" fmla="*/ 2147483647 h 111"/>
                  <a:gd name="T6" fmla="*/ 2147483647 w 205"/>
                  <a:gd name="T7" fmla="*/ 0 h 111"/>
                  <a:gd name="T8" fmla="*/ 2147483647 w 205"/>
                  <a:gd name="T9" fmla="*/ 2147483647 h 111"/>
                  <a:gd name="T10" fmla="*/ 2147483647 w 205"/>
                  <a:gd name="T11" fmla="*/ 2147483647 h 111"/>
                  <a:gd name="T12" fmla="*/ 2147483647 w 205"/>
                  <a:gd name="T13" fmla="*/ 2147483647 h 111"/>
                  <a:gd name="T14" fmla="*/ 2147483647 w 205"/>
                  <a:gd name="T15" fmla="*/ 2147483647 h 111"/>
                  <a:gd name="T16" fmla="*/ 2147483647 w 205"/>
                  <a:gd name="T17" fmla="*/ 2147483647 h 111"/>
                  <a:gd name="T18" fmla="*/ 2147483647 w 205"/>
                  <a:gd name="T19" fmla="*/ 2147483647 h 111"/>
                  <a:gd name="T20" fmla="*/ 2147483647 w 205"/>
                  <a:gd name="T21" fmla="*/ 2147483647 h 111"/>
                  <a:gd name="T22" fmla="*/ 2147483647 w 205"/>
                  <a:gd name="T23" fmla="*/ 2147483647 h 111"/>
                  <a:gd name="T24" fmla="*/ 2147483647 w 205"/>
                  <a:gd name="T25" fmla="*/ 2147483647 h 111"/>
                  <a:gd name="T26" fmla="*/ 2147483647 w 205"/>
                  <a:gd name="T27" fmla="*/ 2147483647 h 111"/>
                  <a:gd name="T28" fmla="*/ 2147483647 w 205"/>
                  <a:gd name="T29" fmla="*/ 2147483647 h 111"/>
                  <a:gd name="T30" fmla="*/ 2147483647 w 205"/>
                  <a:gd name="T31" fmla="*/ 2147483647 h 111"/>
                  <a:gd name="T32" fmla="*/ 2147483647 w 205"/>
                  <a:gd name="T33" fmla="*/ 2147483647 h 111"/>
                  <a:gd name="T34" fmla="*/ 2147483647 w 205"/>
                  <a:gd name="T35" fmla="*/ 2147483647 h 111"/>
                  <a:gd name="T36" fmla="*/ 2147483647 w 205"/>
                  <a:gd name="T37" fmla="*/ 2147483647 h 111"/>
                  <a:gd name="T38" fmla="*/ 2147483647 w 205"/>
                  <a:gd name="T39" fmla="*/ 2147483647 h 111"/>
                  <a:gd name="T40" fmla="*/ 2147483647 w 205"/>
                  <a:gd name="T41" fmla="*/ 2147483647 h 111"/>
                  <a:gd name="T42" fmla="*/ 2147483647 w 205"/>
                  <a:gd name="T43" fmla="*/ 2147483647 h 111"/>
                  <a:gd name="T44" fmla="*/ 2147483647 w 205"/>
                  <a:gd name="T45" fmla="*/ 2147483647 h 111"/>
                  <a:gd name="T46" fmla="*/ 2147483647 w 205"/>
                  <a:gd name="T47" fmla="*/ 2147483647 h 111"/>
                  <a:gd name="T48" fmla="*/ 2147483647 w 205"/>
                  <a:gd name="T49" fmla="*/ 2147483647 h 111"/>
                  <a:gd name="T50" fmla="*/ 2147483647 w 205"/>
                  <a:gd name="T51" fmla="*/ 2147483647 h 11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205"/>
                  <a:gd name="T79" fmla="*/ 0 h 111"/>
                  <a:gd name="T80" fmla="*/ 205 w 205"/>
                  <a:gd name="T81" fmla="*/ 111 h 111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205" h="111">
                    <a:moveTo>
                      <a:pt x="117" y="44"/>
                    </a:moveTo>
                    <a:cubicBezTo>
                      <a:pt x="98" y="41"/>
                      <a:pt x="80" y="26"/>
                      <a:pt x="80" y="26"/>
                    </a:cubicBezTo>
                    <a:cubicBezTo>
                      <a:pt x="75" y="11"/>
                      <a:pt x="51" y="17"/>
                      <a:pt x="51" y="17"/>
                    </a:cubicBezTo>
                    <a:cubicBezTo>
                      <a:pt x="47" y="2"/>
                      <a:pt x="36" y="0"/>
                      <a:pt x="36" y="0"/>
                    </a:cubicBezTo>
                    <a:cubicBezTo>
                      <a:pt x="32" y="0"/>
                      <a:pt x="31" y="9"/>
                      <a:pt x="31" y="9"/>
                    </a:cubicBezTo>
                    <a:cubicBezTo>
                      <a:pt x="0" y="4"/>
                      <a:pt x="40" y="22"/>
                      <a:pt x="40" y="22"/>
                    </a:cubicBezTo>
                    <a:cubicBezTo>
                      <a:pt x="61" y="34"/>
                      <a:pt x="65" y="44"/>
                      <a:pt x="65" y="44"/>
                    </a:cubicBezTo>
                    <a:cubicBezTo>
                      <a:pt x="91" y="48"/>
                      <a:pt x="91" y="56"/>
                      <a:pt x="91" y="56"/>
                    </a:cubicBezTo>
                    <a:cubicBezTo>
                      <a:pt x="116" y="66"/>
                      <a:pt x="120" y="74"/>
                      <a:pt x="120" y="74"/>
                    </a:cubicBezTo>
                    <a:cubicBezTo>
                      <a:pt x="133" y="81"/>
                      <a:pt x="127" y="94"/>
                      <a:pt x="127" y="94"/>
                    </a:cubicBezTo>
                    <a:cubicBezTo>
                      <a:pt x="132" y="98"/>
                      <a:pt x="138" y="86"/>
                      <a:pt x="153" y="92"/>
                    </a:cubicBezTo>
                    <a:cubicBezTo>
                      <a:pt x="189" y="96"/>
                      <a:pt x="157" y="111"/>
                      <a:pt x="157" y="111"/>
                    </a:cubicBezTo>
                    <a:cubicBezTo>
                      <a:pt x="157" y="111"/>
                      <a:pt x="157" y="111"/>
                      <a:pt x="157" y="111"/>
                    </a:cubicBezTo>
                    <a:cubicBezTo>
                      <a:pt x="181" y="110"/>
                      <a:pt x="181" y="110"/>
                      <a:pt x="181" y="110"/>
                    </a:cubicBezTo>
                    <a:cubicBezTo>
                      <a:pt x="181" y="110"/>
                      <a:pt x="181" y="110"/>
                      <a:pt x="181" y="110"/>
                    </a:cubicBezTo>
                    <a:cubicBezTo>
                      <a:pt x="171" y="97"/>
                      <a:pt x="180" y="95"/>
                      <a:pt x="180" y="95"/>
                    </a:cubicBezTo>
                    <a:cubicBezTo>
                      <a:pt x="194" y="97"/>
                      <a:pt x="197" y="103"/>
                      <a:pt x="197" y="103"/>
                    </a:cubicBezTo>
                    <a:cubicBezTo>
                      <a:pt x="196" y="96"/>
                      <a:pt x="205" y="91"/>
                      <a:pt x="205" y="91"/>
                    </a:cubicBezTo>
                    <a:cubicBezTo>
                      <a:pt x="188" y="96"/>
                      <a:pt x="182" y="86"/>
                      <a:pt x="182" y="86"/>
                    </a:cubicBezTo>
                    <a:cubicBezTo>
                      <a:pt x="174" y="72"/>
                      <a:pt x="158" y="59"/>
                      <a:pt x="158" y="59"/>
                    </a:cubicBezTo>
                    <a:cubicBezTo>
                      <a:pt x="157" y="52"/>
                      <a:pt x="150" y="48"/>
                      <a:pt x="150" y="48"/>
                    </a:cubicBezTo>
                    <a:cubicBezTo>
                      <a:pt x="146" y="33"/>
                      <a:pt x="126" y="21"/>
                      <a:pt x="126" y="21"/>
                    </a:cubicBezTo>
                    <a:cubicBezTo>
                      <a:pt x="120" y="20"/>
                      <a:pt x="120" y="11"/>
                      <a:pt x="120" y="11"/>
                    </a:cubicBezTo>
                    <a:cubicBezTo>
                      <a:pt x="104" y="25"/>
                      <a:pt x="118" y="31"/>
                      <a:pt x="118" y="31"/>
                    </a:cubicBezTo>
                    <a:cubicBezTo>
                      <a:pt x="124" y="44"/>
                      <a:pt x="117" y="44"/>
                      <a:pt x="117" y="44"/>
                    </a:cubicBezTo>
                    <a:cubicBezTo>
                      <a:pt x="117" y="44"/>
                      <a:pt x="117" y="44"/>
                      <a:pt x="117" y="4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55" name="Freeform 19"/>
              <p:cNvSpPr>
                <a:spLocks/>
              </p:cNvSpPr>
              <p:nvPr/>
            </p:nvSpPr>
            <p:spPr bwMode="auto">
              <a:xfrm>
                <a:off x="3561877" y="3418706"/>
                <a:ext cx="63793" cy="47142"/>
              </a:xfrm>
              <a:custGeom>
                <a:avLst/>
                <a:gdLst>
                  <a:gd name="T0" fmla="*/ 0 w 23"/>
                  <a:gd name="T1" fmla="*/ 2147483647 h 19"/>
                  <a:gd name="T2" fmla="*/ 2147483647 w 23"/>
                  <a:gd name="T3" fmla="*/ 2147483647 h 19"/>
                  <a:gd name="T4" fmla="*/ 2147483647 w 23"/>
                  <a:gd name="T5" fmla="*/ 2147483647 h 19"/>
                  <a:gd name="T6" fmla="*/ 2147483647 w 23"/>
                  <a:gd name="T7" fmla="*/ 2147483647 h 19"/>
                  <a:gd name="T8" fmla="*/ 2147483647 w 23"/>
                  <a:gd name="T9" fmla="*/ 2147483647 h 19"/>
                  <a:gd name="T10" fmla="*/ 2147483647 w 23"/>
                  <a:gd name="T11" fmla="*/ 2147483647 h 19"/>
                  <a:gd name="T12" fmla="*/ 0 w 23"/>
                  <a:gd name="T13" fmla="*/ 2147483647 h 19"/>
                  <a:gd name="T14" fmla="*/ 0 w 23"/>
                  <a:gd name="T15" fmla="*/ 2147483647 h 1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3"/>
                  <a:gd name="T25" fmla="*/ 0 h 19"/>
                  <a:gd name="T26" fmla="*/ 23 w 23"/>
                  <a:gd name="T27" fmla="*/ 19 h 1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3" h="19">
                    <a:moveTo>
                      <a:pt x="0" y="2"/>
                    </a:moveTo>
                    <a:cubicBezTo>
                      <a:pt x="9" y="0"/>
                      <a:pt x="19" y="6"/>
                      <a:pt x="19" y="6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23" y="17"/>
                      <a:pt x="23" y="17"/>
                      <a:pt x="23" y="17"/>
                    </a:cubicBezTo>
                    <a:cubicBezTo>
                      <a:pt x="23" y="17"/>
                      <a:pt x="23" y="17"/>
                      <a:pt x="23" y="17"/>
                    </a:cubicBezTo>
                    <a:cubicBezTo>
                      <a:pt x="19" y="19"/>
                      <a:pt x="14" y="7"/>
                      <a:pt x="14" y="7"/>
                    </a:cubicBezTo>
                    <a:cubicBezTo>
                      <a:pt x="9" y="3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4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56" name="Freeform 18"/>
              <p:cNvSpPr>
                <a:spLocks/>
              </p:cNvSpPr>
              <p:nvPr/>
            </p:nvSpPr>
            <p:spPr bwMode="auto">
              <a:xfrm>
                <a:off x="3249456" y="3132971"/>
                <a:ext cx="232696" cy="165006"/>
              </a:xfrm>
              <a:custGeom>
                <a:avLst/>
                <a:gdLst/>
                <a:ahLst/>
                <a:cxnLst>
                  <a:cxn ang="0">
                    <a:pos x="32" y="37"/>
                  </a:cxn>
                  <a:cxn ang="0">
                    <a:pos x="13" y="24"/>
                  </a:cxn>
                  <a:cxn ang="0">
                    <a:pos x="0" y="6"/>
                  </a:cxn>
                  <a:cxn ang="0">
                    <a:pos x="11" y="31"/>
                  </a:cxn>
                  <a:cxn ang="0">
                    <a:pos x="39" y="53"/>
                  </a:cxn>
                  <a:cxn ang="0">
                    <a:pos x="66" y="64"/>
                  </a:cxn>
                  <a:cxn ang="0">
                    <a:pos x="82" y="51"/>
                  </a:cxn>
                  <a:cxn ang="0">
                    <a:pos x="64" y="51"/>
                  </a:cxn>
                  <a:cxn ang="0">
                    <a:pos x="47" y="50"/>
                  </a:cxn>
                  <a:cxn ang="0">
                    <a:pos x="47" y="50"/>
                  </a:cxn>
                  <a:cxn ang="0">
                    <a:pos x="32" y="37"/>
                  </a:cxn>
                </a:cxnLst>
                <a:rect l="0" t="0" r="r" b="b"/>
                <a:pathLst>
                  <a:path w="82" h="66">
                    <a:moveTo>
                      <a:pt x="32" y="37"/>
                    </a:moveTo>
                    <a:cubicBezTo>
                      <a:pt x="32" y="37"/>
                      <a:pt x="31" y="27"/>
                      <a:pt x="13" y="24"/>
                    </a:cubicBezTo>
                    <a:cubicBezTo>
                      <a:pt x="3" y="0"/>
                      <a:pt x="0" y="6"/>
                      <a:pt x="0" y="6"/>
                    </a:cubicBezTo>
                    <a:cubicBezTo>
                      <a:pt x="0" y="6"/>
                      <a:pt x="4" y="27"/>
                      <a:pt x="11" y="31"/>
                    </a:cubicBezTo>
                    <a:cubicBezTo>
                      <a:pt x="17" y="35"/>
                      <a:pt x="24" y="32"/>
                      <a:pt x="39" y="53"/>
                    </a:cubicBezTo>
                    <a:cubicBezTo>
                      <a:pt x="52" y="66"/>
                      <a:pt x="66" y="64"/>
                      <a:pt x="66" y="64"/>
                    </a:cubicBezTo>
                    <a:cubicBezTo>
                      <a:pt x="76" y="62"/>
                      <a:pt x="82" y="51"/>
                      <a:pt x="82" y="51"/>
                    </a:cubicBezTo>
                    <a:cubicBezTo>
                      <a:pt x="82" y="46"/>
                      <a:pt x="64" y="51"/>
                      <a:pt x="64" y="51"/>
                    </a:cubicBezTo>
                    <a:cubicBezTo>
                      <a:pt x="55" y="54"/>
                      <a:pt x="55" y="49"/>
                      <a:pt x="47" y="50"/>
                    </a:cubicBezTo>
                    <a:cubicBezTo>
                      <a:pt x="47" y="50"/>
                      <a:pt x="47" y="50"/>
                      <a:pt x="47" y="50"/>
                    </a:cubicBezTo>
                    <a:cubicBezTo>
                      <a:pt x="32" y="37"/>
                      <a:pt x="32" y="37"/>
                      <a:pt x="32" y="37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uk-UA" sz="800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57" name="Freeform 17"/>
              <p:cNvSpPr>
                <a:spLocks/>
              </p:cNvSpPr>
              <p:nvPr/>
            </p:nvSpPr>
            <p:spPr bwMode="auto">
              <a:xfrm>
                <a:off x="3111338" y="2669150"/>
                <a:ext cx="119612" cy="315851"/>
              </a:xfrm>
              <a:custGeom>
                <a:avLst/>
                <a:gdLst>
                  <a:gd name="T0" fmla="*/ 2147483647 w 42"/>
                  <a:gd name="T1" fmla="*/ 2147483647 h 126"/>
                  <a:gd name="T2" fmla="*/ 2147483647 w 42"/>
                  <a:gd name="T3" fmla="*/ 2147483647 h 126"/>
                  <a:gd name="T4" fmla="*/ 2147483647 w 42"/>
                  <a:gd name="T5" fmla="*/ 2147483647 h 126"/>
                  <a:gd name="T6" fmla="*/ 0 w 42"/>
                  <a:gd name="T7" fmla="*/ 2147483647 h 126"/>
                  <a:gd name="T8" fmla="*/ 2147483647 w 42"/>
                  <a:gd name="T9" fmla="*/ 2147483647 h 126"/>
                  <a:gd name="T10" fmla="*/ 2147483647 w 42"/>
                  <a:gd name="T11" fmla="*/ 2147483647 h 126"/>
                  <a:gd name="T12" fmla="*/ 2147483647 w 42"/>
                  <a:gd name="T13" fmla="*/ 2147483647 h 126"/>
                  <a:gd name="T14" fmla="*/ 2147483647 w 42"/>
                  <a:gd name="T15" fmla="*/ 2147483647 h 126"/>
                  <a:gd name="T16" fmla="*/ 2147483647 w 42"/>
                  <a:gd name="T17" fmla="*/ 2147483647 h 126"/>
                  <a:gd name="T18" fmla="*/ 2147483647 w 42"/>
                  <a:gd name="T19" fmla="*/ 2147483647 h 126"/>
                  <a:gd name="T20" fmla="*/ 2147483647 w 42"/>
                  <a:gd name="T21" fmla="*/ 2147483647 h 12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2"/>
                  <a:gd name="T34" fmla="*/ 0 h 126"/>
                  <a:gd name="T35" fmla="*/ 42 w 42"/>
                  <a:gd name="T36" fmla="*/ 126 h 12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2" h="126">
                    <a:moveTo>
                      <a:pt x="29" y="126"/>
                    </a:moveTo>
                    <a:cubicBezTo>
                      <a:pt x="5" y="120"/>
                      <a:pt x="15" y="88"/>
                      <a:pt x="15" y="88"/>
                    </a:cubicBezTo>
                    <a:cubicBezTo>
                      <a:pt x="31" y="58"/>
                      <a:pt x="11" y="51"/>
                      <a:pt x="11" y="51"/>
                    </a:cubicBezTo>
                    <a:cubicBezTo>
                      <a:pt x="9" y="45"/>
                      <a:pt x="0" y="48"/>
                      <a:pt x="0" y="48"/>
                    </a:cubicBezTo>
                    <a:cubicBezTo>
                      <a:pt x="17" y="41"/>
                      <a:pt x="25" y="23"/>
                      <a:pt x="25" y="23"/>
                    </a:cubicBezTo>
                    <a:cubicBezTo>
                      <a:pt x="32" y="0"/>
                      <a:pt x="37" y="16"/>
                      <a:pt x="37" y="16"/>
                    </a:cubicBezTo>
                    <a:cubicBezTo>
                      <a:pt x="40" y="28"/>
                      <a:pt x="28" y="36"/>
                      <a:pt x="35" y="35"/>
                    </a:cubicBezTo>
                    <a:cubicBezTo>
                      <a:pt x="42" y="37"/>
                      <a:pt x="28" y="51"/>
                      <a:pt x="35" y="57"/>
                    </a:cubicBezTo>
                    <a:cubicBezTo>
                      <a:pt x="32" y="63"/>
                      <a:pt x="36" y="92"/>
                      <a:pt x="32" y="99"/>
                    </a:cubicBezTo>
                    <a:cubicBezTo>
                      <a:pt x="28" y="106"/>
                      <a:pt x="29" y="126"/>
                      <a:pt x="29" y="126"/>
                    </a:cubicBezTo>
                    <a:cubicBezTo>
                      <a:pt x="29" y="126"/>
                      <a:pt x="29" y="126"/>
                      <a:pt x="29" y="126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58" name="Freeform 43"/>
              <p:cNvSpPr>
                <a:spLocks/>
              </p:cNvSpPr>
              <p:nvPr/>
            </p:nvSpPr>
            <p:spPr bwMode="auto">
              <a:xfrm>
                <a:off x="5220498" y="3505918"/>
                <a:ext cx="894433" cy="1097227"/>
              </a:xfrm>
              <a:custGeom>
                <a:avLst/>
                <a:gdLst>
                  <a:gd name="T0" fmla="*/ 2147483647 w 316"/>
                  <a:gd name="T1" fmla="*/ 2147483647 h 439"/>
                  <a:gd name="T2" fmla="*/ 2147483647 w 316"/>
                  <a:gd name="T3" fmla="*/ 2147483647 h 439"/>
                  <a:gd name="T4" fmla="*/ 2147483647 w 316"/>
                  <a:gd name="T5" fmla="*/ 2147483647 h 439"/>
                  <a:gd name="T6" fmla="*/ 2147483647 w 316"/>
                  <a:gd name="T7" fmla="*/ 2147483647 h 439"/>
                  <a:gd name="T8" fmla="*/ 2147483647 w 316"/>
                  <a:gd name="T9" fmla="*/ 2147483647 h 439"/>
                  <a:gd name="T10" fmla="*/ 2147483647 w 316"/>
                  <a:gd name="T11" fmla="*/ 2147483647 h 439"/>
                  <a:gd name="T12" fmla="*/ 2147483647 w 316"/>
                  <a:gd name="T13" fmla="*/ 2147483647 h 439"/>
                  <a:gd name="T14" fmla="*/ 2147483647 w 316"/>
                  <a:gd name="T15" fmla="*/ 2147483647 h 439"/>
                  <a:gd name="T16" fmla="*/ 2147483647 w 316"/>
                  <a:gd name="T17" fmla="*/ 2147483647 h 439"/>
                  <a:gd name="T18" fmla="*/ 2147483647 w 316"/>
                  <a:gd name="T19" fmla="*/ 2147483647 h 439"/>
                  <a:gd name="T20" fmla="*/ 2147483647 w 316"/>
                  <a:gd name="T21" fmla="*/ 2147483647 h 439"/>
                  <a:gd name="T22" fmla="*/ 2147483647 w 316"/>
                  <a:gd name="T23" fmla="*/ 2147483647 h 439"/>
                  <a:gd name="T24" fmla="*/ 2147483647 w 316"/>
                  <a:gd name="T25" fmla="*/ 2147483647 h 439"/>
                  <a:gd name="T26" fmla="*/ 2147483647 w 316"/>
                  <a:gd name="T27" fmla="*/ 2147483647 h 439"/>
                  <a:gd name="T28" fmla="*/ 2147483647 w 316"/>
                  <a:gd name="T29" fmla="*/ 2147483647 h 439"/>
                  <a:gd name="T30" fmla="*/ 2147483647 w 316"/>
                  <a:gd name="T31" fmla="*/ 2147483647 h 439"/>
                  <a:gd name="T32" fmla="*/ 2147483647 w 316"/>
                  <a:gd name="T33" fmla="*/ 2147483647 h 439"/>
                  <a:gd name="T34" fmla="*/ 2147483647 w 316"/>
                  <a:gd name="T35" fmla="*/ 2147483647 h 439"/>
                  <a:gd name="T36" fmla="*/ 2147483647 w 316"/>
                  <a:gd name="T37" fmla="*/ 2147483647 h 439"/>
                  <a:gd name="T38" fmla="*/ 2147483647 w 316"/>
                  <a:gd name="T39" fmla="*/ 2147483647 h 439"/>
                  <a:gd name="T40" fmla="*/ 2147483647 w 316"/>
                  <a:gd name="T41" fmla="*/ 2147483647 h 439"/>
                  <a:gd name="T42" fmla="*/ 2147483647 w 316"/>
                  <a:gd name="T43" fmla="*/ 2147483647 h 439"/>
                  <a:gd name="T44" fmla="*/ 2147483647 w 316"/>
                  <a:gd name="T45" fmla="*/ 2147483647 h 439"/>
                  <a:gd name="T46" fmla="*/ 2147483647 w 316"/>
                  <a:gd name="T47" fmla="*/ 2147483647 h 439"/>
                  <a:gd name="T48" fmla="*/ 2147483647 w 316"/>
                  <a:gd name="T49" fmla="*/ 2147483647 h 439"/>
                  <a:gd name="T50" fmla="*/ 2147483647 w 316"/>
                  <a:gd name="T51" fmla="*/ 2147483647 h 439"/>
                  <a:gd name="T52" fmla="*/ 2147483647 w 316"/>
                  <a:gd name="T53" fmla="*/ 2147483647 h 439"/>
                  <a:gd name="T54" fmla="*/ 2147483647 w 316"/>
                  <a:gd name="T55" fmla="*/ 2147483647 h 439"/>
                  <a:gd name="T56" fmla="*/ 2147483647 w 316"/>
                  <a:gd name="T57" fmla="*/ 2147483647 h 439"/>
                  <a:gd name="T58" fmla="*/ 2147483647 w 316"/>
                  <a:gd name="T59" fmla="*/ 2147483647 h 439"/>
                  <a:gd name="T60" fmla="*/ 2147483647 w 316"/>
                  <a:gd name="T61" fmla="*/ 2147483647 h 439"/>
                  <a:gd name="T62" fmla="*/ 2147483647 w 316"/>
                  <a:gd name="T63" fmla="*/ 2147483647 h 439"/>
                  <a:gd name="T64" fmla="*/ 2147483647 w 316"/>
                  <a:gd name="T65" fmla="*/ 2147483647 h 439"/>
                  <a:gd name="T66" fmla="*/ 2147483647 w 316"/>
                  <a:gd name="T67" fmla="*/ 2147483647 h 439"/>
                  <a:gd name="T68" fmla="*/ 2147483647 w 316"/>
                  <a:gd name="T69" fmla="*/ 2147483647 h 439"/>
                  <a:gd name="T70" fmla="*/ 2147483647 w 316"/>
                  <a:gd name="T71" fmla="*/ 2147483647 h 439"/>
                  <a:gd name="T72" fmla="*/ 2147483647 w 316"/>
                  <a:gd name="T73" fmla="*/ 2147483647 h 439"/>
                  <a:gd name="T74" fmla="*/ 2147483647 w 316"/>
                  <a:gd name="T75" fmla="*/ 2147483647 h 439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316"/>
                  <a:gd name="T115" fmla="*/ 0 h 439"/>
                  <a:gd name="T116" fmla="*/ 316 w 316"/>
                  <a:gd name="T117" fmla="*/ 439 h 439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316" h="439">
                    <a:moveTo>
                      <a:pt x="19" y="127"/>
                    </a:moveTo>
                    <a:cubicBezTo>
                      <a:pt x="34" y="131"/>
                      <a:pt x="26" y="135"/>
                      <a:pt x="26" y="135"/>
                    </a:cubicBezTo>
                    <a:cubicBezTo>
                      <a:pt x="20" y="141"/>
                      <a:pt x="30" y="145"/>
                      <a:pt x="31" y="137"/>
                    </a:cubicBezTo>
                    <a:cubicBezTo>
                      <a:pt x="37" y="131"/>
                      <a:pt x="44" y="135"/>
                      <a:pt x="44" y="135"/>
                    </a:cubicBezTo>
                    <a:cubicBezTo>
                      <a:pt x="44" y="138"/>
                      <a:pt x="33" y="144"/>
                      <a:pt x="37" y="155"/>
                    </a:cubicBezTo>
                    <a:cubicBezTo>
                      <a:pt x="32" y="180"/>
                      <a:pt x="40" y="180"/>
                      <a:pt x="40" y="180"/>
                    </a:cubicBezTo>
                    <a:cubicBezTo>
                      <a:pt x="50" y="182"/>
                      <a:pt x="51" y="193"/>
                      <a:pt x="51" y="193"/>
                    </a:cubicBezTo>
                    <a:cubicBezTo>
                      <a:pt x="55" y="202"/>
                      <a:pt x="48" y="205"/>
                      <a:pt x="48" y="205"/>
                    </a:cubicBezTo>
                    <a:cubicBezTo>
                      <a:pt x="40" y="206"/>
                      <a:pt x="48" y="220"/>
                      <a:pt x="48" y="220"/>
                    </a:cubicBezTo>
                    <a:cubicBezTo>
                      <a:pt x="55" y="237"/>
                      <a:pt x="34" y="230"/>
                      <a:pt x="34" y="230"/>
                    </a:cubicBezTo>
                    <a:cubicBezTo>
                      <a:pt x="21" y="215"/>
                      <a:pt x="14" y="226"/>
                      <a:pt x="14" y="226"/>
                    </a:cubicBezTo>
                    <a:cubicBezTo>
                      <a:pt x="5" y="237"/>
                      <a:pt x="14" y="244"/>
                      <a:pt x="14" y="244"/>
                    </a:cubicBezTo>
                    <a:cubicBezTo>
                      <a:pt x="24" y="252"/>
                      <a:pt x="14" y="255"/>
                      <a:pt x="14" y="255"/>
                    </a:cubicBezTo>
                    <a:cubicBezTo>
                      <a:pt x="0" y="257"/>
                      <a:pt x="15" y="270"/>
                      <a:pt x="15" y="270"/>
                    </a:cubicBezTo>
                    <a:cubicBezTo>
                      <a:pt x="16" y="279"/>
                      <a:pt x="21" y="278"/>
                      <a:pt x="21" y="278"/>
                    </a:cubicBezTo>
                    <a:cubicBezTo>
                      <a:pt x="28" y="278"/>
                      <a:pt x="29" y="289"/>
                      <a:pt x="29" y="289"/>
                    </a:cubicBezTo>
                    <a:cubicBezTo>
                      <a:pt x="33" y="297"/>
                      <a:pt x="39" y="308"/>
                      <a:pt x="39" y="308"/>
                    </a:cubicBezTo>
                    <a:cubicBezTo>
                      <a:pt x="49" y="305"/>
                      <a:pt x="54" y="314"/>
                      <a:pt x="54" y="314"/>
                    </a:cubicBezTo>
                    <a:cubicBezTo>
                      <a:pt x="58" y="321"/>
                      <a:pt x="62" y="308"/>
                      <a:pt x="69" y="319"/>
                    </a:cubicBezTo>
                    <a:cubicBezTo>
                      <a:pt x="77" y="320"/>
                      <a:pt x="85" y="330"/>
                      <a:pt x="85" y="330"/>
                    </a:cubicBezTo>
                    <a:cubicBezTo>
                      <a:pt x="103" y="329"/>
                      <a:pt x="97" y="340"/>
                      <a:pt x="97" y="340"/>
                    </a:cubicBezTo>
                    <a:cubicBezTo>
                      <a:pt x="79" y="344"/>
                      <a:pt x="91" y="347"/>
                      <a:pt x="91" y="347"/>
                    </a:cubicBezTo>
                    <a:cubicBezTo>
                      <a:pt x="91" y="347"/>
                      <a:pt x="99" y="351"/>
                      <a:pt x="85" y="354"/>
                    </a:cubicBezTo>
                    <a:cubicBezTo>
                      <a:pt x="78" y="353"/>
                      <a:pt x="87" y="365"/>
                      <a:pt x="75" y="361"/>
                    </a:cubicBezTo>
                    <a:cubicBezTo>
                      <a:pt x="54" y="363"/>
                      <a:pt x="65" y="373"/>
                      <a:pt x="65" y="373"/>
                    </a:cubicBezTo>
                    <a:cubicBezTo>
                      <a:pt x="70" y="380"/>
                      <a:pt x="59" y="385"/>
                      <a:pt x="59" y="385"/>
                    </a:cubicBezTo>
                    <a:cubicBezTo>
                      <a:pt x="78" y="389"/>
                      <a:pt x="78" y="405"/>
                      <a:pt x="78" y="405"/>
                    </a:cubicBezTo>
                    <a:cubicBezTo>
                      <a:pt x="99" y="405"/>
                      <a:pt x="94" y="415"/>
                      <a:pt x="94" y="415"/>
                    </a:cubicBezTo>
                    <a:cubicBezTo>
                      <a:pt x="96" y="422"/>
                      <a:pt x="89" y="423"/>
                      <a:pt x="89" y="423"/>
                    </a:cubicBezTo>
                    <a:cubicBezTo>
                      <a:pt x="72" y="426"/>
                      <a:pt x="87" y="439"/>
                      <a:pt x="87" y="439"/>
                    </a:cubicBezTo>
                    <a:cubicBezTo>
                      <a:pt x="89" y="437"/>
                      <a:pt x="92" y="435"/>
                      <a:pt x="95" y="434"/>
                    </a:cubicBezTo>
                    <a:cubicBezTo>
                      <a:pt x="95" y="434"/>
                      <a:pt x="110" y="418"/>
                      <a:pt x="123" y="434"/>
                    </a:cubicBezTo>
                    <a:cubicBezTo>
                      <a:pt x="123" y="434"/>
                      <a:pt x="130" y="415"/>
                      <a:pt x="150" y="395"/>
                    </a:cubicBezTo>
                    <a:cubicBezTo>
                      <a:pt x="180" y="397"/>
                      <a:pt x="191" y="384"/>
                      <a:pt x="220" y="389"/>
                    </a:cubicBezTo>
                    <a:cubicBezTo>
                      <a:pt x="220" y="389"/>
                      <a:pt x="224" y="387"/>
                      <a:pt x="230" y="384"/>
                    </a:cubicBezTo>
                    <a:cubicBezTo>
                      <a:pt x="230" y="372"/>
                      <a:pt x="221" y="366"/>
                      <a:pt x="230" y="358"/>
                    </a:cubicBezTo>
                    <a:cubicBezTo>
                      <a:pt x="237" y="355"/>
                      <a:pt x="242" y="345"/>
                      <a:pt x="230" y="346"/>
                    </a:cubicBezTo>
                    <a:cubicBezTo>
                      <a:pt x="220" y="347"/>
                      <a:pt x="229" y="331"/>
                      <a:pt x="229" y="331"/>
                    </a:cubicBezTo>
                    <a:cubicBezTo>
                      <a:pt x="233" y="325"/>
                      <a:pt x="224" y="299"/>
                      <a:pt x="238" y="288"/>
                    </a:cubicBezTo>
                    <a:cubicBezTo>
                      <a:pt x="249" y="279"/>
                      <a:pt x="254" y="285"/>
                      <a:pt x="265" y="281"/>
                    </a:cubicBezTo>
                    <a:cubicBezTo>
                      <a:pt x="278" y="275"/>
                      <a:pt x="268" y="268"/>
                      <a:pt x="278" y="269"/>
                    </a:cubicBezTo>
                    <a:cubicBezTo>
                      <a:pt x="288" y="270"/>
                      <a:pt x="285" y="255"/>
                      <a:pt x="285" y="255"/>
                    </a:cubicBezTo>
                    <a:cubicBezTo>
                      <a:pt x="283" y="230"/>
                      <a:pt x="303" y="234"/>
                      <a:pt x="303" y="234"/>
                    </a:cubicBezTo>
                    <a:cubicBezTo>
                      <a:pt x="306" y="234"/>
                      <a:pt x="309" y="235"/>
                      <a:pt x="312" y="235"/>
                    </a:cubicBezTo>
                    <a:cubicBezTo>
                      <a:pt x="312" y="235"/>
                      <a:pt x="312" y="235"/>
                      <a:pt x="312" y="235"/>
                    </a:cubicBezTo>
                    <a:cubicBezTo>
                      <a:pt x="312" y="223"/>
                      <a:pt x="312" y="223"/>
                      <a:pt x="312" y="223"/>
                    </a:cubicBezTo>
                    <a:cubicBezTo>
                      <a:pt x="312" y="223"/>
                      <a:pt x="312" y="223"/>
                      <a:pt x="312" y="223"/>
                    </a:cubicBezTo>
                    <a:cubicBezTo>
                      <a:pt x="312" y="223"/>
                      <a:pt x="316" y="208"/>
                      <a:pt x="296" y="207"/>
                    </a:cubicBezTo>
                    <a:cubicBezTo>
                      <a:pt x="296" y="207"/>
                      <a:pt x="283" y="212"/>
                      <a:pt x="279" y="201"/>
                    </a:cubicBezTo>
                    <a:cubicBezTo>
                      <a:pt x="279" y="201"/>
                      <a:pt x="289" y="193"/>
                      <a:pt x="253" y="188"/>
                    </a:cubicBezTo>
                    <a:cubicBezTo>
                      <a:pt x="253" y="188"/>
                      <a:pt x="257" y="172"/>
                      <a:pt x="231" y="149"/>
                    </a:cubicBezTo>
                    <a:cubicBezTo>
                      <a:pt x="231" y="149"/>
                      <a:pt x="233" y="141"/>
                      <a:pt x="215" y="140"/>
                    </a:cubicBezTo>
                    <a:cubicBezTo>
                      <a:pt x="216" y="124"/>
                      <a:pt x="205" y="130"/>
                      <a:pt x="206" y="117"/>
                    </a:cubicBezTo>
                    <a:cubicBezTo>
                      <a:pt x="206" y="117"/>
                      <a:pt x="198" y="113"/>
                      <a:pt x="204" y="96"/>
                    </a:cubicBezTo>
                    <a:cubicBezTo>
                      <a:pt x="211" y="92"/>
                      <a:pt x="198" y="88"/>
                      <a:pt x="202" y="83"/>
                    </a:cubicBezTo>
                    <a:cubicBezTo>
                      <a:pt x="202" y="83"/>
                      <a:pt x="214" y="81"/>
                      <a:pt x="195" y="67"/>
                    </a:cubicBezTo>
                    <a:cubicBezTo>
                      <a:pt x="195" y="67"/>
                      <a:pt x="198" y="54"/>
                      <a:pt x="181" y="54"/>
                    </a:cubicBezTo>
                    <a:cubicBezTo>
                      <a:pt x="181" y="54"/>
                      <a:pt x="159" y="55"/>
                      <a:pt x="172" y="46"/>
                    </a:cubicBezTo>
                    <a:cubicBezTo>
                      <a:pt x="182" y="43"/>
                      <a:pt x="170" y="39"/>
                      <a:pt x="172" y="30"/>
                    </a:cubicBezTo>
                    <a:cubicBezTo>
                      <a:pt x="172" y="30"/>
                      <a:pt x="175" y="11"/>
                      <a:pt x="161" y="18"/>
                    </a:cubicBezTo>
                    <a:cubicBezTo>
                      <a:pt x="161" y="18"/>
                      <a:pt x="151" y="20"/>
                      <a:pt x="153" y="14"/>
                    </a:cubicBezTo>
                    <a:cubicBezTo>
                      <a:pt x="153" y="14"/>
                      <a:pt x="155" y="7"/>
                      <a:pt x="145" y="6"/>
                    </a:cubicBezTo>
                    <a:cubicBezTo>
                      <a:pt x="138" y="11"/>
                      <a:pt x="122" y="9"/>
                      <a:pt x="122" y="9"/>
                    </a:cubicBezTo>
                    <a:cubicBezTo>
                      <a:pt x="111" y="0"/>
                      <a:pt x="106" y="14"/>
                      <a:pt x="106" y="14"/>
                    </a:cubicBezTo>
                    <a:cubicBezTo>
                      <a:pt x="103" y="20"/>
                      <a:pt x="117" y="12"/>
                      <a:pt x="117" y="19"/>
                    </a:cubicBezTo>
                    <a:cubicBezTo>
                      <a:pt x="117" y="28"/>
                      <a:pt x="102" y="33"/>
                      <a:pt x="102" y="33"/>
                    </a:cubicBezTo>
                    <a:cubicBezTo>
                      <a:pt x="84" y="47"/>
                      <a:pt x="84" y="55"/>
                      <a:pt x="84" y="55"/>
                    </a:cubicBezTo>
                    <a:cubicBezTo>
                      <a:pt x="90" y="66"/>
                      <a:pt x="78" y="70"/>
                      <a:pt x="78" y="70"/>
                    </a:cubicBezTo>
                    <a:cubicBezTo>
                      <a:pt x="65" y="76"/>
                      <a:pt x="70" y="87"/>
                      <a:pt x="70" y="87"/>
                    </a:cubicBezTo>
                    <a:cubicBezTo>
                      <a:pt x="64" y="80"/>
                      <a:pt x="58" y="86"/>
                      <a:pt x="58" y="86"/>
                    </a:cubicBezTo>
                    <a:cubicBezTo>
                      <a:pt x="47" y="91"/>
                      <a:pt x="52" y="97"/>
                      <a:pt x="52" y="97"/>
                    </a:cubicBezTo>
                    <a:cubicBezTo>
                      <a:pt x="44" y="97"/>
                      <a:pt x="37" y="91"/>
                      <a:pt x="37" y="91"/>
                    </a:cubicBezTo>
                    <a:cubicBezTo>
                      <a:pt x="34" y="92"/>
                      <a:pt x="33" y="101"/>
                      <a:pt x="28" y="98"/>
                    </a:cubicBezTo>
                    <a:cubicBezTo>
                      <a:pt x="13" y="91"/>
                      <a:pt x="15" y="104"/>
                      <a:pt x="15" y="104"/>
                    </a:cubicBezTo>
                    <a:cubicBezTo>
                      <a:pt x="14" y="113"/>
                      <a:pt x="22" y="110"/>
                      <a:pt x="19" y="127"/>
                    </a:cubicBezTo>
                    <a:cubicBezTo>
                      <a:pt x="19" y="127"/>
                      <a:pt x="19" y="127"/>
                      <a:pt x="19" y="127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10" name="Oval 147"/>
            <p:cNvSpPr/>
            <p:nvPr/>
          </p:nvSpPr>
          <p:spPr bwMode="auto">
            <a:xfrm>
              <a:off x="5124253" y="2409362"/>
              <a:ext cx="144448" cy="142863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uk-UA" sz="1000" u="sng" dirty="0">
                <a:solidFill>
                  <a:prstClr val="black"/>
                </a:solidFill>
                <a:latin typeface="Calibri" panose="020F0502020204030204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1" name="Freeform 164"/>
            <p:cNvSpPr>
              <a:spLocks noChangeAspect="1"/>
            </p:cNvSpPr>
            <p:nvPr/>
          </p:nvSpPr>
          <p:spPr bwMode="auto">
            <a:xfrm>
              <a:off x="8116375" y="3195110"/>
              <a:ext cx="871445" cy="971471"/>
            </a:xfrm>
            <a:custGeom>
              <a:avLst/>
              <a:gdLst>
                <a:gd name="connsiteX0" fmla="*/ 127000 w 828675"/>
                <a:gd name="connsiteY0" fmla="*/ 885825 h 885825"/>
                <a:gd name="connsiteX1" fmla="*/ 244475 w 828675"/>
                <a:gd name="connsiteY1" fmla="*/ 873125 h 885825"/>
                <a:gd name="connsiteX2" fmla="*/ 234950 w 828675"/>
                <a:gd name="connsiteY2" fmla="*/ 809625 h 885825"/>
                <a:gd name="connsiteX3" fmla="*/ 266700 w 828675"/>
                <a:gd name="connsiteY3" fmla="*/ 774700 h 885825"/>
                <a:gd name="connsiteX4" fmla="*/ 228600 w 828675"/>
                <a:gd name="connsiteY4" fmla="*/ 765175 h 885825"/>
                <a:gd name="connsiteX5" fmla="*/ 247650 w 828675"/>
                <a:gd name="connsiteY5" fmla="*/ 720725 h 885825"/>
                <a:gd name="connsiteX6" fmla="*/ 244475 w 828675"/>
                <a:gd name="connsiteY6" fmla="*/ 622300 h 885825"/>
                <a:gd name="connsiteX7" fmla="*/ 285750 w 828675"/>
                <a:gd name="connsiteY7" fmla="*/ 600075 h 885825"/>
                <a:gd name="connsiteX8" fmla="*/ 361950 w 828675"/>
                <a:gd name="connsiteY8" fmla="*/ 587375 h 885825"/>
                <a:gd name="connsiteX9" fmla="*/ 381000 w 828675"/>
                <a:gd name="connsiteY9" fmla="*/ 561975 h 885825"/>
                <a:gd name="connsiteX10" fmla="*/ 419100 w 828675"/>
                <a:gd name="connsiteY10" fmla="*/ 552450 h 885825"/>
                <a:gd name="connsiteX11" fmla="*/ 412750 w 828675"/>
                <a:gd name="connsiteY11" fmla="*/ 504825 h 885825"/>
                <a:gd name="connsiteX12" fmla="*/ 434975 w 828675"/>
                <a:gd name="connsiteY12" fmla="*/ 454025 h 885825"/>
                <a:gd name="connsiteX13" fmla="*/ 476250 w 828675"/>
                <a:gd name="connsiteY13" fmla="*/ 463550 h 885825"/>
                <a:gd name="connsiteX14" fmla="*/ 774700 w 828675"/>
                <a:gd name="connsiteY14" fmla="*/ 450850 h 885825"/>
                <a:gd name="connsiteX15" fmla="*/ 781050 w 828675"/>
                <a:gd name="connsiteY15" fmla="*/ 304800 h 885825"/>
                <a:gd name="connsiteX16" fmla="*/ 828675 w 828675"/>
                <a:gd name="connsiteY16" fmla="*/ 222250 h 885825"/>
                <a:gd name="connsiteX17" fmla="*/ 774700 w 828675"/>
                <a:gd name="connsiteY17" fmla="*/ 222250 h 885825"/>
                <a:gd name="connsiteX18" fmla="*/ 774700 w 828675"/>
                <a:gd name="connsiteY18" fmla="*/ 209550 h 885825"/>
                <a:gd name="connsiteX19" fmla="*/ 787400 w 828675"/>
                <a:gd name="connsiteY19" fmla="*/ 190500 h 885825"/>
                <a:gd name="connsiteX20" fmla="*/ 768350 w 828675"/>
                <a:gd name="connsiteY20" fmla="*/ 139700 h 885825"/>
                <a:gd name="connsiteX21" fmla="*/ 749300 w 828675"/>
                <a:gd name="connsiteY21" fmla="*/ 101600 h 885825"/>
                <a:gd name="connsiteX22" fmla="*/ 717550 w 828675"/>
                <a:gd name="connsiteY22" fmla="*/ 88900 h 885825"/>
                <a:gd name="connsiteX23" fmla="*/ 698500 w 828675"/>
                <a:gd name="connsiteY23" fmla="*/ 92075 h 885825"/>
                <a:gd name="connsiteX24" fmla="*/ 603250 w 828675"/>
                <a:gd name="connsiteY24" fmla="*/ 69850 h 885825"/>
                <a:gd name="connsiteX25" fmla="*/ 542925 w 828675"/>
                <a:gd name="connsiteY25" fmla="*/ 0 h 885825"/>
                <a:gd name="connsiteX26" fmla="*/ 520700 w 828675"/>
                <a:gd name="connsiteY26" fmla="*/ 47625 h 885825"/>
                <a:gd name="connsiteX27" fmla="*/ 454025 w 828675"/>
                <a:gd name="connsiteY27" fmla="*/ 63500 h 885825"/>
                <a:gd name="connsiteX28" fmla="*/ 419100 w 828675"/>
                <a:gd name="connsiteY28" fmla="*/ 12700 h 885825"/>
                <a:gd name="connsiteX29" fmla="*/ 381000 w 828675"/>
                <a:gd name="connsiteY29" fmla="*/ 44450 h 885825"/>
                <a:gd name="connsiteX30" fmla="*/ 314325 w 828675"/>
                <a:gd name="connsiteY30" fmla="*/ 76200 h 885825"/>
                <a:gd name="connsiteX31" fmla="*/ 276225 w 828675"/>
                <a:gd name="connsiteY31" fmla="*/ 117475 h 885825"/>
                <a:gd name="connsiteX32" fmla="*/ 241300 w 828675"/>
                <a:gd name="connsiteY32" fmla="*/ 203200 h 885825"/>
                <a:gd name="connsiteX33" fmla="*/ 196850 w 828675"/>
                <a:gd name="connsiteY33" fmla="*/ 228600 h 885825"/>
                <a:gd name="connsiteX34" fmla="*/ 149225 w 828675"/>
                <a:gd name="connsiteY34" fmla="*/ 203200 h 885825"/>
                <a:gd name="connsiteX35" fmla="*/ 95250 w 828675"/>
                <a:gd name="connsiteY35" fmla="*/ 247650 h 885825"/>
                <a:gd name="connsiteX36" fmla="*/ 60325 w 828675"/>
                <a:gd name="connsiteY36" fmla="*/ 279400 h 885825"/>
                <a:gd name="connsiteX37" fmla="*/ 85725 w 828675"/>
                <a:gd name="connsiteY37" fmla="*/ 323850 h 885825"/>
                <a:gd name="connsiteX38" fmla="*/ 104775 w 828675"/>
                <a:gd name="connsiteY38" fmla="*/ 349250 h 885825"/>
                <a:gd name="connsiteX39" fmla="*/ 95250 w 828675"/>
                <a:gd name="connsiteY39" fmla="*/ 381000 h 885825"/>
                <a:gd name="connsiteX40" fmla="*/ 85725 w 828675"/>
                <a:gd name="connsiteY40" fmla="*/ 428625 h 885825"/>
                <a:gd name="connsiteX41" fmla="*/ 31750 w 828675"/>
                <a:gd name="connsiteY41" fmla="*/ 444500 h 885825"/>
                <a:gd name="connsiteX42" fmla="*/ 9525 w 828675"/>
                <a:gd name="connsiteY42" fmla="*/ 476250 h 885825"/>
                <a:gd name="connsiteX43" fmla="*/ 0 w 828675"/>
                <a:gd name="connsiteY43" fmla="*/ 520700 h 885825"/>
                <a:gd name="connsiteX44" fmla="*/ 15875 w 828675"/>
                <a:gd name="connsiteY44" fmla="*/ 565150 h 885825"/>
                <a:gd name="connsiteX45" fmla="*/ 28575 w 828675"/>
                <a:gd name="connsiteY45" fmla="*/ 587375 h 885825"/>
                <a:gd name="connsiteX46" fmla="*/ 63500 w 828675"/>
                <a:gd name="connsiteY46" fmla="*/ 584200 h 885825"/>
                <a:gd name="connsiteX47" fmla="*/ 76200 w 828675"/>
                <a:gd name="connsiteY47" fmla="*/ 631825 h 885825"/>
                <a:gd name="connsiteX48" fmla="*/ 92075 w 828675"/>
                <a:gd name="connsiteY48" fmla="*/ 654050 h 885825"/>
                <a:gd name="connsiteX49" fmla="*/ 114300 w 828675"/>
                <a:gd name="connsiteY49" fmla="*/ 692150 h 885825"/>
                <a:gd name="connsiteX50" fmla="*/ 107950 w 828675"/>
                <a:gd name="connsiteY50" fmla="*/ 727075 h 885825"/>
                <a:gd name="connsiteX51" fmla="*/ 133350 w 828675"/>
                <a:gd name="connsiteY51" fmla="*/ 777875 h 885825"/>
                <a:gd name="connsiteX52" fmla="*/ 130175 w 828675"/>
                <a:gd name="connsiteY52" fmla="*/ 828675 h 885825"/>
                <a:gd name="connsiteX53" fmla="*/ 127000 w 828675"/>
                <a:gd name="connsiteY53" fmla="*/ 885825 h 885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828675" h="885825">
                  <a:moveTo>
                    <a:pt x="127000" y="885825"/>
                  </a:moveTo>
                  <a:lnTo>
                    <a:pt x="244475" y="873125"/>
                  </a:lnTo>
                  <a:lnTo>
                    <a:pt x="234950" y="809625"/>
                  </a:lnTo>
                  <a:lnTo>
                    <a:pt x="266700" y="774700"/>
                  </a:lnTo>
                  <a:lnTo>
                    <a:pt x="228600" y="765175"/>
                  </a:lnTo>
                  <a:lnTo>
                    <a:pt x="247650" y="720725"/>
                  </a:lnTo>
                  <a:lnTo>
                    <a:pt x="244475" y="622300"/>
                  </a:lnTo>
                  <a:lnTo>
                    <a:pt x="285750" y="600075"/>
                  </a:lnTo>
                  <a:lnTo>
                    <a:pt x="361950" y="587375"/>
                  </a:lnTo>
                  <a:lnTo>
                    <a:pt x="381000" y="561975"/>
                  </a:lnTo>
                  <a:lnTo>
                    <a:pt x="419100" y="552450"/>
                  </a:lnTo>
                  <a:lnTo>
                    <a:pt x="412750" y="504825"/>
                  </a:lnTo>
                  <a:lnTo>
                    <a:pt x="434975" y="454025"/>
                  </a:lnTo>
                  <a:lnTo>
                    <a:pt x="476250" y="463550"/>
                  </a:lnTo>
                  <a:lnTo>
                    <a:pt x="774700" y="450850"/>
                  </a:lnTo>
                  <a:lnTo>
                    <a:pt x="781050" y="304800"/>
                  </a:lnTo>
                  <a:lnTo>
                    <a:pt x="828675" y="222250"/>
                  </a:lnTo>
                  <a:lnTo>
                    <a:pt x="774700" y="222250"/>
                  </a:lnTo>
                  <a:lnTo>
                    <a:pt x="774700" y="209550"/>
                  </a:lnTo>
                  <a:lnTo>
                    <a:pt x="787400" y="190500"/>
                  </a:lnTo>
                  <a:lnTo>
                    <a:pt x="768350" y="139700"/>
                  </a:lnTo>
                  <a:lnTo>
                    <a:pt x="749300" y="101600"/>
                  </a:lnTo>
                  <a:lnTo>
                    <a:pt x="717550" y="88900"/>
                  </a:lnTo>
                  <a:lnTo>
                    <a:pt x="698500" y="92075"/>
                  </a:lnTo>
                  <a:lnTo>
                    <a:pt x="603250" y="69850"/>
                  </a:lnTo>
                  <a:lnTo>
                    <a:pt x="542925" y="0"/>
                  </a:lnTo>
                  <a:lnTo>
                    <a:pt x="520700" y="47625"/>
                  </a:lnTo>
                  <a:lnTo>
                    <a:pt x="454025" y="63500"/>
                  </a:lnTo>
                  <a:lnTo>
                    <a:pt x="419100" y="12700"/>
                  </a:lnTo>
                  <a:lnTo>
                    <a:pt x="381000" y="44450"/>
                  </a:lnTo>
                  <a:lnTo>
                    <a:pt x="314325" y="76200"/>
                  </a:lnTo>
                  <a:lnTo>
                    <a:pt x="276225" y="117475"/>
                  </a:lnTo>
                  <a:lnTo>
                    <a:pt x="241300" y="203200"/>
                  </a:lnTo>
                  <a:lnTo>
                    <a:pt x="196850" y="228600"/>
                  </a:lnTo>
                  <a:lnTo>
                    <a:pt x="149225" y="203200"/>
                  </a:lnTo>
                  <a:lnTo>
                    <a:pt x="95250" y="247650"/>
                  </a:lnTo>
                  <a:lnTo>
                    <a:pt x="60325" y="279400"/>
                  </a:lnTo>
                  <a:lnTo>
                    <a:pt x="85725" y="323850"/>
                  </a:lnTo>
                  <a:lnTo>
                    <a:pt x="104775" y="349250"/>
                  </a:lnTo>
                  <a:lnTo>
                    <a:pt x="95250" y="381000"/>
                  </a:lnTo>
                  <a:lnTo>
                    <a:pt x="85725" y="428625"/>
                  </a:lnTo>
                  <a:lnTo>
                    <a:pt x="31750" y="444500"/>
                  </a:lnTo>
                  <a:lnTo>
                    <a:pt x="9525" y="476250"/>
                  </a:lnTo>
                  <a:lnTo>
                    <a:pt x="0" y="520700"/>
                  </a:lnTo>
                  <a:lnTo>
                    <a:pt x="15875" y="565150"/>
                  </a:lnTo>
                  <a:lnTo>
                    <a:pt x="28575" y="587375"/>
                  </a:lnTo>
                  <a:lnTo>
                    <a:pt x="63500" y="584200"/>
                  </a:lnTo>
                  <a:lnTo>
                    <a:pt x="76200" y="631825"/>
                  </a:lnTo>
                  <a:lnTo>
                    <a:pt x="92075" y="654050"/>
                  </a:lnTo>
                  <a:lnTo>
                    <a:pt x="114300" y="692150"/>
                  </a:lnTo>
                  <a:lnTo>
                    <a:pt x="107950" y="727075"/>
                  </a:lnTo>
                  <a:lnTo>
                    <a:pt x="133350" y="777875"/>
                  </a:lnTo>
                  <a:lnTo>
                    <a:pt x="130175" y="828675"/>
                  </a:lnTo>
                  <a:lnTo>
                    <a:pt x="127000" y="88582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uk-UA" sz="1000" u="sng" dirty="0">
                <a:solidFill>
                  <a:prstClr val="black"/>
                </a:solidFill>
                <a:ea typeface="MS PGothic" pitchFamily="34" charset="-128"/>
                <a:cs typeface="Arial" pitchFamily="34" charset="0"/>
              </a:endParaRPr>
            </a:p>
          </p:txBody>
        </p:sp>
      </p:grpSp>
      <p:sp>
        <p:nvSpPr>
          <p:cNvPr id="59" name="Rectangle 3"/>
          <p:cNvSpPr txBox="1">
            <a:spLocks noChangeArrowheads="1"/>
          </p:cNvSpPr>
          <p:nvPr/>
        </p:nvSpPr>
        <p:spPr bwMode="auto">
          <a:xfrm>
            <a:off x="9450443" y="989889"/>
            <a:ext cx="1910360" cy="1218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260" tIns="44633" rIns="89260" bIns="44633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base" hangingPunct="1">
              <a:spcBef>
                <a:spcPct val="20000"/>
              </a:spcBef>
              <a:spcAft>
                <a:spcPct val="0"/>
              </a:spcAft>
            </a:pPr>
            <a:r>
              <a:rPr lang="uk-UA" alt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Cambria" panose="02040503050406030204" pitchFamily="18" charset="0"/>
              </a:rPr>
              <a:t>Після виборів 18 грудня в Україні буде </a:t>
            </a:r>
          </a:p>
        </p:txBody>
      </p:sp>
      <p:sp>
        <p:nvSpPr>
          <p:cNvPr id="60" name="Rectangle 3"/>
          <p:cNvSpPr txBox="1">
            <a:spLocks noChangeArrowheads="1"/>
          </p:cNvSpPr>
          <p:nvPr/>
        </p:nvSpPr>
        <p:spPr bwMode="auto">
          <a:xfrm>
            <a:off x="9730101" y="1780374"/>
            <a:ext cx="1370477" cy="50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260" tIns="44633" rIns="89260" bIns="44633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fontAlgn="base" hangingPunct="1">
              <a:spcBef>
                <a:spcPct val="20000"/>
              </a:spcBef>
              <a:spcAft>
                <a:spcPct val="0"/>
              </a:spcAft>
            </a:pPr>
            <a:r>
              <a:rPr lang="uk-UA" altLang="ru-RU" sz="4800" b="1" dirty="0">
                <a:solidFill>
                  <a:srgbClr val="1D89CB"/>
                </a:solidFill>
                <a:latin typeface="Calibri" pitchFamily="34" charset="0"/>
              </a:rPr>
              <a:t>367</a:t>
            </a:r>
          </a:p>
        </p:txBody>
      </p:sp>
      <p:sp>
        <p:nvSpPr>
          <p:cNvPr id="61" name="Rectangle 3"/>
          <p:cNvSpPr txBox="1">
            <a:spLocks noChangeArrowheads="1"/>
          </p:cNvSpPr>
          <p:nvPr/>
        </p:nvSpPr>
        <p:spPr bwMode="auto">
          <a:xfrm>
            <a:off x="9492870" y="2028419"/>
            <a:ext cx="1728192" cy="59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260" tIns="44633" rIns="89260" bIns="44633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fontAlgn="base" hangingPunct="1">
              <a:spcBef>
                <a:spcPct val="20000"/>
              </a:spcBef>
              <a:spcAft>
                <a:spcPct val="0"/>
              </a:spcAft>
            </a:pPr>
            <a:r>
              <a:rPr lang="uk-UA" alt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Cambria" panose="02040503050406030204" pitchFamily="18" charset="0"/>
              </a:rPr>
              <a:t>об'єднаних громад</a:t>
            </a:r>
          </a:p>
        </p:txBody>
      </p:sp>
      <p:sp>
        <p:nvSpPr>
          <p:cNvPr id="62" name="TextBox 167"/>
          <p:cNvSpPr txBox="1"/>
          <p:nvPr/>
        </p:nvSpPr>
        <p:spPr>
          <a:xfrm>
            <a:off x="2249828" y="2261057"/>
            <a:ext cx="1068373" cy="230832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Волинська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2305814" y="2415704"/>
            <a:ext cx="671164" cy="18676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2770">
              <a:defRPr/>
            </a:pPr>
            <a:r>
              <a:rPr lang="uk-UA" sz="1000" dirty="0">
                <a:solidFill>
                  <a:prstClr val="white"/>
                </a:solidFill>
              </a:rPr>
              <a:t>7 (28) </a:t>
            </a:r>
            <a:endParaRPr lang="ru-RU" sz="1000" dirty="0">
              <a:solidFill>
                <a:prstClr val="white"/>
              </a:solidFill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2311533" y="2576366"/>
            <a:ext cx="666850" cy="179244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2770">
              <a:defRPr/>
            </a:pPr>
            <a:r>
              <a:rPr lang="uk-UA" sz="1000" dirty="0">
                <a:solidFill>
                  <a:prstClr val="white"/>
                </a:solidFill>
              </a:rPr>
              <a:t>8 (32) </a:t>
            </a:r>
            <a:endParaRPr lang="ru-RU" sz="1000" dirty="0">
              <a:solidFill>
                <a:prstClr val="white"/>
              </a:solidFill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2310770" y="2706381"/>
            <a:ext cx="656978" cy="161325"/>
          </a:xfrm>
          <a:prstGeom prst="rect">
            <a:avLst/>
          </a:prstGeom>
          <a:solidFill>
            <a:srgbClr val="FF0000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2770">
              <a:defRPr/>
            </a:pPr>
            <a:r>
              <a:rPr lang="ru-RU" sz="1000" dirty="0">
                <a:solidFill>
                  <a:prstClr val="white"/>
                </a:solidFill>
              </a:rPr>
              <a:t>2 (8)</a:t>
            </a:r>
          </a:p>
        </p:txBody>
      </p:sp>
      <p:sp>
        <p:nvSpPr>
          <p:cNvPr id="67" name="TextBox 168"/>
          <p:cNvSpPr txBox="1"/>
          <p:nvPr/>
        </p:nvSpPr>
        <p:spPr>
          <a:xfrm>
            <a:off x="3135965" y="2216717"/>
            <a:ext cx="1068373" cy="230832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Рівненська</a:t>
            </a:r>
          </a:p>
        </p:txBody>
      </p:sp>
      <p:grpSp>
        <p:nvGrpSpPr>
          <p:cNvPr id="69" name="Групувати 218"/>
          <p:cNvGrpSpPr/>
          <p:nvPr/>
        </p:nvGrpSpPr>
        <p:grpSpPr>
          <a:xfrm>
            <a:off x="3189335" y="2413621"/>
            <a:ext cx="579142" cy="497491"/>
            <a:chOff x="4505478" y="2715485"/>
            <a:chExt cx="579142" cy="497491"/>
          </a:xfrm>
        </p:grpSpPr>
        <p:sp>
          <p:nvSpPr>
            <p:cNvPr id="70" name="Прямоугольник 69"/>
            <p:cNvSpPr/>
            <p:nvPr/>
          </p:nvSpPr>
          <p:spPr>
            <a:xfrm>
              <a:off x="4515593" y="2715485"/>
              <a:ext cx="555485" cy="182043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uk-UA" sz="1000" dirty="0">
                  <a:solidFill>
                    <a:prstClr val="white"/>
                  </a:solidFill>
                </a:rPr>
                <a:t>14 (43) </a:t>
              </a:r>
              <a:endParaRPr lang="ru-RU" sz="1000" dirty="0">
                <a:solidFill>
                  <a:prstClr val="white"/>
                </a:solidFill>
              </a:endParaRPr>
            </a:p>
          </p:txBody>
        </p:sp>
        <p:sp>
          <p:nvSpPr>
            <p:cNvPr id="71" name="Прямоугольник 70"/>
            <p:cNvSpPr/>
            <p:nvPr/>
          </p:nvSpPr>
          <p:spPr>
            <a:xfrm>
              <a:off x="4507649" y="2869217"/>
              <a:ext cx="576971" cy="19028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uk-UA" sz="1000" dirty="0">
                  <a:solidFill>
                    <a:prstClr val="white"/>
                  </a:solidFill>
                </a:rPr>
                <a:t>4 (24) </a:t>
              </a:r>
              <a:endParaRPr lang="ru-RU" sz="1000" dirty="0">
                <a:solidFill>
                  <a:prstClr val="white"/>
                </a:solidFill>
              </a:endParaRPr>
            </a:p>
          </p:txBody>
        </p:sp>
        <p:sp>
          <p:nvSpPr>
            <p:cNvPr id="72" name="Прямоугольник 71"/>
            <p:cNvSpPr/>
            <p:nvPr/>
          </p:nvSpPr>
          <p:spPr>
            <a:xfrm>
              <a:off x="4505478" y="3036689"/>
              <a:ext cx="575714" cy="176287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uk-UA" sz="1000" dirty="0">
                  <a:solidFill>
                    <a:prstClr val="white"/>
                  </a:solidFill>
                </a:rPr>
                <a:t>2 (14)</a:t>
              </a:r>
              <a:endParaRPr lang="ru-RU" sz="1000" dirty="0">
                <a:solidFill>
                  <a:prstClr val="white"/>
                </a:solidFill>
              </a:endParaRPr>
            </a:p>
          </p:txBody>
        </p:sp>
      </p:grpSp>
      <p:sp>
        <p:nvSpPr>
          <p:cNvPr id="73" name="TextBox 169"/>
          <p:cNvSpPr txBox="1"/>
          <p:nvPr/>
        </p:nvSpPr>
        <p:spPr>
          <a:xfrm>
            <a:off x="3962119" y="2460147"/>
            <a:ext cx="93727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Житомирська</a:t>
            </a:r>
          </a:p>
        </p:txBody>
      </p:sp>
      <p:grpSp>
        <p:nvGrpSpPr>
          <p:cNvPr id="74" name="Групувати 131"/>
          <p:cNvGrpSpPr/>
          <p:nvPr/>
        </p:nvGrpSpPr>
        <p:grpSpPr>
          <a:xfrm>
            <a:off x="4090376" y="2644676"/>
            <a:ext cx="575714" cy="353475"/>
            <a:chOff x="4505478" y="2715485"/>
            <a:chExt cx="575714" cy="353475"/>
          </a:xfrm>
        </p:grpSpPr>
        <p:sp>
          <p:nvSpPr>
            <p:cNvPr id="75" name="Прямоугольник 74"/>
            <p:cNvSpPr/>
            <p:nvPr/>
          </p:nvSpPr>
          <p:spPr>
            <a:xfrm>
              <a:off x="4515593" y="2715485"/>
              <a:ext cx="555485" cy="182043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uk-UA" sz="1000" dirty="0">
                  <a:solidFill>
                    <a:prstClr val="white"/>
                  </a:solidFill>
                </a:rPr>
                <a:t>10 (54) </a:t>
              </a:r>
              <a:endParaRPr lang="ru-RU" sz="1000" dirty="0">
                <a:solidFill>
                  <a:prstClr val="white"/>
                </a:solidFill>
              </a:endParaRPr>
            </a:p>
          </p:txBody>
        </p:sp>
        <p:sp>
          <p:nvSpPr>
            <p:cNvPr id="76" name="Прямоугольник 75"/>
            <p:cNvSpPr/>
            <p:nvPr/>
          </p:nvSpPr>
          <p:spPr>
            <a:xfrm>
              <a:off x="4505478" y="2892673"/>
              <a:ext cx="575714" cy="17628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uk-UA" sz="1000" dirty="0">
                  <a:solidFill>
                    <a:prstClr val="white"/>
                  </a:solidFill>
                </a:rPr>
                <a:t>22 (156) </a:t>
              </a:r>
              <a:endParaRPr lang="ru-RU" sz="1000" dirty="0">
                <a:solidFill>
                  <a:prstClr val="white"/>
                </a:solidFill>
              </a:endParaRPr>
            </a:p>
          </p:txBody>
        </p:sp>
      </p:grpSp>
      <p:sp>
        <p:nvSpPr>
          <p:cNvPr id="77" name="TextBox 176"/>
          <p:cNvSpPr txBox="1"/>
          <p:nvPr/>
        </p:nvSpPr>
        <p:spPr>
          <a:xfrm>
            <a:off x="4857064" y="2712162"/>
            <a:ext cx="687901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Київська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5162029" y="3133701"/>
            <a:ext cx="560964" cy="24641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2770">
              <a:defRPr/>
            </a:pPr>
            <a:r>
              <a:rPr lang="uk-UA" sz="1000" dirty="0">
                <a:solidFill>
                  <a:prstClr val="white"/>
                </a:solidFill>
              </a:rPr>
              <a:t>2 (6) </a:t>
            </a:r>
            <a:endParaRPr lang="ru-RU" sz="1000" dirty="0">
              <a:solidFill>
                <a:prstClr val="white"/>
              </a:solidFill>
            </a:endParaRPr>
          </a:p>
        </p:txBody>
      </p:sp>
      <p:sp>
        <p:nvSpPr>
          <p:cNvPr id="79" name="Прямоугольник 78"/>
          <p:cNvSpPr/>
          <p:nvPr/>
        </p:nvSpPr>
        <p:spPr>
          <a:xfrm>
            <a:off x="5131061" y="3336849"/>
            <a:ext cx="575714" cy="176287"/>
          </a:xfrm>
          <a:prstGeom prst="rect">
            <a:avLst/>
          </a:prstGeom>
          <a:solidFill>
            <a:srgbClr val="FF0000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2770">
              <a:defRPr/>
            </a:pPr>
            <a:r>
              <a:rPr lang="ru-RU" sz="1000" dirty="0">
                <a:solidFill>
                  <a:prstClr val="white"/>
                </a:solidFill>
              </a:rPr>
              <a:t>1 (3)</a:t>
            </a:r>
          </a:p>
        </p:txBody>
      </p:sp>
      <p:sp>
        <p:nvSpPr>
          <p:cNvPr id="80" name="TextBox 185"/>
          <p:cNvSpPr txBox="1"/>
          <p:nvPr/>
        </p:nvSpPr>
        <p:spPr>
          <a:xfrm>
            <a:off x="5765381" y="2210174"/>
            <a:ext cx="91728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Чернігівська</a:t>
            </a:r>
          </a:p>
        </p:txBody>
      </p:sp>
      <p:grpSp>
        <p:nvGrpSpPr>
          <p:cNvPr id="81" name="Групувати 254"/>
          <p:cNvGrpSpPr/>
          <p:nvPr/>
        </p:nvGrpSpPr>
        <p:grpSpPr>
          <a:xfrm>
            <a:off x="5895965" y="2411637"/>
            <a:ext cx="579142" cy="497491"/>
            <a:chOff x="4505478" y="2715485"/>
            <a:chExt cx="579142" cy="497491"/>
          </a:xfrm>
        </p:grpSpPr>
        <p:sp>
          <p:nvSpPr>
            <p:cNvPr id="82" name="Прямоугольник 81"/>
            <p:cNvSpPr/>
            <p:nvPr/>
          </p:nvSpPr>
          <p:spPr>
            <a:xfrm>
              <a:off x="4515593" y="2715485"/>
              <a:ext cx="555485" cy="182043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en-US" sz="1000" dirty="0">
                  <a:solidFill>
                    <a:prstClr val="white"/>
                  </a:solidFill>
                </a:rPr>
                <a:t>5</a:t>
              </a:r>
              <a:r>
                <a:rPr lang="uk-UA" sz="1000" dirty="0">
                  <a:solidFill>
                    <a:prstClr val="white"/>
                  </a:solidFill>
                </a:rPr>
                <a:t> (</a:t>
              </a:r>
              <a:r>
                <a:rPr lang="en-US" sz="1000" dirty="0">
                  <a:solidFill>
                    <a:prstClr val="white"/>
                  </a:solidFill>
                </a:rPr>
                <a:t>19</a:t>
              </a:r>
              <a:r>
                <a:rPr lang="uk-UA" sz="1000" dirty="0">
                  <a:solidFill>
                    <a:prstClr val="white"/>
                  </a:solidFill>
                </a:rPr>
                <a:t>) </a:t>
              </a:r>
              <a:endParaRPr lang="ru-RU" sz="1000" dirty="0">
                <a:solidFill>
                  <a:prstClr val="white"/>
                </a:solidFill>
              </a:endParaRPr>
            </a:p>
          </p:txBody>
        </p:sp>
        <p:sp>
          <p:nvSpPr>
            <p:cNvPr id="83" name="Прямоугольник 82"/>
            <p:cNvSpPr/>
            <p:nvPr/>
          </p:nvSpPr>
          <p:spPr>
            <a:xfrm>
              <a:off x="4507649" y="2869217"/>
              <a:ext cx="576971" cy="19028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uk-UA" sz="1000" dirty="0">
                  <a:solidFill>
                    <a:prstClr val="white"/>
                  </a:solidFill>
                </a:rPr>
                <a:t>11 (89) </a:t>
              </a:r>
              <a:endParaRPr lang="ru-RU" sz="1000" dirty="0">
                <a:solidFill>
                  <a:prstClr val="white"/>
                </a:solidFill>
              </a:endParaRPr>
            </a:p>
          </p:txBody>
        </p:sp>
        <p:sp>
          <p:nvSpPr>
            <p:cNvPr id="84" name="Прямоугольник 83"/>
            <p:cNvSpPr/>
            <p:nvPr/>
          </p:nvSpPr>
          <p:spPr>
            <a:xfrm>
              <a:off x="4505478" y="3036689"/>
              <a:ext cx="575714" cy="176287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ru-RU" sz="1000" dirty="0">
                  <a:solidFill>
                    <a:prstClr val="white"/>
                  </a:solidFill>
                </a:rPr>
                <a:t>1 (5)</a:t>
              </a:r>
            </a:p>
          </p:txBody>
        </p:sp>
      </p:grpSp>
      <p:sp>
        <p:nvSpPr>
          <p:cNvPr id="85" name="TextBox 186"/>
          <p:cNvSpPr txBox="1"/>
          <p:nvPr/>
        </p:nvSpPr>
        <p:spPr>
          <a:xfrm>
            <a:off x="6732067" y="2299115"/>
            <a:ext cx="1475733" cy="230832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Сумська</a:t>
            </a:r>
          </a:p>
        </p:txBody>
      </p:sp>
      <p:grpSp>
        <p:nvGrpSpPr>
          <p:cNvPr id="86" name="Групувати 222"/>
          <p:cNvGrpSpPr/>
          <p:nvPr/>
        </p:nvGrpSpPr>
        <p:grpSpPr>
          <a:xfrm>
            <a:off x="6798202" y="2472805"/>
            <a:ext cx="575714" cy="360040"/>
            <a:chOff x="4505478" y="2715485"/>
            <a:chExt cx="575714" cy="360040"/>
          </a:xfrm>
        </p:grpSpPr>
        <p:sp>
          <p:nvSpPr>
            <p:cNvPr id="87" name="Прямоугольник 86"/>
            <p:cNvSpPr/>
            <p:nvPr/>
          </p:nvSpPr>
          <p:spPr>
            <a:xfrm>
              <a:off x="4515593" y="2715485"/>
              <a:ext cx="555485" cy="182043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uk-UA" sz="1000" dirty="0">
                  <a:solidFill>
                    <a:prstClr val="white"/>
                  </a:solidFill>
                </a:rPr>
                <a:t>1 (8) </a:t>
              </a:r>
              <a:endParaRPr lang="ru-RU" sz="1000" dirty="0">
                <a:solidFill>
                  <a:prstClr val="white"/>
                </a:solidFill>
              </a:endParaRPr>
            </a:p>
          </p:txBody>
        </p:sp>
        <p:sp>
          <p:nvSpPr>
            <p:cNvPr id="88" name="Прямоугольник 87"/>
            <p:cNvSpPr/>
            <p:nvPr/>
          </p:nvSpPr>
          <p:spPr>
            <a:xfrm>
              <a:off x="4505478" y="2899238"/>
              <a:ext cx="575714" cy="17628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uk-UA" sz="1000" dirty="0">
                  <a:solidFill>
                    <a:prstClr val="white"/>
                  </a:solidFill>
                </a:rPr>
                <a:t>1</a:t>
              </a:r>
              <a:r>
                <a:rPr lang="en-US" sz="1000" dirty="0">
                  <a:solidFill>
                    <a:prstClr val="white"/>
                  </a:solidFill>
                </a:rPr>
                <a:t>4</a:t>
              </a:r>
              <a:r>
                <a:rPr lang="uk-UA" sz="1000" dirty="0">
                  <a:solidFill>
                    <a:prstClr val="white"/>
                  </a:solidFill>
                </a:rPr>
                <a:t> (</a:t>
              </a:r>
              <a:r>
                <a:rPr lang="en-US" sz="1000" dirty="0">
                  <a:solidFill>
                    <a:prstClr val="white"/>
                  </a:solidFill>
                </a:rPr>
                <a:t>6</a:t>
              </a:r>
              <a:r>
                <a:rPr lang="uk-UA" sz="1000" dirty="0">
                  <a:solidFill>
                    <a:prstClr val="white"/>
                  </a:solidFill>
                </a:rPr>
                <a:t>6) </a:t>
              </a:r>
              <a:endParaRPr lang="ru-RU" sz="1000" dirty="0">
                <a:solidFill>
                  <a:prstClr val="white"/>
                </a:solidFill>
              </a:endParaRPr>
            </a:p>
          </p:txBody>
        </p:sp>
      </p:grpSp>
      <p:sp>
        <p:nvSpPr>
          <p:cNvPr id="89" name="Прямоугольник 88"/>
          <p:cNvSpPr/>
          <p:nvPr/>
        </p:nvSpPr>
        <p:spPr>
          <a:xfrm>
            <a:off x="6818033" y="2815912"/>
            <a:ext cx="576245" cy="169392"/>
          </a:xfrm>
          <a:prstGeom prst="rect">
            <a:avLst/>
          </a:prstGeom>
          <a:solidFill>
            <a:srgbClr val="FF0000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2770">
              <a:defRPr/>
            </a:pPr>
            <a:r>
              <a:rPr lang="ru-RU" sz="1000" dirty="0">
                <a:solidFill>
                  <a:prstClr val="white"/>
                </a:solidFill>
              </a:rPr>
              <a:t>1 (3)</a:t>
            </a:r>
          </a:p>
        </p:txBody>
      </p:sp>
      <p:sp>
        <p:nvSpPr>
          <p:cNvPr id="90" name="TextBox 188"/>
          <p:cNvSpPr txBox="1"/>
          <p:nvPr/>
        </p:nvSpPr>
        <p:spPr>
          <a:xfrm>
            <a:off x="9427352" y="3015250"/>
            <a:ext cx="787101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Луганська</a:t>
            </a:r>
          </a:p>
        </p:txBody>
      </p:sp>
      <p:sp>
        <p:nvSpPr>
          <p:cNvPr id="91" name="Прямоугольник 90"/>
          <p:cNvSpPr/>
          <p:nvPr/>
        </p:nvSpPr>
        <p:spPr>
          <a:xfrm>
            <a:off x="9507280" y="3205989"/>
            <a:ext cx="555485" cy="18204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2770">
              <a:defRPr/>
            </a:pPr>
            <a:r>
              <a:rPr lang="uk-UA" sz="1000" dirty="0">
                <a:solidFill>
                  <a:prstClr val="white"/>
                </a:solidFill>
              </a:rPr>
              <a:t>2 (10) </a:t>
            </a:r>
            <a:endParaRPr lang="ru-RU" sz="1000" dirty="0">
              <a:solidFill>
                <a:prstClr val="white"/>
              </a:solidFill>
            </a:endParaRPr>
          </a:p>
        </p:txBody>
      </p:sp>
      <p:sp>
        <p:nvSpPr>
          <p:cNvPr id="92" name="Прямоугольник 91"/>
          <p:cNvSpPr/>
          <p:nvPr/>
        </p:nvSpPr>
        <p:spPr>
          <a:xfrm>
            <a:off x="9531568" y="3383197"/>
            <a:ext cx="555485" cy="182043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2770">
              <a:defRPr/>
            </a:pPr>
            <a:r>
              <a:rPr lang="uk-UA" sz="1000" dirty="0">
                <a:solidFill>
                  <a:prstClr val="white"/>
                </a:solidFill>
              </a:rPr>
              <a:t>1 (3) </a:t>
            </a:r>
            <a:endParaRPr lang="ru-RU" sz="1000" dirty="0">
              <a:solidFill>
                <a:prstClr val="white"/>
              </a:solidFill>
            </a:endParaRPr>
          </a:p>
        </p:txBody>
      </p:sp>
      <p:sp>
        <p:nvSpPr>
          <p:cNvPr id="93" name="TextBox 187"/>
          <p:cNvSpPr txBox="1"/>
          <p:nvPr/>
        </p:nvSpPr>
        <p:spPr>
          <a:xfrm>
            <a:off x="8128189" y="3048951"/>
            <a:ext cx="81308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Харківська</a:t>
            </a:r>
          </a:p>
        </p:txBody>
      </p:sp>
      <p:grpSp>
        <p:nvGrpSpPr>
          <p:cNvPr id="94" name="Групувати 230"/>
          <p:cNvGrpSpPr/>
          <p:nvPr/>
        </p:nvGrpSpPr>
        <p:grpSpPr>
          <a:xfrm>
            <a:off x="8218211" y="3256509"/>
            <a:ext cx="576971" cy="344018"/>
            <a:chOff x="4507649" y="2715485"/>
            <a:chExt cx="576971" cy="344018"/>
          </a:xfrm>
        </p:grpSpPr>
        <p:sp>
          <p:nvSpPr>
            <p:cNvPr id="95" name="Прямоугольник 94"/>
            <p:cNvSpPr/>
            <p:nvPr/>
          </p:nvSpPr>
          <p:spPr>
            <a:xfrm>
              <a:off x="4515593" y="2715485"/>
              <a:ext cx="555485" cy="182043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en-US" sz="1000" dirty="0">
                  <a:solidFill>
                    <a:prstClr val="white"/>
                  </a:solidFill>
                </a:rPr>
                <a:t>3</a:t>
              </a:r>
              <a:r>
                <a:rPr lang="uk-UA" sz="1000" dirty="0">
                  <a:solidFill>
                    <a:prstClr val="white"/>
                  </a:solidFill>
                </a:rPr>
                <a:t> (</a:t>
              </a:r>
              <a:r>
                <a:rPr lang="en-US" sz="1000" dirty="0">
                  <a:solidFill>
                    <a:prstClr val="white"/>
                  </a:solidFill>
                </a:rPr>
                <a:t>14</a:t>
              </a:r>
              <a:r>
                <a:rPr lang="uk-UA" sz="1000" dirty="0">
                  <a:solidFill>
                    <a:prstClr val="white"/>
                  </a:solidFill>
                </a:rPr>
                <a:t>) </a:t>
              </a:r>
              <a:endParaRPr lang="ru-RU" sz="1000" dirty="0">
                <a:solidFill>
                  <a:prstClr val="white"/>
                </a:solidFill>
              </a:endParaRPr>
            </a:p>
          </p:txBody>
        </p:sp>
        <p:sp>
          <p:nvSpPr>
            <p:cNvPr id="96" name="Прямоугольник 95"/>
            <p:cNvSpPr/>
            <p:nvPr/>
          </p:nvSpPr>
          <p:spPr>
            <a:xfrm>
              <a:off x="4507649" y="2869217"/>
              <a:ext cx="576971" cy="19028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en-US" sz="1000" dirty="0">
                  <a:solidFill>
                    <a:prstClr val="white"/>
                  </a:solidFill>
                </a:rPr>
                <a:t>1</a:t>
              </a:r>
              <a:r>
                <a:rPr lang="uk-UA" sz="1000" dirty="0">
                  <a:solidFill>
                    <a:prstClr val="white"/>
                  </a:solidFill>
                </a:rPr>
                <a:t> (</a:t>
              </a:r>
              <a:r>
                <a:rPr lang="en-US" sz="1000" dirty="0">
                  <a:solidFill>
                    <a:prstClr val="white"/>
                  </a:solidFill>
                </a:rPr>
                <a:t>2</a:t>
              </a:r>
              <a:r>
                <a:rPr lang="uk-UA" sz="1000" dirty="0">
                  <a:solidFill>
                    <a:prstClr val="white"/>
                  </a:solidFill>
                </a:rPr>
                <a:t>) </a:t>
              </a:r>
              <a:endParaRPr lang="ru-RU" sz="1000" dirty="0">
                <a:solidFill>
                  <a:prstClr val="white"/>
                </a:solidFill>
              </a:endParaRPr>
            </a:p>
          </p:txBody>
        </p:sp>
      </p:grpSp>
      <p:sp>
        <p:nvSpPr>
          <p:cNvPr id="97" name="TextBox 184"/>
          <p:cNvSpPr txBox="1"/>
          <p:nvPr/>
        </p:nvSpPr>
        <p:spPr>
          <a:xfrm>
            <a:off x="6624712" y="3008743"/>
            <a:ext cx="808943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Полтавська</a:t>
            </a:r>
          </a:p>
        </p:txBody>
      </p:sp>
      <p:grpSp>
        <p:nvGrpSpPr>
          <p:cNvPr id="98" name="Групувати 214"/>
          <p:cNvGrpSpPr/>
          <p:nvPr/>
        </p:nvGrpSpPr>
        <p:grpSpPr>
          <a:xfrm>
            <a:off x="6802394" y="3211000"/>
            <a:ext cx="579142" cy="497491"/>
            <a:chOff x="4505478" y="2715485"/>
            <a:chExt cx="579142" cy="497491"/>
          </a:xfrm>
        </p:grpSpPr>
        <p:sp>
          <p:nvSpPr>
            <p:cNvPr id="99" name="Прямоугольник 98"/>
            <p:cNvSpPr/>
            <p:nvPr/>
          </p:nvSpPr>
          <p:spPr>
            <a:xfrm>
              <a:off x="4515593" y="2715485"/>
              <a:ext cx="555485" cy="182043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uk-UA" sz="1000" dirty="0">
                  <a:solidFill>
                    <a:prstClr val="white"/>
                  </a:solidFill>
                </a:rPr>
                <a:t>14 (50) </a:t>
              </a:r>
              <a:endParaRPr lang="ru-RU" sz="1000" dirty="0">
                <a:solidFill>
                  <a:prstClr val="white"/>
                </a:solidFill>
              </a:endParaRPr>
            </a:p>
          </p:txBody>
        </p:sp>
        <p:sp>
          <p:nvSpPr>
            <p:cNvPr id="100" name="Прямоугольник 99"/>
            <p:cNvSpPr/>
            <p:nvPr/>
          </p:nvSpPr>
          <p:spPr>
            <a:xfrm>
              <a:off x="4507649" y="2869217"/>
              <a:ext cx="576971" cy="19028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uk-UA" sz="1000" dirty="0">
                  <a:solidFill>
                    <a:prstClr val="white"/>
                  </a:solidFill>
                </a:rPr>
                <a:t>4 (18) </a:t>
              </a:r>
              <a:endParaRPr lang="ru-RU" sz="1000" dirty="0">
                <a:solidFill>
                  <a:prstClr val="white"/>
                </a:solidFill>
              </a:endParaRPr>
            </a:p>
          </p:txBody>
        </p:sp>
        <p:sp>
          <p:nvSpPr>
            <p:cNvPr id="101" name="Прямоугольник 100"/>
            <p:cNvSpPr/>
            <p:nvPr/>
          </p:nvSpPr>
          <p:spPr>
            <a:xfrm>
              <a:off x="4505478" y="3036689"/>
              <a:ext cx="575714" cy="176287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ru-RU" sz="1000" dirty="0">
                  <a:solidFill>
                    <a:prstClr val="white"/>
                  </a:solidFill>
                </a:rPr>
                <a:t>3 (6)</a:t>
              </a:r>
            </a:p>
          </p:txBody>
        </p:sp>
      </p:grpSp>
      <p:sp>
        <p:nvSpPr>
          <p:cNvPr id="102" name="TextBox 189"/>
          <p:cNvSpPr txBox="1"/>
          <p:nvPr/>
        </p:nvSpPr>
        <p:spPr>
          <a:xfrm>
            <a:off x="8728948" y="3648432"/>
            <a:ext cx="738084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Донецька</a:t>
            </a:r>
          </a:p>
        </p:txBody>
      </p:sp>
      <p:grpSp>
        <p:nvGrpSpPr>
          <p:cNvPr id="103" name="Групувати 125"/>
          <p:cNvGrpSpPr/>
          <p:nvPr/>
        </p:nvGrpSpPr>
        <p:grpSpPr>
          <a:xfrm>
            <a:off x="8791944" y="3857286"/>
            <a:ext cx="575714" cy="345214"/>
            <a:chOff x="4505478" y="2715485"/>
            <a:chExt cx="575714" cy="345214"/>
          </a:xfrm>
        </p:grpSpPr>
        <p:sp>
          <p:nvSpPr>
            <p:cNvPr id="104" name="Прямоугольник 103"/>
            <p:cNvSpPr/>
            <p:nvPr/>
          </p:nvSpPr>
          <p:spPr>
            <a:xfrm>
              <a:off x="4515593" y="2715485"/>
              <a:ext cx="555485" cy="182043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uk-UA" sz="1000" dirty="0">
                  <a:solidFill>
                    <a:prstClr val="white"/>
                  </a:solidFill>
                </a:rPr>
                <a:t>3 (20) </a:t>
              </a:r>
              <a:endParaRPr lang="ru-RU" sz="1000" dirty="0">
                <a:solidFill>
                  <a:prstClr val="white"/>
                </a:solidFill>
              </a:endParaRPr>
            </a:p>
          </p:txBody>
        </p:sp>
        <p:sp>
          <p:nvSpPr>
            <p:cNvPr id="105" name="Прямоугольник 104"/>
            <p:cNvSpPr/>
            <p:nvPr/>
          </p:nvSpPr>
          <p:spPr>
            <a:xfrm>
              <a:off x="4505478" y="2884412"/>
              <a:ext cx="575714" cy="17628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uk-UA" sz="1000" dirty="0">
                  <a:solidFill>
                    <a:prstClr val="white"/>
                  </a:solidFill>
                </a:rPr>
                <a:t>3 (23) </a:t>
              </a:r>
              <a:endParaRPr lang="ru-RU" sz="1000" dirty="0">
                <a:solidFill>
                  <a:prstClr val="white"/>
                </a:solidFill>
              </a:endParaRPr>
            </a:p>
          </p:txBody>
        </p:sp>
      </p:grpSp>
      <p:sp>
        <p:nvSpPr>
          <p:cNvPr id="106" name="Прямоугольник 105"/>
          <p:cNvSpPr/>
          <p:nvPr/>
        </p:nvSpPr>
        <p:spPr>
          <a:xfrm>
            <a:off x="8800410" y="4192158"/>
            <a:ext cx="575714" cy="176287"/>
          </a:xfrm>
          <a:prstGeom prst="rect">
            <a:avLst/>
          </a:prstGeom>
          <a:solidFill>
            <a:srgbClr val="FF0000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2770">
              <a:defRPr/>
            </a:pPr>
            <a:r>
              <a:rPr lang="ru-RU" sz="1000" dirty="0">
                <a:solidFill>
                  <a:prstClr val="white"/>
                </a:solidFill>
              </a:rPr>
              <a:t>1 (6)</a:t>
            </a:r>
          </a:p>
        </p:txBody>
      </p:sp>
      <p:sp>
        <p:nvSpPr>
          <p:cNvPr id="107" name="TextBox 183"/>
          <p:cNvSpPr txBox="1"/>
          <p:nvPr/>
        </p:nvSpPr>
        <p:spPr>
          <a:xfrm>
            <a:off x="7307296" y="3720440"/>
            <a:ext cx="1136359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Дніпропетровська</a:t>
            </a:r>
          </a:p>
        </p:txBody>
      </p:sp>
      <p:grpSp>
        <p:nvGrpSpPr>
          <p:cNvPr id="108" name="Групувати 121"/>
          <p:cNvGrpSpPr/>
          <p:nvPr/>
        </p:nvGrpSpPr>
        <p:grpSpPr>
          <a:xfrm>
            <a:off x="7242909" y="3932437"/>
            <a:ext cx="579142" cy="497491"/>
            <a:chOff x="4505478" y="2715485"/>
            <a:chExt cx="579142" cy="497491"/>
          </a:xfrm>
        </p:grpSpPr>
        <p:sp>
          <p:nvSpPr>
            <p:cNvPr id="109" name="Прямоугольник 108"/>
            <p:cNvSpPr/>
            <p:nvPr/>
          </p:nvSpPr>
          <p:spPr>
            <a:xfrm>
              <a:off x="4515593" y="2715485"/>
              <a:ext cx="555485" cy="182043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uk-UA" sz="1000" dirty="0">
                  <a:solidFill>
                    <a:prstClr val="white"/>
                  </a:solidFill>
                </a:rPr>
                <a:t>16 (45) </a:t>
              </a:r>
              <a:endParaRPr lang="ru-RU" sz="1000" dirty="0">
                <a:solidFill>
                  <a:prstClr val="white"/>
                </a:solidFill>
              </a:endParaRPr>
            </a:p>
          </p:txBody>
        </p:sp>
        <p:sp>
          <p:nvSpPr>
            <p:cNvPr id="110" name="Прямоугольник 109"/>
            <p:cNvSpPr/>
            <p:nvPr/>
          </p:nvSpPr>
          <p:spPr>
            <a:xfrm>
              <a:off x="4507649" y="2869217"/>
              <a:ext cx="576971" cy="19028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uk-UA" sz="1000" dirty="0">
                  <a:solidFill>
                    <a:prstClr val="white"/>
                  </a:solidFill>
                </a:rPr>
                <a:t>18 (50) </a:t>
              </a:r>
              <a:endParaRPr lang="ru-RU" sz="1000" dirty="0">
                <a:solidFill>
                  <a:prstClr val="white"/>
                </a:solidFill>
              </a:endParaRPr>
            </a:p>
          </p:txBody>
        </p:sp>
        <p:sp>
          <p:nvSpPr>
            <p:cNvPr id="111" name="Прямоугольник 110"/>
            <p:cNvSpPr/>
            <p:nvPr/>
          </p:nvSpPr>
          <p:spPr>
            <a:xfrm>
              <a:off x="4505478" y="3036689"/>
              <a:ext cx="575714" cy="176287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ru-RU" sz="1000" dirty="0">
                  <a:solidFill>
                    <a:prstClr val="white"/>
                  </a:solidFill>
                </a:rPr>
                <a:t>2 (4)</a:t>
              </a:r>
            </a:p>
          </p:txBody>
        </p:sp>
      </p:grpSp>
      <p:sp>
        <p:nvSpPr>
          <p:cNvPr id="112" name="TextBox 181"/>
          <p:cNvSpPr txBox="1"/>
          <p:nvPr/>
        </p:nvSpPr>
        <p:spPr>
          <a:xfrm>
            <a:off x="7885509" y="4235112"/>
            <a:ext cx="81231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Запорізька</a:t>
            </a:r>
          </a:p>
        </p:txBody>
      </p:sp>
      <p:grpSp>
        <p:nvGrpSpPr>
          <p:cNvPr id="113" name="Групувати 142"/>
          <p:cNvGrpSpPr/>
          <p:nvPr/>
        </p:nvGrpSpPr>
        <p:grpSpPr>
          <a:xfrm>
            <a:off x="8007575" y="4476535"/>
            <a:ext cx="576971" cy="344018"/>
            <a:chOff x="4507649" y="2715485"/>
            <a:chExt cx="576971" cy="344018"/>
          </a:xfrm>
        </p:grpSpPr>
        <p:sp>
          <p:nvSpPr>
            <p:cNvPr id="114" name="Прямоугольник 113"/>
            <p:cNvSpPr/>
            <p:nvPr/>
          </p:nvSpPr>
          <p:spPr>
            <a:xfrm>
              <a:off x="4515593" y="2715485"/>
              <a:ext cx="555485" cy="182043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uk-UA" sz="1000" dirty="0">
                  <a:solidFill>
                    <a:prstClr val="white"/>
                  </a:solidFill>
                </a:rPr>
                <a:t>7 (23) </a:t>
              </a:r>
              <a:endParaRPr lang="ru-RU" sz="1000" dirty="0">
                <a:solidFill>
                  <a:prstClr val="white"/>
                </a:solidFill>
              </a:endParaRPr>
            </a:p>
          </p:txBody>
        </p:sp>
        <p:sp>
          <p:nvSpPr>
            <p:cNvPr id="115" name="Прямоугольник 114"/>
            <p:cNvSpPr/>
            <p:nvPr/>
          </p:nvSpPr>
          <p:spPr>
            <a:xfrm>
              <a:off x="4507649" y="2869217"/>
              <a:ext cx="576971" cy="19028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uk-UA" sz="1000" dirty="0">
                  <a:solidFill>
                    <a:prstClr val="white"/>
                  </a:solidFill>
                </a:rPr>
                <a:t>9 (27) </a:t>
              </a:r>
              <a:endParaRPr lang="ru-RU" sz="1000" dirty="0">
                <a:solidFill>
                  <a:prstClr val="white"/>
                </a:solidFill>
              </a:endParaRPr>
            </a:p>
          </p:txBody>
        </p:sp>
      </p:grpSp>
      <p:sp>
        <p:nvSpPr>
          <p:cNvPr id="116" name="TextBox 180"/>
          <p:cNvSpPr txBox="1"/>
          <p:nvPr/>
        </p:nvSpPr>
        <p:spPr>
          <a:xfrm>
            <a:off x="6721001" y="4498226"/>
            <a:ext cx="82926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Херсонська</a:t>
            </a:r>
          </a:p>
        </p:txBody>
      </p:sp>
      <p:grpSp>
        <p:nvGrpSpPr>
          <p:cNvPr id="117" name="Групувати 234"/>
          <p:cNvGrpSpPr/>
          <p:nvPr/>
        </p:nvGrpSpPr>
        <p:grpSpPr>
          <a:xfrm>
            <a:off x="6873213" y="4701222"/>
            <a:ext cx="555822" cy="503014"/>
            <a:chOff x="4505478" y="2715485"/>
            <a:chExt cx="579142" cy="497491"/>
          </a:xfrm>
        </p:grpSpPr>
        <p:sp>
          <p:nvSpPr>
            <p:cNvPr id="118" name="Прямоугольник 117"/>
            <p:cNvSpPr/>
            <p:nvPr/>
          </p:nvSpPr>
          <p:spPr>
            <a:xfrm>
              <a:off x="4515593" y="2715485"/>
              <a:ext cx="555485" cy="182043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en-US" sz="900" dirty="0">
                  <a:solidFill>
                    <a:prstClr val="white"/>
                  </a:solidFill>
                </a:rPr>
                <a:t>1</a:t>
              </a:r>
              <a:r>
                <a:rPr lang="uk-UA" sz="900" dirty="0">
                  <a:solidFill>
                    <a:prstClr val="white"/>
                  </a:solidFill>
                </a:rPr>
                <a:t> (</a:t>
              </a:r>
              <a:r>
                <a:rPr lang="en-US" sz="900" dirty="0">
                  <a:solidFill>
                    <a:prstClr val="white"/>
                  </a:solidFill>
                </a:rPr>
                <a:t>4</a:t>
              </a:r>
              <a:r>
                <a:rPr lang="uk-UA" sz="900" dirty="0">
                  <a:solidFill>
                    <a:prstClr val="white"/>
                  </a:solidFill>
                </a:rPr>
                <a:t>) </a:t>
              </a:r>
              <a:endParaRPr lang="ru-RU" sz="900" dirty="0">
                <a:solidFill>
                  <a:prstClr val="white"/>
                </a:solidFill>
              </a:endParaRPr>
            </a:p>
          </p:txBody>
        </p:sp>
        <p:sp>
          <p:nvSpPr>
            <p:cNvPr id="119" name="Прямоугольник 118"/>
            <p:cNvSpPr/>
            <p:nvPr/>
          </p:nvSpPr>
          <p:spPr>
            <a:xfrm>
              <a:off x="4507649" y="2869217"/>
              <a:ext cx="576971" cy="19028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uk-UA" sz="900" dirty="0">
                  <a:solidFill>
                    <a:prstClr val="white"/>
                  </a:solidFill>
                </a:rPr>
                <a:t>11 (39) </a:t>
              </a:r>
              <a:endParaRPr lang="ru-RU" sz="900" dirty="0">
                <a:solidFill>
                  <a:prstClr val="white"/>
                </a:solidFill>
              </a:endParaRPr>
            </a:p>
          </p:txBody>
        </p:sp>
        <p:sp>
          <p:nvSpPr>
            <p:cNvPr id="120" name="Прямоугольник 119"/>
            <p:cNvSpPr/>
            <p:nvPr/>
          </p:nvSpPr>
          <p:spPr>
            <a:xfrm>
              <a:off x="4505478" y="3036689"/>
              <a:ext cx="575714" cy="176287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ru-RU" sz="900" dirty="0">
                  <a:solidFill>
                    <a:prstClr val="white"/>
                  </a:solidFill>
                </a:rPr>
                <a:t>1 (3)</a:t>
              </a:r>
            </a:p>
          </p:txBody>
        </p:sp>
      </p:grpSp>
      <p:sp>
        <p:nvSpPr>
          <p:cNvPr id="121" name="TextBox 182"/>
          <p:cNvSpPr txBox="1"/>
          <p:nvPr/>
        </p:nvSpPr>
        <p:spPr>
          <a:xfrm>
            <a:off x="6057662" y="3728906"/>
            <a:ext cx="993509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Кіровоградська</a:t>
            </a:r>
          </a:p>
        </p:txBody>
      </p:sp>
      <p:grpSp>
        <p:nvGrpSpPr>
          <p:cNvPr id="122" name="Групувати 194"/>
          <p:cNvGrpSpPr/>
          <p:nvPr/>
        </p:nvGrpSpPr>
        <p:grpSpPr>
          <a:xfrm>
            <a:off x="6225216" y="3890103"/>
            <a:ext cx="575714" cy="388889"/>
            <a:chOff x="4505478" y="2715485"/>
            <a:chExt cx="575714" cy="388889"/>
          </a:xfrm>
        </p:grpSpPr>
        <p:sp>
          <p:nvSpPr>
            <p:cNvPr id="123" name="Прямоугольник 122"/>
            <p:cNvSpPr/>
            <p:nvPr/>
          </p:nvSpPr>
          <p:spPr>
            <a:xfrm>
              <a:off x="4515593" y="2715485"/>
              <a:ext cx="555485" cy="182043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uk-UA" sz="1000" dirty="0">
                  <a:solidFill>
                    <a:prstClr val="white"/>
                  </a:solidFill>
                </a:rPr>
                <a:t>3 (9) </a:t>
              </a:r>
              <a:endParaRPr lang="ru-RU" sz="1000" dirty="0">
                <a:solidFill>
                  <a:prstClr val="white"/>
                </a:solidFill>
              </a:endParaRPr>
            </a:p>
          </p:txBody>
        </p:sp>
        <p:sp>
          <p:nvSpPr>
            <p:cNvPr id="124" name="Прямоугольник 123"/>
            <p:cNvSpPr/>
            <p:nvPr/>
          </p:nvSpPr>
          <p:spPr>
            <a:xfrm>
              <a:off x="4505478" y="2891036"/>
              <a:ext cx="575714" cy="21333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uk-UA" sz="1000" dirty="0">
                  <a:solidFill>
                    <a:prstClr val="white"/>
                  </a:solidFill>
                </a:rPr>
                <a:t>2 (7) </a:t>
              </a:r>
              <a:endParaRPr lang="ru-RU" sz="1000" dirty="0">
                <a:solidFill>
                  <a:prstClr val="white"/>
                </a:solidFill>
              </a:endParaRPr>
            </a:p>
          </p:txBody>
        </p:sp>
      </p:grpSp>
      <p:sp>
        <p:nvSpPr>
          <p:cNvPr id="125" name="Прямоугольник 124"/>
          <p:cNvSpPr/>
          <p:nvPr/>
        </p:nvSpPr>
        <p:spPr>
          <a:xfrm>
            <a:off x="5811397" y="3987958"/>
            <a:ext cx="575714" cy="176287"/>
          </a:xfrm>
          <a:prstGeom prst="rect">
            <a:avLst/>
          </a:prstGeom>
          <a:solidFill>
            <a:srgbClr val="FF0000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2770">
              <a:defRPr/>
            </a:pPr>
            <a:r>
              <a:rPr lang="ru-RU" sz="1000" dirty="0">
                <a:solidFill>
                  <a:prstClr val="white"/>
                </a:solidFill>
              </a:rPr>
              <a:t>1 (2)</a:t>
            </a:r>
          </a:p>
        </p:txBody>
      </p:sp>
      <p:sp>
        <p:nvSpPr>
          <p:cNvPr id="126" name="TextBox 177"/>
          <p:cNvSpPr txBox="1"/>
          <p:nvPr/>
        </p:nvSpPr>
        <p:spPr>
          <a:xfrm>
            <a:off x="5780427" y="3284117"/>
            <a:ext cx="777456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Черкаська</a:t>
            </a:r>
          </a:p>
        </p:txBody>
      </p:sp>
      <p:grpSp>
        <p:nvGrpSpPr>
          <p:cNvPr id="127" name="Групувати 242"/>
          <p:cNvGrpSpPr/>
          <p:nvPr/>
        </p:nvGrpSpPr>
        <p:grpSpPr>
          <a:xfrm>
            <a:off x="5743442" y="3471317"/>
            <a:ext cx="575714" cy="359081"/>
            <a:chOff x="4505478" y="2715485"/>
            <a:chExt cx="575714" cy="326438"/>
          </a:xfrm>
        </p:grpSpPr>
        <p:sp>
          <p:nvSpPr>
            <p:cNvPr id="128" name="Прямоугольник 127"/>
            <p:cNvSpPr/>
            <p:nvPr/>
          </p:nvSpPr>
          <p:spPr>
            <a:xfrm>
              <a:off x="4515593" y="2715485"/>
              <a:ext cx="555485" cy="182043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en-US" sz="1000" dirty="0">
                  <a:solidFill>
                    <a:prstClr val="white"/>
                  </a:solidFill>
                </a:rPr>
                <a:t>3</a:t>
              </a:r>
              <a:r>
                <a:rPr lang="uk-UA" sz="1000" dirty="0">
                  <a:solidFill>
                    <a:prstClr val="white"/>
                  </a:solidFill>
                </a:rPr>
                <a:t> (</a:t>
              </a:r>
              <a:r>
                <a:rPr lang="en-US" sz="1000" dirty="0">
                  <a:solidFill>
                    <a:prstClr val="white"/>
                  </a:solidFill>
                </a:rPr>
                <a:t>8</a:t>
              </a:r>
              <a:r>
                <a:rPr lang="uk-UA" sz="1000" dirty="0">
                  <a:solidFill>
                    <a:prstClr val="white"/>
                  </a:solidFill>
                </a:rPr>
                <a:t>) </a:t>
              </a:r>
              <a:endParaRPr lang="ru-RU" sz="1000" dirty="0">
                <a:solidFill>
                  <a:prstClr val="white"/>
                </a:solidFill>
              </a:endParaRPr>
            </a:p>
          </p:txBody>
        </p:sp>
        <p:sp>
          <p:nvSpPr>
            <p:cNvPr id="129" name="Прямоугольник 128"/>
            <p:cNvSpPr/>
            <p:nvPr/>
          </p:nvSpPr>
          <p:spPr>
            <a:xfrm>
              <a:off x="4505478" y="2865636"/>
              <a:ext cx="575714" cy="17628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en-US" sz="1000" dirty="0">
                  <a:solidFill>
                    <a:prstClr val="white"/>
                  </a:solidFill>
                </a:rPr>
                <a:t>3</a:t>
              </a:r>
              <a:r>
                <a:rPr lang="uk-UA" sz="1000" dirty="0">
                  <a:solidFill>
                    <a:prstClr val="white"/>
                  </a:solidFill>
                </a:rPr>
                <a:t> (</a:t>
              </a:r>
              <a:r>
                <a:rPr lang="en-US" sz="1000" dirty="0">
                  <a:solidFill>
                    <a:prstClr val="white"/>
                  </a:solidFill>
                </a:rPr>
                <a:t>1</a:t>
              </a:r>
              <a:r>
                <a:rPr lang="uk-UA" sz="1000" dirty="0">
                  <a:solidFill>
                    <a:prstClr val="white"/>
                  </a:solidFill>
                </a:rPr>
                <a:t>6) </a:t>
              </a:r>
              <a:endParaRPr lang="ru-RU" sz="1000" dirty="0">
                <a:solidFill>
                  <a:prstClr val="white"/>
                </a:solidFill>
              </a:endParaRPr>
            </a:p>
          </p:txBody>
        </p:sp>
      </p:grpSp>
      <p:sp>
        <p:nvSpPr>
          <p:cNvPr id="130" name="Прямоугольник 129"/>
          <p:cNvSpPr/>
          <p:nvPr/>
        </p:nvSpPr>
        <p:spPr>
          <a:xfrm>
            <a:off x="5281128" y="3693890"/>
            <a:ext cx="575714" cy="176287"/>
          </a:xfrm>
          <a:prstGeom prst="rect">
            <a:avLst/>
          </a:prstGeom>
          <a:solidFill>
            <a:srgbClr val="FF0000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2770">
              <a:defRPr/>
            </a:pPr>
            <a:r>
              <a:rPr lang="ru-RU" sz="1000" dirty="0">
                <a:solidFill>
                  <a:prstClr val="white"/>
                </a:solidFill>
              </a:rPr>
              <a:t>2 (8)</a:t>
            </a:r>
          </a:p>
        </p:txBody>
      </p:sp>
      <p:sp>
        <p:nvSpPr>
          <p:cNvPr id="131" name="TextBox 179"/>
          <p:cNvSpPr txBox="1"/>
          <p:nvPr/>
        </p:nvSpPr>
        <p:spPr>
          <a:xfrm>
            <a:off x="5551661" y="4288037"/>
            <a:ext cx="1007033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Миколаївська</a:t>
            </a:r>
          </a:p>
        </p:txBody>
      </p:sp>
      <p:grpSp>
        <p:nvGrpSpPr>
          <p:cNvPr id="132" name="Групувати 206"/>
          <p:cNvGrpSpPr/>
          <p:nvPr/>
        </p:nvGrpSpPr>
        <p:grpSpPr>
          <a:xfrm>
            <a:off x="5768800" y="4476535"/>
            <a:ext cx="579142" cy="497491"/>
            <a:chOff x="4505478" y="2715485"/>
            <a:chExt cx="579142" cy="497491"/>
          </a:xfrm>
        </p:grpSpPr>
        <p:sp>
          <p:nvSpPr>
            <p:cNvPr id="133" name="Прямоугольник 132"/>
            <p:cNvSpPr/>
            <p:nvPr/>
          </p:nvSpPr>
          <p:spPr>
            <a:xfrm>
              <a:off x="4515593" y="2715485"/>
              <a:ext cx="555485" cy="182043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uk-UA" sz="1000" dirty="0">
                  <a:solidFill>
                    <a:prstClr val="white"/>
                  </a:solidFill>
                </a:rPr>
                <a:t>1 (2) </a:t>
              </a:r>
              <a:endParaRPr lang="ru-RU" sz="1000" dirty="0">
                <a:solidFill>
                  <a:prstClr val="white"/>
                </a:solidFill>
              </a:endParaRPr>
            </a:p>
          </p:txBody>
        </p:sp>
        <p:sp>
          <p:nvSpPr>
            <p:cNvPr id="134" name="Прямоугольник 133"/>
            <p:cNvSpPr/>
            <p:nvPr/>
          </p:nvSpPr>
          <p:spPr>
            <a:xfrm>
              <a:off x="4507649" y="2869217"/>
              <a:ext cx="576971" cy="19028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uk-UA" sz="1000" dirty="0">
                  <a:solidFill>
                    <a:prstClr val="white"/>
                  </a:solidFill>
                </a:rPr>
                <a:t>19 (68) </a:t>
              </a:r>
              <a:endParaRPr lang="ru-RU" sz="1000" dirty="0">
                <a:solidFill>
                  <a:prstClr val="white"/>
                </a:solidFill>
              </a:endParaRPr>
            </a:p>
          </p:txBody>
        </p:sp>
        <p:sp>
          <p:nvSpPr>
            <p:cNvPr id="135" name="Прямоугольник 134"/>
            <p:cNvSpPr/>
            <p:nvPr/>
          </p:nvSpPr>
          <p:spPr>
            <a:xfrm>
              <a:off x="4505478" y="3036689"/>
              <a:ext cx="575714" cy="176287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ru-RU" sz="1000" dirty="0">
                  <a:solidFill>
                    <a:prstClr val="white"/>
                  </a:solidFill>
                </a:rPr>
                <a:t>1 (3)</a:t>
              </a:r>
            </a:p>
          </p:txBody>
        </p:sp>
      </p:grpSp>
      <p:sp>
        <p:nvSpPr>
          <p:cNvPr id="136" name="TextBox 178"/>
          <p:cNvSpPr txBox="1"/>
          <p:nvPr/>
        </p:nvSpPr>
        <p:spPr>
          <a:xfrm>
            <a:off x="4759573" y="4186437"/>
            <a:ext cx="67087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Одеська</a:t>
            </a:r>
          </a:p>
        </p:txBody>
      </p:sp>
      <p:grpSp>
        <p:nvGrpSpPr>
          <p:cNvPr id="137" name="Групувати 210"/>
          <p:cNvGrpSpPr/>
          <p:nvPr/>
        </p:nvGrpSpPr>
        <p:grpSpPr>
          <a:xfrm>
            <a:off x="4967001" y="4452949"/>
            <a:ext cx="590456" cy="486707"/>
            <a:chOff x="4497124" y="2679939"/>
            <a:chExt cx="590456" cy="486707"/>
          </a:xfrm>
        </p:grpSpPr>
        <p:sp>
          <p:nvSpPr>
            <p:cNvPr id="138" name="Прямоугольник 137"/>
            <p:cNvSpPr/>
            <p:nvPr/>
          </p:nvSpPr>
          <p:spPr>
            <a:xfrm>
              <a:off x="4505478" y="2679939"/>
              <a:ext cx="555485" cy="182043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uk-UA" sz="1000" dirty="0">
                  <a:solidFill>
                    <a:prstClr val="white"/>
                  </a:solidFill>
                </a:rPr>
                <a:t>8 (40) </a:t>
              </a:r>
              <a:endParaRPr lang="ru-RU" sz="1000" dirty="0">
                <a:solidFill>
                  <a:prstClr val="white"/>
                </a:solidFill>
              </a:endParaRPr>
            </a:p>
          </p:txBody>
        </p:sp>
        <p:sp>
          <p:nvSpPr>
            <p:cNvPr id="139" name="Прямоугольник 138"/>
            <p:cNvSpPr/>
            <p:nvPr/>
          </p:nvSpPr>
          <p:spPr>
            <a:xfrm>
              <a:off x="4497124" y="2842460"/>
              <a:ext cx="576971" cy="19028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uk-UA" sz="1000" dirty="0">
                  <a:solidFill>
                    <a:prstClr val="white"/>
                  </a:solidFill>
                </a:rPr>
                <a:t>3 (10) </a:t>
              </a:r>
              <a:endParaRPr lang="ru-RU" sz="1000" dirty="0">
                <a:solidFill>
                  <a:prstClr val="white"/>
                </a:solidFill>
              </a:endParaRPr>
            </a:p>
          </p:txBody>
        </p:sp>
        <p:sp>
          <p:nvSpPr>
            <p:cNvPr id="140" name="Прямоугольник 139"/>
            <p:cNvSpPr/>
            <p:nvPr/>
          </p:nvSpPr>
          <p:spPr>
            <a:xfrm>
              <a:off x="4511866" y="2990359"/>
              <a:ext cx="575714" cy="176287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ru-RU" sz="1000" dirty="0">
                  <a:solidFill>
                    <a:prstClr val="white"/>
                  </a:solidFill>
                </a:rPr>
                <a:t>2 (8)</a:t>
              </a:r>
            </a:p>
          </p:txBody>
        </p:sp>
      </p:grpSp>
      <p:sp>
        <p:nvSpPr>
          <p:cNvPr id="141" name="TextBox 175"/>
          <p:cNvSpPr txBox="1"/>
          <p:nvPr/>
        </p:nvSpPr>
        <p:spPr>
          <a:xfrm>
            <a:off x="4162302" y="3364592"/>
            <a:ext cx="74484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Вінницька</a:t>
            </a:r>
          </a:p>
        </p:txBody>
      </p:sp>
      <p:grpSp>
        <p:nvGrpSpPr>
          <p:cNvPr id="142" name="Групувати 2"/>
          <p:cNvGrpSpPr/>
          <p:nvPr/>
        </p:nvGrpSpPr>
        <p:grpSpPr>
          <a:xfrm>
            <a:off x="4274571" y="3601989"/>
            <a:ext cx="579142" cy="497491"/>
            <a:chOff x="4505478" y="2715485"/>
            <a:chExt cx="579142" cy="497491"/>
          </a:xfrm>
        </p:grpSpPr>
        <p:sp>
          <p:nvSpPr>
            <p:cNvPr id="143" name="Прямоугольник 142"/>
            <p:cNvSpPr/>
            <p:nvPr/>
          </p:nvSpPr>
          <p:spPr>
            <a:xfrm>
              <a:off x="4515593" y="2715485"/>
              <a:ext cx="555485" cy="182043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uk-UA" sz="1000" dirty="0">
                  <a:solidFill>
                    <a:prstClr val="white"/>
                  </a:solidFill>
                </a:rPr>
                <a:t>4 (14) </a:t>
              </a:r>
              <a:endParaRPr lang="ru-RU" sz="1000" dirty="0">
                <a:solidFill>
                  <a:prstClr val="white"/>
                </a:solidFill>
              </a:endParaRPr>
            </a:p>
          </p:txBody>
        </p:sp>
        <p:sp>
          <p:nvSpPr>
            <p:cNvPr id="144" name="Прямоугольник 143"/>
            <p:cNvSpPr/>
            <p:nvPr/>
          </p:nvSpPr>
          <p:spPr>
            <a:xfrm>
              <a:off x="4507649" y="2869217"/>
              <a:ext cx="576971" cy="19028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uk-UA" sz="1000" dirty="0">
                  <a:solidFill>
                    <a:prstClr val="white"/>
                  </a:solidFill>
                </a:rPr>
                <a:t>17 (53) </a:t>
              </a:r>
              <a:endParaRPr lang="ru-RU" sz="1000" dirty="0">
                <a:solidFill>
                  <a:prstClr val="white"/>
                </a:solidFill>
              </a:endParaRPr>
            </a:p>
          </p:txBody>
        </p:sp>
        <p:sp>
          <p:nvSpPr>
            <p:cNvPr id="145" name="Прямоугольник 144"/>
            <p:cNvSpPr/>
            <p:nvPr/>
          </p:nvSpPr>
          <p:spPr>
            <a:xfrm>
              <a:off x="4505478" y="3036689"/>
              <a:ext cx="575714" cy="176287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ru-RU" sz="1000" dirty="0">
                  <a:solidFill>
                    <a:prstClr val="white"/>
                  </a:solidFill>
                </a:rPr>
                <a:t>3 (10)</a:t>
              </a:r>
            </a:p>
          </p:txBody>
        </p:sp>
      </p:grpSp>
      <p:sp>
        <p:nvSpPr>
          <p:cNvPr id="146" name="TextBox 174"/>
          <p:cNvSpPr txBox="1"/>
          <p:nvPr/>
        </p:nvSpPr>
        <p:spPr>
          <a:xfrm>
            <a:off x="3246541" y="3053288"/>
            <a:ext cx="949414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Хмельницька</a:t>
            </a:r>
          </a:p>
        </p:txBody>
      </p:sp>
      <p:grpSp>
        <p:nvGrpSpPr>
          <p:cNvPr id="147" name="Групувати 238"/>
          <p:cNvGrpSpPr/>
          <p:nvPr/>
        </p:nvGrpSpPr>
        <p:grpSpPr>
          <a:xfrm>
            <a:off x="3374488" y="3250415"/>
            <a:ext cx="575714" cy="353475"/>
            <a:chOff x="4505478" y="2715485"/>
            <a:chExt cx="575714" cy="353475"/>
          </a:xfrm>
        </p:grpSpPr>
        <p:sp>
          <p:nvSpPr>
            <p:cNvPr id="148" name="Прямоугольник 147"/>
            <p:cNvSpPr/>
            <p:nvPr/>
          </p:nvSpPr>
          <p:spPr>
            <a:xfrm>
              <a:off x="4515593" y="2715485"/>
              <a:ext cx="555485" cy="182043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en-US" sz="1000" dirty="0">
                  <a:solidFill>
                    <a:prstClr val="white"/>
                  </a:solidFill>
                </a:rPr>
                <a:t>22</a:t>
              </a:r>
              <a:r>
                <a:rPr lang="uk-UA" sz="1000" dirty="0">
                  <a:solidFill>
                    <a:prstClr val="white"/>
                  </a:solidFill>
                </a:rPr>
                <a:t> (45) </a:t>
              </a:r>
              <a:endParaRPr lang="ru-RU" sz="1000" dirty="0">
                <a:solidFill>
                  <a:prstClr val="white"/>
                </a:solidFill>
              </a:endParaRPr>
            </a:p>
          </p:txBody>
        </p:sp>
        <p:sp>
          <p:nvSpPr>
            <p:cNvPr id="149" name="Прямоугольник 148"/>
            <p:cNvSpPr/>
            <p:nvPr/>
          </p:nvSpPr>
          <p:spPr>
            <a:xfrm>
              <a:off x="4505478" y="2892673"/>
              <a:ext cx="575714" cy="17628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uk-UA" sz="1000" dirty="0">
                  <a:solidFill>
                    <a:prstClr val="white"/>
                  </a:solidFill>
                </a:rPr>
                <a:t>4 (36) </a:t>
              </a:r>
              <a:endParaRPr lang="ru-RU" sz="1000" dirty="0">
                <a:solidFill>
                  <a:prstClr val="white"/>
                </a:solidFill>
              </a:endParaRPr>
            </a:p>
          </p:txBody>
        </p:sp>
      </p:grpSp>
      <p:sp>
        <p:nvSpPr>
          <p:cNvPr id="150" name="Прямоугольник 149"/>
          <p:cNvSpPr/>
          <p:nvPr/>
        </p:nvSpPr>
        <p:spPr>
          <a:xfrm>
            <a:off x="3388418" y="3580928"/>
            <a:ext cx="575714" cy="176287"/>
          </a:xfrm>
          <a:prstGeom prst="rect">
            <a:avLst/>
          </a:prstGeom>
          <a:solidFill>
            <a:srgbClr val="FF0000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2770">
              <a:defRPr/>
            </a:pPr>
            <a:r>
              <a:rPr lang="ru-RU" sz="1000" dirty="0">
                <a:solidFill>
                  <a:prstClr val="white"/>
                </a:solidFill>
              </a:rPr>
              <a:t>2 (13)</a:t>
            </a:r>
          </a:p>
        </p:txBody>
      </p:sp>
      <p:sp>
        <p:nvSpPr>
          <p:cNvPr id="151" name="TextBox 166"/>
          <p:cNvSpPr txBox="1"/>
          <p:nvPr/>
        </p:nvSpPr>
        <p:spPr>
          <a:xfrm>
            <a:off x="2524902" y="3133701"/>
            <a:ext cx="97312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Тернопільська</a:t>
            </a:r>
          </a:p>
        </p:txBody>
      </p:sp>
      <p:grpSp>
        <p:nvGrpSpPr>
          <p:cNvPr id="152" name="Групувати 226"/>
          <p:cNvGrpSpPr/>
          <p:nvPr/>
        </p:nvGrpSpPr>
        <p:grpSpPr>
          <a:xfrm>
            <a:off x="2675616" y="3349726"/>
            <a:ext cx="579142" cy="497491"/>
            <a:chOff x="4505478" y="2715485"/>
            <a:chExt cx="579142" cy="497491"/>
          </a:xfrm>
        </p:grpSpPr>
        <p:sp>
          <p:nvSpPr>
            <p:cNvPr id="153" name="Прямоугольник 152"/>
            <p:cNvSpPr/>
            <p:nvPr/>
          </p:nvSpPr>
          <p:spPr>
            <a:xfrm>
              <a:off x="4515593" y="2715485"/>
              <a:ext cx="555485" cy="182043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en-US" sz="1000" dirty="0">
                  <a:solidFill>
                    <a:prstClr val="white"/>
                  </a:solidFill>
                </a:rPr>
                <a:t>26</a:t>
              </a:r>
              <a:r>
                <a:rPr lang="uk-UA" sz="1000" dirty="0">
                  <a:solidFill>
                    <a:prstClr val="white"/>
                  </a:solidFill>
                </a:rPr>
                <a:t> (</a:t>
              </a:r>
              <a:r>
                <a:rPr lang="en-US" sz="1000" dirty="0">
                  <a:solidFill>
                    <a:prstClr val="white"/>
                  </a:solidFill>
                </a:rPr>
                <a:t>166</a:t>
              </a:r>
              <a:r>
                <a:rPr lang="uk-UA" sz="1000" dirty="0">
                  <a:solidFill>
                    <a:prstClr val="white"/>
                  </a:solidFill>
                </a:rPr>
                <a:t>) </a:t>
              </a:r>
              <a:endParaRPr lang="ru-RU" sz="1000" dirty="0">
                <a:solidFill>
                  <a:prstClr val="white"/>
                </a:solidFill>
              </a:endParaRPr>
            </a:p>
          </p:txBody>
        </p:sp>
        <p:sp>
          <p:nvSpPr>
            <p:cNvPr id="154" name="Прямоугольник 153"/>
            <p:cNvSpPr/>
            <p:nvPr/>
          </p:nvSpPr>
          <p:spPr>
            <a:xfrm>
              <a:off x="4507649" y="2869217"/>
              <a:ext cx="576971" cy="19028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uk-UA" sz="1000" dirty="0">
                  <a:solidFill>
                    <a:prstClr val="white"/>
                  </a:solidFill>
                </a:rPr>
                <a:t>10 (39) </a:t>
              </a:r>
              <a:endParaRPr lang="ru-RU" sz="1000" dirty="0">
                <a:solidFill>
                  <a:prstClr val="white"/>
                </a:solidFill>
              </a:endParaRPr>
            </a:p>
          </p:txBody>
        </p:sp>
        <p:sp>
          <p:nvSpPr>
            <p:cNvPr id="155" name="Прямоугольник 154"/>
            <p:cNvSpPr/>
            <p:nvPr/>
          </p:nvSpPr>
          <p:spPr>
            <a:xfrm>
              <a:off x="4505478" y="3036689"/>
              <a:ext cx="575714" cy="176287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ru-RU" sz="1000" dirty="0">
                  <a:solidFill>
                    <a:prstClr val="white"/>
                  </a:solidFill>
                </a:rPr>
                <a:t>3 (41)</a:t>
              </a:r>
            </a:p>
          </p:txBody>
        </p:sp>
      </p:grpSp>
      <p:sp>
        <p:nvSpPr>
          <p:cNvPr id="156" name="TextBox 171"/>
          <p:cNvSpPr txBox="1"/>
          <p:nvPr/>
        </p:nvSpPr>
        <p:spPr>
          <a:xfrm>
            <a:off x="2807244" y="3957672"/>
            <a:ext cx="863731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Чернівецька</a:t>
            </a:r>
          </a:p>
        </p:txBody>
      </p:sp>
      <p:grpSp>
        <p:nvGrpSpPr>
          <p:cNvPr id="157" name="Групувати 246"/>
          <p:cNvGrpSpPr/>
          <p:nvPr/>
        </p:nvGrpSpPr>
        <p:grpSpPr>
          <a:xfrm>
            <a:off x="2908491" y="4169669"/>
            <a:ext cx="579142" cy="497491"/>
            <a:chOff x="4505478" y="2715485"/>
            <a:chExt cx="579142" cy="497491"/>
          </a:xfrm>
        </p:grpSpPr>
        <p:sp>
          <p:nvSpPr>
            <p:cNvPr id="158" name="Прямоугольник 157"/>
            <p:cNvSpPr/>
            <p:nvPr/>
          </p:nvSpPr>
          <p:spPr>
            <a:xfrm>
              <a:off x="4515593" y="2715485"/>
              <a:ext cx="555485" cy="182043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en-US" sz="1000" dirty="0">
                  <a:solidFill>
                    <a:prstClr val="white"/>
                  </a:solidFill>
                </a:rPr>
                <a:t>10</a:t>
              </a:r>
              <a:r>
                <a:rPr lang="uk-UA" sz="1000" dirty="0">
                  <a:solidFill>
                    <a:prstClr val="white"/>
                  </a:solidFill>
                </a:rPr>
                <a:t> (</a:t>
              </a:r>
              <a:r>
                <a:rPr lang="en-US" sz="1000" dirty="0">
                  <a:solidFill>
                    <a:prstClr val="white"/>
                  </a:solidFill>
                </a:rPr>
                <a:t>30</a:t>
              </a:r>
              <a:r>
                <a:rPr lang="uk-UA" sz="1000" dirty="0">
                  <a:solidFill>
                    <a:prstClr val="white"/>
                  </a:solidFill>
                </a:rPr>
                <a:t>) </a:t>
              </a:r>
              <a:endParaRPr lang="ru-RU" sz="1000" dirty="0">
                <a:solidFill>
                  <a:prstClr val="white"/>
                </a:solidFill>
              </a:endParaRPr>
            </a:p>
          </p:txBody>
        </p:sp>
        <p:sp>
          <p:nvSpPr>
            <p:cNvPr id="159" name="Прямоугольник 158"/>
            <p:cNvSpPr/>
            <p:nvPr/>
          </p:nvSpPr>
          <p:spPr>
            <a:xfrm>
              <a:off x="4507649" y="2869217"/>
              <a:ext cx="576971" cy="19028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uk-UA" sz="1000" dirty="0">
                  <a:solidFill>
                    <a:prstClr val="white"/>
                  </a:solidFill>
                </a:rPr>
                <a:t>6 (26) </a:t>
              </a:r>
              <a:endParaRPr lang="ru-RU" sz="1000" dirty="0">
                <a:solidFill>
                  <a:prstClr val="white"/>
                </a:solidFill>
              </a:endParaRPr>
            </a:p>
          </p:txBody>
        </p:sp>
        <p:sp>
          <p:nvSpPr>
            <p:cNvPr id="160" name="Прямоугольник 159"/>
            <p:cNvSpPr/>
            <p:nvPr/>
          </p:nvSpPr>
          <p:spPr>
            <a:xfrm>
              <a:off x="4505478" y="3036689"/>
              <a:ext cx="575714" cy="176287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ru-RU" sz="1000" dirty="0">
                  <a:solidFill>
                    <a:prstClr val="white"/>
                  </a:solidFill>
                </a:rPr>
                <a:t>1 (5)</a:t>
              </a:r>
            </a:p>
          </p:txBody>
        </p:sp>
      </p:grpSp>
      <p:sp>
        <p:nvSpPr>
          <p:cNvPr id="161" name="TextBox 172"/>
          <p:cNvSpPr txBox="1"/>
          <p:nvPr/>
        </p:nvSpPr>
        <p:spPr>
          <a:xfrm>
            <a:off x="1680245" y="3504416"/>
            <a:ext cx="1219692" cy="230832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Івано-Франківська</a:t>
            </a:r>
          </a:p>
        </p:txBody>
      </p:sp>
      <p:grpSp>
        <p:nvGrpSpPr>
          <p:cNvPr id="162" name="Групувати 148"/>
          <p:cNvGrpSpPr/>
          <p:nvPr/>
        </p:nvGrpSpPr>
        <p:grpSpPr>
          <a:xfrm>
            <a:off x="2028658" y="3758746"/>
            <a:ext cx="575714" cy="384047"/>
            <a:chOff x="4505478" y="2715485"/>
            <a:chExt cx="575714" cy="384047"/>
          </a:xfrm>
        </p:grpSpPr>
        <p:sp>
          <p:nvSpPr>
            <p:cNvPr id="163" name="Прямоугольник 162"/>
            <p:cNvSpPr/>
            <p:nvPr/>
          </p:nvSpPr>
          <p:spPr>
            <a:xfrm>
              <a:off x="4515593" y="2715485"/>
              <a:ext cx="555485" cy="182043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uk-UA" sz="1000" dirty="0">
                  <a:solidFill>
                    <a:prstClr val="white"/>
                  </a:solidFill>
                </a:rPr>
                <a:t>4 (19) </a:t>
              </a:r>
              <a:endParaRPr lang="ru-RU" sz="1000" dirty="0">
                <a:solidFill>
                  <a:prstClr val="white"/>
                </a:solidFill>
              </a:endParaRPr>
            </a:p>
          </p:txBody>
        </p:sp>
        <p:sp>
          <p:nvSpPr>
            <p:cNvPr id="164" name="Прямоугольник 163"/>
            <p:cNvSpPr/>
            <p:nvPr/>
          </p:nvSpPr>
          <p:spPr>
            <a:xfrm>
              <a:off x="4505478" y="2892673"/>
              <a:ext cx="575714" cy="20685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uk-UA" sz="1000" dirty="0">
                  <a:solidFill>
                    <a:prstClr val="white"/>
                  </a:solidFill>
                </a:rPr>
                <a:t>7 (41) </a:t>
              </a:r>
              <a:endParaRPr lang="ru-RU" sz="1000" dirty="0">
                <a:solidFill>
                  <a:prstClr val="white"/>
                </a:solidFill>
              </a:endParaRPr>
            </a:p>
          </p:txBody>
        </p:sp>
      </p:grpSp>
      <p:sp>
        <p:nvSpPr>
          <p:cNvPr id="165" name="Прямоугольник 164"/>
          <p:cNvSpPr/>
          <p:nvPr/>
        </p:nvSpPr>
        <p:spPr>
          <a:xfrm>
            <a:off x="2053515" y="4130521"/>
            <a:ext cx="575714" cy="176287"/>
          </a:xfrm>
          <a:prstGeom prst="rect">
            <a:avLst/>
          </a:prstGeom>
          <a:solidFill>
            <a:srgbClr val="FF0000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2770">
              <a:defRPr/>
            </a:pPr>
            <a:r>
              <a:rPr lang="ru-RU" sz="1000" dirty="0">
                <a:solidFill>
                  <a:prstClr val="white"/>
                </a:solidFill>
              </a:rPr>
              <a:t>1 (5)</a:t>
            </a:r>
          </a:p>
        </p:txBody>
      </p:sp>
      <p:sp>
        <p:nvSpPr>
          <p:cNvPr id="166" name="TextBox 173"/>
          <p:cNvSpPr txBox="1"/>
          <p:nvPr/>
        </p:nvSpPr>
        <p:spPr>
          <a:xfrm>
            <a:off x="1734327" y="2809736"/>
            <a:ext cx="76918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Львівська</a:t>
            </a:r>
          </a:p>
        </p:txBody>
      </p:sp>
      <p:grpSp>
        <p:nvGrpSpPr>
          <p:cNvPr id="167" name="Групувати 202"/>
          <p:cNvGrpSpPr/>
          <p:nvPr/>
        </p:nvGrpSpPr>
        <p:grpSpPr>
          <a:xfrm>
            <a:off x="1812634" y="2972834"/>
            <a:ext cx="575714" cy="348878"/>
            <a:chOff x="4505478" y="2715485"/>
            <a:chExt cx="575714" cy="348878"/>
          </a:xfrm>
        </p:grpSpPr>
        <p:sp>
          <p:nvSpPr>
            <p:cNvPr id="168" name="Прямоугольник 167"/>
            <p:cNvSpPr/>
            <p:nvPr/>
          </p:nvSpPr>
          <p:spPr>
            <a:xfrm>
              <a:off x="4515593" y="2715485"/>
              <a:ext cx="555485" cy="182043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uk-UA" sz="1000" dirty="0">
                  <a:solidFill>
                    <a:prstClr val="white"/>
                  </a:solidFill>
                </a:rPr>
                <a:t>16 (58) </a:t>
              </a:r>
              <a:endParaRPr lang="ru-RU" sz="1000" dirty="0">
                <a:solidFill>
                  <a:prstClr val="white"/>
                </a:solidFill>
              </a:endParaRPr>
            </a:p>
          </p:txBody>
        </p:sp>
        <p:sp>
          <p:nvSpPr>
            <p:cNvPr id="169" name="Прямоугольник 168"/>
            <p:cNvSpPr/>
            <p:nvPr/>
          </p:nvSpPr>
          <p:spPr>
            <a:xfrm>
              <a:off x="4505478" y="2888076"/>
              <a:ext cx="575714" cy="17628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uk-UA" sz="1000" dirty="0">
                  <a:solidFill>
                    <a:prstClr val="white"/>
                  </a:solidFill>
                </a:rPr>
                <a:t>6 (28) </a:t>
              </a:r>
              <a:endParaRPr lang="ru-RU" sz="1000" dirty="0">
                <a:solidFill>
                  <a:prstClr val="white"/>
                </a:solidFill>
              </a:endParaRPr>
            </a:p>
          </p:txBody>
        </p:sp>
      </p:grpSp>
      <p:sp>
        <p:nvSpPr>
          <p:cNvPr id="170" name="Прямоугольник 169"/>
          <p:cNvSpPr/>
          <p:nvPr/>
        </p:nvSpPr>
        <p:spPr>
          <a:xfrm>
            <a:off x="1824179" y="3307498"/>
            <a:ext cx="576245" cy="169392"/>
          </a:xfrm>
          <a:prstGeom prst="rect">
            <a:avLst/>
          </a:prstGeom>
          <a:solidFill>
            <a:srgbClr val="FF0000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2770">
              <a:defRPr/>
            </a:pPr>
            <a:r>
              <a:rPr lang="ru-RU" sz="1000" dirty="0">
                <a:solidFill>
                  <a:prstClr val="white"/>
                </a:solidFill>
              </a:rPr>
              <a:t>1 (3)</a:t>
            </a:r>
          </a:p>
        </p:txBody>
      </p:sp>
      <p:sp>
        <p:nvSpPr>
          <p:cNvPr id="171" name="TextBox 170"/>
          <p:cNvSpPr txBox="1"/>
          <p:nvPr/>
        </p:nvSpPr>
        <p:spPr>
          <a:xfrm>
            <a:off x="839499" y="3631838"/>
            <a:ext cx="969611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Закарпатська</a:t>
            </a:r>
          </a:p>
        </p:txBody>
      </p:sp>
      <p:grpSp>
        <p:nvGrpSpPr>
          <p:cNvPr id="172" name="Групувати 135"/>
          <p:cNvGrpSpPr/>
          <p:nvPr/>
        </p:nvGrpSpPr>
        <p:grpSpPr>
          <a:xfrm>
            <a:off x="1053381" y="3815722"/>
            <a:ext cx="575714" cy="366507"/>
            <a:chOff x="4505478" y="2715485"/>
            <a:chExt cx="575714" cy="366507"/>
          </a:xfrm>
        </p:grpSpPr>
        <p:sp>
          <p:nvSpPr>
            <p:cNvPr id="173" name="Прямоугольник 172"/>
            <p:cNvSpPr/>
            <p:nvPr/>
          </p:nvSpPr>
          <p:spPr>
            <a:xfrm>
              <a:off x="4515593" y="2715485"/>
              <a:ext cx="555485" cy="182043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uk-UA" sz="1000" dirty="0">
                  <a:solidFill>
                    <a:prstClr val="white"/>
                  </a:solidFill>
                </a:rPr>
                <a:t>2 (6) </a:t>
              </a:r>
              <a:endParaRPr lang="ru-RU" sz="1000" dirty="0">
                <a:solidFill>
                  <a:prstClr val="white"/>
                </a:solidFill>
              </a:endParaRPr>
            </a:p>
          </p:txBody>
        </p:sp>
        <p:sp>
          <p:nvSpPr>
            <p:cNvPr id="174" name="Прямоугольник 173"/>
            <p:cNvSpPr/>
            <p:nvPr/>
          </p:nvSpPr>
          <p:spPr>
            <a:xfrm>
              <a:off x="4505478" y="2888076"/>
              <a:ext cx="575714" cy="19391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770">
                <a:defRPr/>
              </a:pPr>
              <a:r>
                <a:rPr lang="uk-UA" sz="1000" dirty="0">
                  <a:solidFill>
                    <a:prstClr val="white"/>
                  </a:solidFill>
                </a:rPr>
                <a:t>1 (3) </a:t>
              </a:r>
              <a:endParaRPr lang="ru-RU" sz="1000" dirty="0">
                <a:solidFill>
                  <a:prstClr val="white"/>
                </a:solidFill>
              </a:endParaRPr>
            </a:p>
          </p:txBody>
        </p:sp>
      </p:grpSp>
      <p:pic>
        <p:nvPicPr>
          <p:cNvPr id="175" name="table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5081800"/>
            <a:ext cx="6723339" cy="1269998"/>
          </a:xfrm>
          <a:prstGeom prst="rect">
            <a:avLst/>
          </a:prstGeom>
        </p:spPr>
      </p:pic>
      <p:sp>
        <p:nvSpPr>
          <p:cNvPr id="177" name="Rectangle 3"/>
          <p:cNvSpPr txBox="1">
            <a:spLocks noChangeArrowheads="1"/>
          </p:cNvSpPr>
          <p:nvPr/>
        </p:nvSpPr>
        <p:spPr bwMode="auto">
          <a:xfrm>
            <a:off x="10755991" y="1852431"/>
            <a:ext cx="290532" cy="281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260" tIns="44633" rIns="89260" bIns="44633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fontAlgn="base" hangingPunct="1">
              <a:spcBef>
                <a:spcPct val="20000"/>
              </a:spcBef>
              <a:spcAft>
                <a:spcPct val="0"/>
              </a:spcAft>
            </a:pPr>
            <a:r>
              <a:rPr lang="uk-UA" altLang="ru-RU" sz="2800" b="1" dirty="0">
                <a:solidFill>
                  <a:srgbClr val="1D89CB"/>
                </a:solidFill>
                <a:latin typeface="Calibri" pitchFamily="34" charset="0"/>
              </a:rPr>
              <a:t>*</a:t>
            </a:r>
            <a:endParaRPr lang="uk-UA" altLang="ru-RU" sz="1400" b="1" dirty="0">
              <a:solidFill>
                <a:srgbClr val="1D89CB"/>
              </a:solidFill>
              <a:latin typeface="Calibri" pitchFamily="34" charset="0"/>
            </a:endParaRPr>
          </a:p>
        </p:txBody>
      </p:sp>
      <p:sp>
        <p:nvSpPr>
          <p:cNvPr id="178" name="Rectangle 3"/>
          <p:cNvSpPr txBox="1">
            <a:spLocks noChangeArrowheads="1"/>
          </p:cNvSpPr>
          <p:nvPr/>
        </p:nvSpPr>
        <p:spPr bwMode="auto">
          <a:xfrm>
            <a:off x="8447447" y="5437177"/>
            <a:ext cx="3575720" cy="1021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260" tIns="44633" rIns="89260" bIns="44633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fontAlgn="base" hangingPunct="1">
              <a:spcBef>
                <a:spcPct val="20000"/>
              </a:spcBef>
              <a:spcAft>
                <a:spcPct val="0"/>
              </a:spcAft>
            </a:pPr>
            <a:r>
              <a:rPr lang="en-US" altLang="ru-RU" sz="2800" b="1" dirty="0" smtClean="0">
                <a:solidFill>
                  <a:srgbClr val="1D89CB"/>
                </a:solidFill>
                <a:latin typeface="Calibri" pitchFamily="34" charset="0"/>
              </a:rPr>
              <a:t>   </a:t>
            </a:r>
            <a:r>
              <a:rPr lang="uk-UA" altLang="ru-RU" sz="2800" b="1" dirty="0" smtClean="0">
                <a:solidFill>
                  <a:srgbClr val="1D89CB"/>
                </a:solidFill>
                <a:latin typeface="Calibri" pitchFamily="34" charset="0"/>
              </a:rPr>
              <a:t>* </a:t>
            </a:r>
            <a:r>
              <a:rPr lang="uk-UA" sz="1050" b="1" dirty="0">
                <a:latin typeface="Cambria" panose="02040503050406030204" pitchFamily="18" charset="0"/>
                <a:cs typeface="+mn-cs"/>
              </a:rPr>
              <a:t>Куцурубська</a:t>
            </a:r>
            <a:r>
              <a:rPr lang="uk-UA" sz="1050" dirty="0">
                <a:latin typeface="Cambria" panose="02040503050406030204" pitchFamily="18" charset="0"/>
                <a:cs typeface="+mn-cs"/>
              </a:rPr>
              <a:t> сільська об’єднана громада Миколаївської області 2016 року йде на вибори </a:t>
            </a:r>
          </a:p>
          <a:p>
            <a:pPr eaLnBrk="1" fontAlgn="base" hangingPunct="1">
              <a:spcBef>
                <a:spcPct val="20000"/>
              </a:spcBef>
              <a:spcAft>
                <a:spcPct val="0"/>
              </a:spcAft>
            </a:pPr>
            <a:r>
              <a:rPr lang="uk-UA" sz="1050" dirty="0">
                <a:latin typeface="Cambria" panose="02040503050406030204" pitchFamily="18" charset="0"/>
                <a:cs typeface="+mn-cs"/>
              </a:rPr>
              <a:t>вдруге через  її “укрупнення”</a:t>
            </a:r>
            <a:endParaRPr lang="uk-UA" altLang="ru-RU" sz="1050" dirty="0">
              <a:latin typeface="Cambria" panose="02040503050406030204" pitchFamily="18" charset="0"/>
              <a:cs typeface="+mn-cs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829733" y="6492875"/>
            <a:ext cx="2743200" cy="365125"/>
          </a:xfrm>
        </p:spPr>
        <p:txBody>
          <a:bodyPr/>
          <a:lstStyle/>
          <a:p>
            <a:r>
              <a:rPr lang="it-IT" dirty="0" smtClean="0"/>
              <a:t>Trieste, 13/12/2016</a:t>
            </a:r>
            <a:endParaRPr lang="it-IT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smtClean="0"/>
              <a:t>INTERNATIONAL PRACTICES IN INTER-MUNICIPAL COOPERATION</a:t>
            </a:r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D1028-69C3-4FC6-8C6A-2696D319A159}" type="slidenum">
              <a:rPr lang="it-IT" smtClean="0"/>
              <a:pPr/>
              <a:t>9</a:t>
            </a:fld>
            <a:endParaRPr lang="it-IT"/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1664161" y="1163109"/>
            <a:ext cx="9223978" cy="50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260" tIns="44633" rIns="89260" bIns="44633" anchor="ctr"/>
          <a:lstStyle>
            <a:lvl1pPr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20000"/>
              </a:spcBef>
              <a:spcAft>
                <a:spcPct val="0"/>
              </a:spcAft>
            </a:pPr>
            <a:r>
              <a:rPr lang="ru-RU" altLang="ru-RU" sz="3000" b="1" dirty="0" smtClean="0">
                <a:solidFill>
                  <a:srgbClr val="4F81BD"/>
                </a:solidFill>
                <a:latin typeface="Calibri" pitchFamily="34" charset="0"/>
              </a:rPr>
              <a:t>Старости об’єднаних </a:t>
            </a:r>
            <a:r>
              <a:rPr lang="ru-RU" altLang="ru-RU" sz="3000" b="1" dirty="0" err="1">
                <a:solidFill>
                  <a:srgbClr val="4F81BD"/>
                </a:solidFill>
                <a:latin typeface="Calibri" pitchFamily="34" charset="0"/>
              </a:rPr>
              <a:t>територіальних</a:t>
            </a:r>
            <a:r>
              <a:rPr lang="ru-RU" altLang="ru-RU" sz="3000" b="1" dirty="0">
                <a:solidFill>
                  <a:srgbClr val="4F81BD"/>
                </a:solidFill>
                <a:latin typeface="Calibri" pitchFamily="34" charset="0"/>
              </a:rPr>
              <a:t> </a:t>
            </a:r>
            <a:r>
              <a:rPr lang="ru-RU" altLang="ru-RU" sz="3000" b="1" dirty="0" smtClean="0">
                <a:solidFill>
                  <a:srgbClr val="4F81BD"/>
                </a:solidFill>
                <a:latin typeface="Calibri" pitchFamily="34" charset="0"/>
              </a:rPr>
              <a:t>громад</a:t>
            </a:r>
            <a:endParaRPr lang="uk-UA" altLang="ru-RU" sz="3000" b="1" dirty="0">
              <a:solidFill>
                <a:srgbClr val="4F81BD"/>
              </a:solidFill>
              <a:latin typeface="Calibri" pitchFamily="34" charset="0"/>
            </a:endParaRPr>
          </a:p>
        </p:txBody>
      </p:sp>
      <p:grpSp>
        <p:nvGrpSpPr>
          <p:cNvPr id="8" name="Групувати 19"/>
          <p:cNvGrpSpPr/>
          <p:nvPr/>
        </p:nvGrpSpPr>
        <p:grpSpPr>
          <a:xfrm>
            <a:off x="5080000" y="1590410"/>
            <a:ext cx="1510653" cy="1440657"/>
            <a:chOff x="3241985" y="432048"/>
            <a:chExt cx="1379212" cy="1440160"/>
          </a:xfrm>
          <a:solidFill>
            <a:srgbClr val="FFC000"/>
          </a:solidFill>
        </p:grpSpPr>
        <p:sp>
          <p:nvSpPr>
            <p:cNvPr id="9" name="Овал 8"/>
            <p:cNvSpPr/>
            <p:nvPr/>
          </p:nvSpPr>
          <p:spPr>
            <a:xfrm>
              <a:off x="3241985" y="432048"/>
              <a:ext cx="1379212" cy="1440160"/>
            </a:xfrm>
            <a:prstGeom prst="ellipse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</p:sp>
        <p:sp>
          <p:nvSpPr>
            <p:cNvPr id="10" name="Овал 4"/>
            <p:cNvSpPr/>
            <p:nvPr/>
          </p:nvSpPr>
          <p:spPr>
            <a:xfrm>
              <a:off x="3441955" y="693005"/>
              <a:ext cx="964574" cy="968295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algn="ctr"/>
              <a:r>
                <a:rPr lang="uk-UA" sz="4800" dirty="0" smtClean="0">
                  <a:solidFill>
                    <a:prstClr val="black"/>
                  </a:solidFill>
                </a:rPr>
                <a:t>162</a:t>
              </a:r>
              <a:endParaRPr lang="uk-UA" sz="2000" dirty="0">
                <a:solidFill>
                  <a:prstClr val="black"/>
                </a:solidFill>
              </a:endParaRPr>
            </a:p>
          </p:txBody>
        </p:sp>
      </p:grpSp>
      <p:sp>
        <p:nvSpPr>
          <p:cNvPr id="11" name="Прямокутник 22"/>
          <p:cNvSpPr/>
          <p:nvPr/>
        </p:nvSpPr>
        <p:spPr bwMode="auto">
          <a:xfrm>
            <a:off x="557528" y="2107292"/>
            <a:ext cx="3685910" cy="548997"/>
          </a:xfrm>
          <a:prstGeom prst="rect">
            <a:avLst/>
          </a:prstGeom>
          <a:solidFill>
            <a:schemeClr val="accent6">
              <a:lumMod val="7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2400" b="1" dirty="0" smtClean="0">
                <a:solidFill>
                  <a:prstClr val="white"/>
                </a:solidFill>
                <a:ea typeface="MS PGothic" pitchFamily="34" charset="-128"/>
              </a:rPr>
              <a:t>Обрано</a:t>
            </a:r>
          </a:p>
        </p:txBody>
      </p:sp>
      <p:sp>
        <p:nvSpPr>
          <p:cNvPr id="12" name="Прямокутник 23"/>
          <p:cNvSpPr/>
          <p:nvPr/>
        </p:nvSpPr>
        <p:spPr bwMode="auto">
          <a:xfrm>
            <a:off x="7426621" y="2086169"/>
            <a:ext cx="3685910" cy="548997"/>
          </a:xfrm>
          <a:prstGeom prst="rect">
            <a:avLst/>
          </a:prstGeom>
          <a:solidFill>
            <a:schemeClr val="accent6">
              <a:lumMod val="7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2400" b="1" dirty="0" smtClean="0">
                <a:solidFill>
                  <a:prstClr val="white"/>
                </a:solidFill>
                <a:ea typeface="MS PGothic" pitchFamily="34" charset="-128"/>
              </a:rPr>
              <a:t>старост</a:t>
            </a:r>
          </a:p>
        </p:txBody>
      </p:sp>
      <p:sp>
        <p:nvSpPr>
          <p:cNvPr id="13" name="Прямокутник 24"/>
          <p:cNvSpPr/>
          <p:nvPr/>
        </p:nvSpPr>
        <p:spPr bwMode="auto">
          <a:xfrm>
            <a:off x="143971" y="2700537"/>
            <a:ext cx="3200261" cy="54899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2400" b="1" dirty="0">
                <a:solidFill>
                  <a:prstClr val="white"/>
                </a:solidFill>
                <a:ea typeface="MS PGothic" pitchFamily="34" charset="-128"/>
              </a:rPr>
              <a:t>Вінницька – 1</a:t>
            </a:r>
            <a:endParaRPr lang="uk-UA" sz="2400" b="1" dirty="0" smtClean="0">
              <a:solidFill>
                <a:prstClr val="white"/>
              </a:solidFill>
              <a:ea typeface="MS PGothic" pitchFamily="34" charset="-128"/>
            </a:endParaRPr>
          </a:p>
        </p:txBody>
      </p:sp>
      <p:sp>
        <p:nvSpPr>
          <p:cNvPr id="14" name="Прямокутник 26"/>
          <p:cNvSpPr/>
          <p:nvPr/>
        </p:nvSpPr>
        <p:spPr bwMode="auto">
          <a:xfrm>
            <a:off x="131484" y="3312134"/>
            <a:ext cx="3198463" cy="54899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2400" b="1" dirty="0">
                <a:solidFill>
                  <a:prstClr val="white"/>
                </a:solidFill>
                <a:ea typeface="MS PGothic" pitchFamily="34" charset="-128"/>
              </a:rPr>
              <a:t>Донецька – 3</a:t>
            </a:r>
            <a:endParaRPr lang="uk-UA" sz="2400" b="1" dirty="0" smtClean="0">
              <a:solidFill>
                <a:prstClr val="white"/>
              </a:solidFill>
              <a:ea typeface="MS PGothic" pitchFamily="34" charset="-128"/>
            </a:endParaRPr>
          </a:p>
        </p:txBody>
      </p:sp>
      <p:sp>
        <p:nvSpPr>
          <p:cNvPr id="15" name="Прямокутник 29"/>
          <p:cNvSpPr/>
          <p:nvPr/>
        </p:nvSpPr>
        <p:spPr bwMode="auto">
          <a:xfrm>
            <a:off x="120630" y="3916207"/>
            <a:ext cx="3223605" cy="864099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2400" b="1" dirty="0">
                <a:solidFill>
                  <a:prstClr val="white"/>
                </a:solidFill>
                <a:ea typeface="MS PGothic" pitchFamily="34" charset="-128"/>
              </a:rPr>
              <a:t>Івано-Франківська – </a:t>
            </a:r>
            <a:r>
              <a:rPr lang="uk-UA" sz="2400" b="1" dirty="0" smtClean="0">
                <a:solidFill>
                  <a:prstClr val="white"/>
                </a:solidFill>
                <a:ea typeface="MS PGothic" pitchFamily="34" charset="-128"/>
              </a:rPr>
              <a:t>17</a:t>
            </a:r>
          </a:p>
        </p:txBody>
      </p:sp>
      <p:sp>
        <p:nvSpPr>
          <p:cNvPr id="16" name="Прямокутник 30"/>
          <p:cNvSpPr/>
          <p:nvPr/>
        </p:nvSpPr>
        <p:spPr bwMode="auto">
          <a:xfrm>
            <a:off x="120629" y="4826911"/>
            <a:ext cx="3217784" cy="54899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2400" b="1" dirty="0">
                <a:solidFill>
                  <a:prstClr val="white"/>
                </a:solidFill>
                <a:ea typeface="MS PGothic" pitchFamily="34" charset="-128"/>
              </a:rPr>
              <a:t>Київська – 5</a:t>
            </a:r>
            <a:endParaRPr lang="uk-UA" sz="2400" b="1" dirty="0" smtClean="0">
              <a:solidFill>
                <a:prstClr val="white"/>
              </a:solidFill>
              <a:ea typeface="MS PGothic" pitchFamily="34" charset="-128"/>
            </a:endParaRPr>
          </a:p>
        </p:txBody>
      </p:sp>
      <p:sp>
        <p:nvSpPr>
          <p:cNvPr id="17" name="Прямокутник 31"/>
          <p:cNvSpPr/>
          <p:nvPr/>
        </p:nvSpPr>
        <p:spPr bwMode="auto">
          <a:xfrm>
            <a:off x="114550" y="5392132"/>
            <a:ext cx="3229783" cy="54899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2400" b="1" dirty="0">
                <a:solidFill>
                  <a:prstClr val="white"/>
                </a:solidFill>
                <a:ea typeface="MS PGothic" pitchFamily="34" charset="-128"/>
              </a:rPr>
              <a:t>Луганська – 2</a:t>
            </a:r>
            <a:endParaRPr lang="uk-UA" sz="2400" b="1" dirty="0" smtClean="0">
              <a:solidFill>
                <a:prstClr val="white"/>
              </a:solidFill>
              <a:ea typeface="MS PGothic" pitchFamily="34" charset="-128"/>
            </a:endParaRPr>
          </a:p>
        </p:txBody>
      </p:sp>
      <p:sp>
        <p:nvSpPr>
          <p:cNvPr id="18" name="Прямокутник 32"/>
          <p:cNvSpPr/>
          <p:nvPr/>
        </p:nvSpPr>
        <p:spPr bwMode="auto">
          <a:xfrm>
            <a:off x="123017" y="5996705"/>
            <a:ext cx="3246716" cy="54899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2400" b="1" dirty="0" smtClean="0">
                <a:solidFill>
                  <a:prstClr val="white"/>
                </a:solidFill>
                <a:ea typeface="MS PGothic" pitchFamily="34" charset="-128"/>
              </a:rPr>
              <a:t>Львівська – 2</a:t>
            </a:r>
          </a:p>
        </p:txBody>
      </p:sp>
      <p:sp>
        <p:nvSpPr>
          <p:cNvPr id="19" name="Прямокутник 27"/>
          <p:cNvSpPr/>
          <p:nvPr/>
        </p:nvSpPr>
        <p:spPr bwMode="auto">
          <a:xfrm>
            <a:off x="4166625" y="3252504"/>
            <a:ext cx="3161280" cy="54899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2400" b="1" dirty="0">
                <a:solidFill>
                  <a:prstClr val="white"/>
                </a:solidFill>
                <a:ea typeface="MS PGothic" pitchFamily="34" charset="-128"/>
              </a:rPr>
              <a:t>Закарпатська – 5</a:t>
            </a:r>
            <a:endParaRPr lang="uk-UA" sz="2400" b="1" dirty="0" smtClean="0">
              <a:solidFill>
                <a:prstClr val="white"/>
              </a:solidFill>
              <a:ea typeface="MS PGothic" pitchFamily="34" charset="-128"/>
            </a:endParaRPr>
          </a:p>
        </p:txBody>
      </p:sp>
      <p:sp>
        <p:nvSpPr>
          <p:cNvPr id="20" name="Прямокутник 33"/>
          <p:cNvSpPr/>
          <p:nvPr/>
        </p:nvSpPr>
        <p:spPr bwMode="auto">
          <a:xfrm>
            <a:off x="4175088" y="3951908"/>
            <a:ext cx="3178853" cy="54899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2400" b="1" dirty="0">
                <a:solidFill>
                  <a:prstClr val="white"/>
                </a:solidFill>
                <a:ea typeface="MS PGothic" pitchFamily="34" charset="-128"/>
              </a:rPr>
              <a:t>Миколаївська -1</a:t>
            </a:r>
            <a:endParaRPr lang="uk-UA" sz="2400" b="1" dirty="0" smtClean="0">
              <a:solidFill>
                <a:prstClr val="white"/>
              </a:solidFill>
              <a:ea typeface="MS PGothic" pitchFamily="34" charset="-128"/>
            </a:endParaRPr>
          </a:p>
        </p:txBody>
      </p:sp>
      <p:sp>
        <p:nvSpPr>
          <p:cNvPr id="21" name="Прямокутник 35"/>
          <p:cNvSpPr/>
          <p:nvPr/>
        </p:nvSpPr>
        <p:spPr bwMode="auto">
          <a:xfrm>
            <a:off x="4183559" y="4592259"/>
            <a:ext cx="3178852" cy="54899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2400" b="1" dirty="0">
                <a:solidFill>
                  <a:prstClr val="white"/>
                </a:solidFill>
                <a:ea typeface="MS PGothic" pitchFamily="34" charset="-128"/>
              </a:rPr>
              <a:t>Рівненська – </a:t>
            </a:r>
            <a:r>
              <a:rPr lang="uk-UA" sz="2400" b="1" dirty="0" smtClean="0">
                <a:solidFill>
                  <a:prstClr val="white"/>
                </a:solidFill>
                <a:ea typeface="MS PGothic" pitchFamily="34" charset="-128"/>
              </a:rPr>
              <a:t>9</a:t>
            </a:r>
          </a:p>
        </p:txBody>
      </p:sp>
      <p:sp>
        <p:nvSpPr>
          <p:cNvPr id="22" name="Прямокутник 37"/>
          <p:cNvSpPr/>
          <p:nvPr/>
        </p:nvSpPr>
        <p:spPr bwMode="auto">
          <a:xfrm>
            <a:off x="4183560" y="5203348"/>
            <a:ext cx="3178852" cy="54899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2400" b="1" dirty="0">
                <a:solidFill>
                  <a:prstClr val="white"/>
                </a:solidFill>
                <a:ea typeface="MS PGothic" pitchFamily="34" charset="-128"/>
              </a:rPr>
              <a:t>Хмельницька – 46</a:t>
            </a:r>
            <a:endParaRPr lang="uk-UA" sz="2400" b="1" dirty="0" smtClean="0">
              <a:solidFill>
                <a:prstClr val="white"/>
              </a:solidFill>
              <a:ea typeface="MS PGothic" pitchFamily="34" charset="-128"/>
            </a:endParaRPr>
          </a:p>
        </p:txBody>
      </p:sp>
      <p:sp>
        <p:nvSpPr>
          <p:cNvPr id="23" name="Прямокутник 39"/>
          <p:cNvSpPr/>
          <p:nvPr/>
        </p:nvSpPr>
        <p:spPr bwMode="auto">
          <a:xfrm>
            <a:off x="4183559" y="5796338"/>
            <a:ext cx="3178852" cy="54899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2400" b="1" dirty="0">
                <a:solidFill>
                  <a:prstClr val="white"/>
                </a:solidFill>
                <a:ea typeface="MS PGothic" pitchFamily="34" charset="-128"/>
              </a:rPr>
              <a:t>Чернівецька – 7</a:t>
            </a:r>
            <a:endParaRPr lang="uk-UA" sz="2400" b="1" dirty="0" smtClean="0">
              <a:solidFill>
                <a:prstClr val="white"/>
              </a:solidFill>
              <a:ea typeface="MS PGothic" pitchFamily="34" charset="-128"/>
            </a:endParaRPr>
          </a:p>
        </p:txBody>
      </p:sp>
      <p:sp>
        <p:nvSpPr>
          <p:cNvPr id="24" name="Прямокутник 25"/>
          <p:cNvSpPr/>
          <p:nvPr/>
        </p:nvSpPr>
        <p:spPr bwMode="auto">
          <a:xfrm>
            <a:off x="8395345" y="2700536"/>
            <a:ext cx="3286738" cy="72008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2400" b="1" dirty="0">
                <a:solidFill>
                  <a:prstClr val="white"/>
                </a:solidFill>
                <a:ea typeface="MS PGothic" pitchFamily="34" charset="-128"/>
              </a:rPr>
              <a:t>Дніпропетровська – 3</a:t>
            </a:r>
            <a:endParaRPr lang="uk-UA" sz="2400" b="1" dirty="0" smtClean="0">
              <a:solidFill>
                <a:prstClr val="white"/>
              </a:solidFill>
              <a:ea typeface="MS PGothic" pitchFamily="34" charset="-128"/>
            </a:endParaRPr>
          </a:p>
        </p:txBody>
      </p:sp>
      <p:sp>
        <p:nvSpPr>
          <p:cNvPr id="25" name="Прямокутник 28"/>
          <p:cNvSpPr/>
          <p:nvPr/>
        </p:nvSpPr>
        <p:spPr bwMode="auto">
          <a:xfrm>
            <a:off x="8410756" y="3450291"/>
            <a:ext cx="3169725" cy="54899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2400" b="1" dirty="0">
                <a:solidFill>
                  <a:prstClr val="white"/>
                </a:solidFill>
                <a:ea typeface="MS PGothic" pitchFamily="34" charset="-128"/>
              </a:rPr>
              <a:t>Запорізька – 6</a:t>
            </a:r>
            <a:endParaRPr lang="uk-UA" sz="2400" b="1" dirty="0" smtClean="0">
              <a:solidFill>
                <a:prstClr val="white"/>
              </a:solidFill>
              <a:ea typeface="MS PGothic" pitchFamily="34" charset="-128"/>
            </a:endParaRPr>
          </a:p>
        </p:txBody>
      </p:sp>
      <p:sp>
        <p:nvSpPr>
          <p:cNvPr id="26" name="Прямокутник 34"/>
          <p:cNvSpPr/>
          <p:nvPr/>
        </p:nvSpPr>
        <p:spPr bwMode="auto">
          <a:xfrm>
            <a:off x="8419222" y="4028023"/>
            <a:ext cx="3169725" cy="54899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2400" b="1" dirty="0">
                <a:solidFill>
                  <a:prstClr val="white"/>
                </a:solidFill>
                <a:ea typeface="MS PGothic" pitchFamily="34" charset="-128"/>
              </a:rPr>
              <a:t>Одеська – 18</a:t>
            </a:r>
            <a:endParaRPr lang="uk-UA" sz="2400" b="1" dirty="0" smtClean="0">
              <a:solidFill>
                <a:prstClr val="white"/>
              </a:solidFill>
              <a:ea typeface="MS PGothic" pitchFamily="34" charset="-128"/>
            </a:endParaRPr>
          </a:p>
        </p:txBody>
      </p:sp>
      <p:sp>
        <p:nvSpPr>
          <p:cNvPr id="27" name="Прямокутник 36"/>
          <p:cNvSpPr/>
          <p:nvPr/>
        </p:nvSpPr>
        <p:spPr bwMode="auto">
          <a:xfrm>
            <a:off x="8419223" y="4615161"/>
            <a:ext cx="3169725" cy="69301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2400" b="1" dirty="0">
                <a:solidFill>
                  <a:prstClr val="white"/>
                </a:solidFill>
                <a:ea typeface="MS PGothic" pitchFamily="34" charset="-128"/>
              </a:rPr>
              <a:t>Тернопільська – 22</a:t>
            </a:r>
            <a:endParaRPr lang="uk-UA" sz="2400" b="1" dirty="0" smtClean="0">
              <a:solidFill>
                <a:prstClr val="white"/>
              </a:solidFill>
              <a:ea typeface="MS PGothic" pitchFamily="34" charset="-128"/>
            </a:endParaRPr>
          </a:p>
        </p:txBody>
      </p:sp>
      <p:sp>
        <p:nvSpPr>
          <p:cNvPr id="28" name="Прямокутник 38"/>
          <p:cNvSpPr/>
          <p:nvPr/>
        </p:nvSpPr>
        <p:spPr bwMode="auto">
          <a:xfrm>
            <a:off x="8419223" y="5326880"/>
            <a:ext cx="3169725" cy="54899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2400" b="1" dirty="0">
                <a:solidFill>
                  <a:prstClr val="white"/>
                </a:solidFill>
                <a:ea typeface="MS PGothic" pitchFamily="34" charset="-128"/>
              </a:rPr>
              <a:t>Черкаська – 5</a:t>
            </a:r>
            <a:endParaRPr lang="uk-UA" sz="2400" b="1" dirty="0" smtClean="0">
              <a:solidFill>
                <a:prstClr val="white"/>
              </a:solidFill>
              <a:ea typeface="MS PGothic" pitchFamily="34" charset="-128"/>
            </a:endParaRPr>
          </a:p>
        </p:txBody>
      </p:sp>
      <p:sp>
        <p:nvSpPr>
          <p:cNvPr id="29" name="Прямокутник 40"/>
          <p:cNvSpPr/>
          <p:nvPr/>
        </p:nvSpPr>
        <p:spPr bwMode="auto">
          <a:xfrm>
            <a:off x="8427690" y="5897939"/>
            <a:ext cx="3188177" cy="54899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2400" b="1" dirty="0">
                <a:solidFill>
                  <a:prstClr val="white"/>
                </a:solidFill>
                <a:ea typeface="MS PGothic" pitchFamily="34" charset="-128"/>
              </a:rPr>
              <a:t>Чернігівська - 10</a:t>
            </a:r>
            <a:endParaRPr lang="uk-UA" sz="2400" b="1" dirty="0" smtClean="0">
              <a:solidFill>
                <a:prstClr val="white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29761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wcZ2yqmYUSjgEKnogQp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9Uci_O5XEaDkvXSAPS6I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_C1pU6cUyLM69nAwqvi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1680oxH0e.cDr.4IfP6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T9Uilao0aFWYLVl7ru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D8HbkKG02awyh5MtqNE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udcx0ioUmheTcMJDphag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13</TotalTime>
  <Words>1022</Words>
  <Application>Microsoft Office PowerPoint</Application>
  <PresentationFormat>Произвольный</PresentationFormat>
  <Paragraphs>255</Paragraphs>
  <Slides>16</Slides>
  <Notes>2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17" baseType="lpstr">
      <vt:lpstr>Tema di Office</vt:lpstr>
      <vt:lpstr>Слайд 1</vt:lpstr>
      <vt:lpstr>REGULATORY FRAMEWORK FOR INTER-MUNICIPAL COOPERATION</vt:lpstr>
      <vt:lpstr>Слайд 3</vt:lpstr>
      <vt:lpstr>Слайд 4</vt:lpstr>
      <vt:lpstr>Слайд 5</vt:lpstr>
      <vt:lpstr>FINANCIAL FRAMEWORK FOR INTER-MUNICIPAL COOPERATION</vt:lpstr>
      <vt:lpstr>Слайд 7</vt:lpstr>
      <vt:lpstr>Слайд 8</vt:lpstr>
      <vt:lpstr>Слайд 9</vt:lpstr>
      <vt:lpstr>Слайд 10</vt:lpstr>
      <vt:lpstr>Слайд 11</vt:lpstr>
      <vt:lpstr>MAIN FEATURES FOR INTER-MUNICIPAL COOPERATION</vt:lpstr>
      <vt:lpstr>Слайд 13</vt:lpstr>
      <vt:lpstr>ANALYSIS AND PROCESSES ENACTED PRIOR TO THE INTER-MUNICIPAL COOPERATION (REFORM)</vt:lpstr>
      <vt:lpstr>Слайд 15</vt:lpstr>
      <vt:lpstr>Слайд 16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Daniele Del Bianco</dc:creator>
  <cp:lastModifiedBy>USER</cp:lastModifiedBy>
  <cp:revision>37</cp:revision>
  <dcterms:created xsi:type="dcterms:W3CDTF">2016-12-02T11:20:11Z</dcterms:created>
  <dcterms:modified xsi:type="dcterms:W3CDTF">2016-12-10T13:44:15Z</dcterms:modified>
</cp:coreProperties>
</file>